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3.xml" ContentType="application/vnd.openxmlformats-officedocument.theme+xml"/>
  <Override PartName="/ppt/comments/modernComment_7FFFFC56_C480AEE0.xml" ContentType="application/vnd.ms-powerpoint.comment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26"/>
    <p:sldMasterId id="2147483673" r:id="rId27"/>
  </p:sldMasterIdLst>
  <p:notesMasterIdLst>
    <p:notesMasterId r:id="rId44"/>
  </p:notesMasterIdLst>
  <p:sldIdLst>
    <p:sldId id="2147482708" r:id="rId28"/>
    <p:sldId id="329" r:id="rId29"/>
    <p:sldId id="2147482709" r:id="rId30"/>
    <p:sldId id="2147482710" r:id="rId31"/>
    <p:sldId id="2147482722" r:id="rId32"/>
    <p:sldId id="2147482718" r:id="rId33"/>
    <p:sldId id="2147482719" r:id="rId34"/>
    <p:sldId id="2147482723" r:id="rId35"/>
    <p:sldId id="2147482711" r:id="rId36"/>
    <p:sldId id="2147482724" r:id="rId37"/>
    <p:sldId id="2147482716" r:id="rId38"/>
    <p:sldId id="2147482713" r:id="rId39"/>
    <p:sldId id="2147482714" r:id="rId40"/>
    <p:sldId id="2147482715" r:id="rId41"/>
    <p:sldId id="2147482720" r:id="rId42"/>
    <p:sldId id="2147482721" r:id="rId43"/>
  </p:sldIdLst>
  <p:sldSz cx="12192000" cy="6858000"/>
  <p:notesSz cx="6858000" cy="9144000"/>
  <p:custDataLst>
    <p:custData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6919B91-52CB-4D7B-BE18-06E8F6AFE05E}">
          <p14:sldIdLst>
            <p14:sldId id="2147482708"/>
            <p14:sldId id="329"/>
            <p14:sldId id="2147482709"/>
            <p14:sldId id="2147482710"/>
            <p14:sldId id="2147482722"/>
            <p14:sldId id="2147482718"/>
            <p14:sldId id="2147482719"/>
            <p14:sldId id="2147482723"/>
            <p14:sldId id="2147482711"/>
            <p14:sldId id="2147482724"/>
            <p14:sldId id="2147482716"/>
            <p14:sldId id="2147482713"/>
            <p14:sldId id="2147482714"/>
            <p14:sldId id="2147482715"/>
            <p14:sldId id="2147482720"/>
            <p14:sldId id="214748272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C7C8207-FEEE-3282-CB95-18CF1F9FCBEF}" name="Mohammed Aamir Shuaib" initials="MAS" userId="S::mshuaib@trinitypartners.com::44d4b1f3-cae1-4ad9-8a9f-787ea96ce1d8" providerId="AD"/>
  <p188:author id="{A680270F-2653-6B75-7264-EBABB8D3B15B}" name="Gaurav Kesari" initials="GK" userId="S::gkesari@trinitypartners.com::5ab21388-baf7-4ff4-bc08-f69762d4b20e" providerId="AD"/>
  <p188:author id="{F7D01A10-243B-1939-ED85-803854CFA053}" name="Deepti Yadav" initials="DY" userId="S::dyadav@trinitypartners.com::b600194b-c568-4684-b899-1525a3e1db24" providerId="AD"/>
  <p188:author id="{1D32573D-8036-8DB5-C06C-545A07F21A77}" name="Sogi, Pranav" initials="PS" userId="S::psogi@amgen.com::4b5900c1-1cef-47ff-b52e-681eff7a8307" providerId="AD"/>
  <p188:author id="{D4A93F70-FA68-DE8F-2389-E78BFAA9840C}" name="Arvind R R" initials="AR" userId="S::arr@trinitypartners.com::1bb3a597-3736-4a79-aeb8-d713163fb634" providerId="AD"/>
  <p188:author id="{44E4D9C7-7002-522F-6880-5768D730315D}" name="S Vignesh" initials="SV" userId="S::svignesh@trinitypartners.com::4cdfbe3e-ecf0-4e37-8a2e-2e2c44064d45" providerId="AD"/>
  <p188:author id="{4A22EFCE-90EF-63F6-E01F-012D4BE4B005}" name="Pranav A Sogi" initials="PS" userId="S::pranav.sogi@trinitypartners.com::26041da9-58db-4268-87d2-8f3ed54afd3b"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170A0B"/>
    <a:srgbClr val="DAEABF"/>
    <a:srgbClr val="D1E0EF"/>
    <a:srgbClr val="EEF8E4"/>
    <a:srgbClr val="82C836"/>
    <a:srgbClr val="CC0000"/>
    <a:srgbClr val="DE0000"/>
    <a:srgbClr val="F60000"/>
    <a:srgbClr val="F7DAD5"/>
    <a:srgbClr val="D3EE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6508AF9-9487-4DA8-8B5A-B7B62EB18159}" v="1" dt="2024-07-30T17:37:05.4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8" d="100"/>
          <a:sy n="68" d="100"/>
        </p:scale>
        <p:origin x="792"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Master" Target="slideMasters/slideMaster1.xml"/><Relationship Id="rId39" Type="http://schemas.openxmlformats.org/officeDocument/2006/relationships/slide" Target="slides/slide12.xml"/><Relationship Id="rId21" Type="http://schemas.openxmlformats.org/officeDocument/2006/relationships/customXml" Target="../customXml/item21.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2.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 Target="slides/slide1.xml"/><Relationship Id="rId36" Type="http://schemas.openxmlformats.org/officeDocument/2006/relationships/slide" Target="slides/slide9.xml"/><Relationship Id="rId49" Type="http://schemas.microsoft.com/office/2016/11/relationships/changesInfo" Target="changesInfos/changesInfo1.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slide" Target="slides/slide4.xml"/><Relationship Id="rId44"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slideMaster" Target="slideMasters/slideMaster2.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tableStyles" Target="tableStyles.xml"/><Relationship Id="rId8" Type="http://schemas.openxmlformats.org/officeDocument/2006/relationships/customXml" Target="../customXml/item8.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viewProps" Target="viewProps.xml"/><Relationship Id="rId20" Type="http://schemas.openxmlformats.org/officeDocument/2006/relationships/customXml" Target="../customXml/item20.xml"/><Relationship Id="rId41"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customXml" Target="../customXml/item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gi, Pranav" userId="4b5900c1-1cef-47ff-b52e-681eff7a8307" providerId="ADAL" clId="{66508AF9-9487-4DA8-8B5A-B7B62EB18159}"/>
    <pc:docChg chg="custSel delSld modSld modSection">
      <pc:chgData name="Sogi, Pranav" userId="4b5900c1-1cef-47ff-b52e-681eff7a8307" providerId="ADAL" clId="{66508AF9-9487-4DA8-8B5A-B7B62EB18159}" dt="2024-07-30T17:37:49.630" v="13" actId="2696"/>
      <pc:docMkLst>
        <pc:docMk/>
      </pc:docMkLst>
      <pc:sldChg chg="delCm modCm">
        <pc:chgData name="Sogi, Pranav" userId="4b5900c1-1cef-47ff-b52e-681eff7a8307" providerId="ADAL" clId="{66508AF9-9487-4DA8-8B5A-B7B62EB18159}" dt="2024-07-30T17:35:45.440" v="1"/>
        <pc:sldMkLst>
          <pc:docMk/>
          <pc:sldMk cId="2010227181" sldId="2147482709"/>
        </pc:sldMkLst>
        <pc:extLst>
          <p:ext xmlns:p="http://schemas.openxmlformats.org/presentationml/2006/main" uri="{D6D511B9-2390-475A-947B-AFAB55BFBCF1}">
            <pc226:cmChg xmlns:pc226="http://schemas.microsoft.com/office/powerpoint/2022/06/main/command" chg="del mod">
              <pc226:chgData name="Sogi, Pranav" userId="4b5900c1-1cef-47ff-b52e-681eff7a8307" providerId="ADAL" clId="{66508AF9-9487-4DA8-8B5A-B7B62EB18159}" dt="2024-07-30T17:35:45.440" v="1"/>
              <pc2:cmMkLst xmlns:pc2="http://schemas.microsoft.com/office/powerpoint/2019/9/main/command">
                <pc:docMk/>
                <pc:sldMk cId="2010227181" sldId="2147482709"/>
                <pc2:cmMk id="{B1EC5C0B-3D4D-4604-A9B2-0CC9F623CB2B}"/>
              </pc2:cmMkLst>
            </pc226:cmChg>
          </p:ext>
        </pc:extLst>
      </pc:sldChg>
      <pc:sldChg chg="delCm">
        <pc:chgData name="Sogi, Pranav" userId="4b5900c1-1cef-47ff-b52e-681eff7a8307" providerId="ADAL" clId="{66508AF9-9487-4DA8-8B5A-B7B62EB18159}" dt="2024-07-30T17:36:15.069" v="4"/>
        <pc:sldMkLst>
          <pc:docMk/>
          <pc:sldMk cId="3542391616" sldId="2147482711"/>
        </pc:sldMkLst>
        <pc:extLst>
          <p:ext xmlns:p="http://schemas.openxmlformats.org/presentationml/2006/main" uri="{D6D511B9-2390-475A-947B-AFAB55BFBCF1}">
            <pc226:cmChg xmlns:pc226="http://schemas.microsoft.com/office/powerpoint/2022/06/main/command" chg="del">
              <pc226:chgData name="Sogi, Pranav" userId="4b5900c1-1cef-47ff-b52e-681eff7a8307" providerId="ADAL" clId="{66508AF9-9487-4DA8-8B5A-B7B62EB18159}" dt="2024-07-30T17:36:15.069" v="4"/>
              <pc2:cmMkLst xmlns:pc2="http://schemas.microsoft.com/office/powerpoint/2019/9/main/command">
                <pc:docMk/>
                <pc:sldMk cId="3542391616" sldId="2147482711"/>
                <pc2:cmMk id="{E8E80F8A-86FE-450B-BE2C-4BDC038455DA}"/>
              </pc2:cmMkLst>
            </pc226:cmChg>
          </p:ext>
        </pc:extLst>
      </pc:sldChg>
      <pc:sldChg chg="delSp modSp del mod modShow delCm">
        <pc:chgData name="Sogi, Pranav" userId="4b5900c1-1cef-47ff-b52e-681eff7a8307" providerId="ADAL" clId="{66508AF9-9487-4DA8-8B5A-B7B62EB18159}" dt="2024-07-30T17:37:49.630" v="13" actId="2696"/>
        <pc:sldMkLst>
          <pc:docMk/>
          <pc:sldMk cId="4233723798" sldId="2147482712"/>
        </pc:sldMkLst>
        <pc:graphicFrameChg chg="del mod">
          <ac:chgData name="Sogi, Pranav" userId="4b5900c1-1cef-47ff-b52e-681eff7a8307" providerId="ADAL" clId="{66508AF9-9487-4DA8-8B5A-B7B62EB18159}" dt="2024-07-30T17:37:36.411" v="12" actId="478"/>
          <ac:graphicFrameMkLst>
            <pc:docMk/>
            <pc:sldMk cId="4233723798" sldId="2147482712"/>
            <ac:graphicFrameMk id="9" creationId="{75B771E8-360A-7E66-D37A-88F23A43F511}"/>
          </ac:graphicFrameMkLst>
        </pc:graphicFrameChg>
        <pc:extLst>
          <p:ext xmlns:p="http://schemas.openxmlformats.org/presentationml/2006/main" uri="{D6D511B9-2390-475A-947B-AFAB55BFBCF1}">
            <pc226:cmChg xmlns:pc226="http://schemas.microsoft.com/office/powerpoint/2022/06/main/command" chg="del">
              <pc226:chgData name="Sogi, Pranav" userId="4b5900c1-1cef-47ff-b52e-681eff7a8307" providerId="ADAL" clId="{66508AF9-9487-4DA8-8B5A-B7B62EB18159}" dt="2024-07-30T17:36:26.248" v="5"/>
              <pc2:cmMkLst xmlns:pc2="http://schemas.microsoft.com/office/powerpoint/2019/9/main/command">
                <pc:docMk/>
                <pc:sldMk cId="4233723798" sldId="2147482712"/>
                <pc2:cmMk id="{E8BFAE92-E747-4E09-A2EF-1E6BEDBE6453}"/>
              </pc2:cmMkLst>
            </pc226:cmChg>
          </p:ext>
        </pc:extLst>
      </pc:sldChg>
      <pc:sldChg chg="delCm">
        <pc:chgData name="Sogi, Pranav" userId="4b5900c1-1cef-47ff-b52e-681eff7a8307" providerId="ADAL" clId="{66508AF9-9487-4DA8-8B5A-B7B62EB18159}" dt="2024-07-30T17:36:32.606" v="6"/>
        <pc:sldMkLst>
          <pc:docMk/>
          <pc:sldMk cId="2005261635" sldId="2147482713"/>
        </pc:sldMkLst>
        <pc:extLst>
          <p:ext xmlns:p="http://schemas.openxmlformats.org/presentationml/2006/main" uri="{D6D511B9-2390-475A-947B-AFAB55BFBCF1}">
            <pc226:cmChg xmlns:pc226="http://schemas.microsoft.com/office/powerpoint/2022/06/main/command" chg="del">
              <pc226:chgData name="Sogi, Pranav" userId="4b5900c1-1cef-47ff-b52e-681eff7a8307" providerId="ADAL" clId="{66508AF9-9487-4DA8-8B5A-B7B62EB18159}" dt="2024-07-30T17:36:32.606" v="6"/>
              <pc2:cmMkLst xmlns:pc2="http://schemas.microsoft.com/office/powerpoint/2019/9/main/command">
                <pc:docMk/>
                <pc:sldMk cId="2005261635" sldId="2147482713"/>
                <pc2:cmMk id="{51195623-AA69-41E1-AC2B-2E0FFD08F628}"/>
              </pc2:cmMkLst>
            </pc226:cmChg>
          </p:ext>
        </pc:extLst>
      </pc:sldChg>
      <pc:sldChg chg="delCm">
        <pc:chgData name="Sogi, Pranav" userId="4b5900c1-1cef-47ff-b52e-681eff7a8307" providerId="ADAL" clId="{66508AF9-9487-4DA8-8B5A-B7B62EB18159}" dt="2024-07-30T17:35:55.318" v="2"/>
        <pc:sldMkLst>
          <pc:docMk/>
          <pc:sldMk cId="3511841896" sldId="2147482718"/>
        </pc:sldMkLst>
        <pc:extLst>
          <p:ext xmlns:p="http://schemas.openxmlformats.org/presentationml/2006/main" uri="{D6D511B9-2390-475A-947B-AFAB55BFBCF1}">
            <pc226:cmChg xmlns:pc226="http://schemas.microsoft.com/office/powerpoint/2022/06/main/command" chg="del">
              <pc226:chgData name="Sogi, Pranav" userId="4b5900c1-1cef-47ff-b52e-681eff7a8307" providerId="ADAL" clId="{66508AF9-9487-4DA8-8B5A-B7B62EB18159}" dt="2024-07-30T17:35:55.318" v="2"/>
              <pc2:cmMkLst xmlns:pc2="http://schemas.microsoft.com/office/powerpoint/2019/9/main/command">
                <pc:docMk/>
                <pc:sldMk cId="3511841896" sldId="2147482718"/>
                <pc2:cmMk id="{B18D0164-6687-43D8-A987-9277E875916B}"/>
              </pc2:cmMkLst>
            </pc226:cmChg>
          </p:ext>
        </pc:extLst>
      </pc:sldChg>
      <pc:sldChg chg="delCm">
        <pc:chgData name="Sogi, Pranav" userId="4b5900c1-1cef-47ff-b52e-681eff7a8307" providerId="ADAL" clId="{66508AF9-9487-4DA8-8B5A-B7B62EB18159}" dt="2024-07-30T17:36:07.709" v="3"/>
        <pc:sldMkLst>
          <pc:docMk/>
          <pc:sldMk cId="514153652" sldId="2147482719"/>
        </pc:sldMkLst>
        <pc:extLst>
          <p:ext xmlns:p="http://schemas.openxmlformats.org/presentationml/2006/main" uri="{D6D511B9-2390-475A-947B-AFAB55BFBCF1}">
            <pc226:cmChg xmlns:pc226="http://schemas.microsoft.com/office/powerpoint/2022/06/main/command" chg="del">
              <pc226:chgData name="Sogi, Pranav" userId="4b5900c1-1cef-47ff-b52e-681eff7a8307" providerId="ADAL" clId="{66508AF9-9487-4DA8-8B5A-B7B62EB18159}" dt="2024-07-30T17:36:07.709" v="3"/>
              <pc2:cmMkLst xmlns:pc2="http://schemas.microsoft.com/office/powerpoint/2019/9/main/command">
                <pc:docMk/>
                <pc:sldMk cId="514153652" sldId="2147482719"/>
                <pc2:cmMk id="{2AF13D77-8D85-4913-8F67-C32E58939996}"/>
              </pc2:cmMkLst>
            </pc226:cmChg>
          </p:ext>
        </pc:extLst>
      </pc:sldChg>
      <pc:sldChg chg="delCm">
        <pc:chgData name="Sogi, Pranav" userId="4b5900c1-1cef-47ff-b52e-681eff7a8307" providerId="ADAL" clId="{66508AF9-9487-4DA8-8B5A-B7B62EB18159}" dt="2024-07-30T17:36:43.535" v="8"/>
        <pc:sldMkLst>
          <pc:docMk/>
          <pc:sldMk cId="769217906" sldId="2147482720"/>
        </pc:sldMkLst>
        <pc:extLst>
          <p:ext xmlns:p="http://schemas.openxmlformats.org/presentationml/2006/main" uri="{D6D511B9-2390-475A-947B-AFAB55BFBCF1}">
            <pc226:cmChg xmlns:pc226="http://schemas.microsoft.com/office/powerpoint/2022/06/main/command" chg="del">
              <pc226:chgData name="Sogi, Pranav" userId="4b5900c1-1cef-47ff-b52e-681eff7a8307" providerId="ADAL" clId="{66508AF9-9487-4DA8-8B5A-B7B62EB18159}" dt="2024-07-30T17:36:43.535" v="8"/>
              <pc2:cmMkLst xmlns:pc2="http://schemas.microsoft.com/office/powerpoint/2019/9/main/command">
                <pc:docMk/>
                <pc:sldMk cId="769217906" sldId="2147482720"/>
                <pc2:cmMk id="{9B819C4B-A796-4264-A4A2-F8A828687E1C}"/>
              </pc2:cmMkLst>
            </pc226:cmChg>
            <pc226:cmChg xmlns:pc226="http://schemas.microsoft.com/office/powerpoint/2022/06/main/command" chg="del">
              <pc226:chgData name="Sogi, Pranav" userId="4b5900c1-1cef-47ff-b52e-681eff7a8307" providerId="ADAL" clId="{66508AF9-9487-4DA8-8B5A-B7B62EB18159}" dt="2024-07-30T17:36:40.518" v="7"/>
              <pc2:cmMkLst xmlns:pc2="http://schemas.microsoft.com/office/powerpoint/2019/9/main/command">
                <pc:docMk/>
                <pc:sldMk cId="769217906" sldId="2147482720"/>
                <pc2:cmMk id="{999AB37E-4C4F-4019-9488-C494DDA3FE63}"/>
              </pc2:cmMkLst>
            </pc226:cmChg>
          </p:ext>
        </pc:extLst>
      </pc:sldChg>
      <pc:sldChg chg="delCm">
        <pc:chgData name="Sogi, Pranav" userId="4b5900c1-1cef-47ff-b52e-681eff7a8307" providerId="ADAL" clId="{66508AF9-9487-4DA8-8B5A-B7B62EB18159}" dt="2024-07-30T17:36:49.515" v="9"/>
        <pc:sldMkLst>
          <pc:docMk/>
          <pc:sldMk cId="3231079088" sldId="2147482721"/>
        </pc:sldMkLst>
        <pc:extLst>
          <p:ext xmlns:p="http://schemas.openxmlformats.org/presentationml/2006/main" uri="{D6D511B9-2390-475A-947B-AFAB55BFBCF1}">
            <pc226:cmChg xmlns:pc226="http://schemas.microsoft.com/office/powerpoint/2022/06/main/command" chg="del">
              <pc226:chgData name="Sogi, Pranav" userId="4b5900c1-1cef-47ff-b52e-681eff7a8307" providerId="ADAL" clId="{66508AF9-9487-4DA8-8B5A-B7B62EB18159}" dt="2024-07-30T17:36:49.515" v="9"/>
              <pc2:cmMkLst xmlns:pc2="http://schemas.microsoft.com/office/powerpoint/2019/9/main/command">
                <pc:docMk/>
                <pc:sldMk cId="3231079088" sldId="2147482721"/>
                <pc2:cmMk id="{2EB87672-9453-4922-BF95-C7554E476323}"/>
              </pc2:cmMkLst>
            </pc226:cmChg>
          </p:ext>
        </pc:extLst>
      </pc:sldChg>
    </pc:docChg>
  </pc:docChgLst>
  <pc:docChgLst>
    <pc:chgData name="Pranav A Sogi" userId="26041da9-58db-4268-87d2-8f3ed54afd3b" providerId="ADAL" clId="{3B40422A-39D3-481D-AF9A-F714FAEE8EB0}"/>
    <pc:docChg chg="undo custSel addSld delSld modSld sldOrd modSection">
      <pc:chgData name="Pranav A Sogi" userId="26041da9-58db-4268-87d2-8f3ed54afd3b" providerId="ADAL" clId="{3B40422A-39D3-481D-AF9A-F714FAEE8EB0}" dt="2024-07-23T13:03:44.360" v="1721" actId="478"/>
      <pc:docMkLst>
        <pc:docMk/>
      </pc:docMkLst>
      <pc:sldChg chg="del">
        <pc:chgData name="Pranav A Sogi" userId="26041da9-58db-4268-87d2-8f3ed54afd3b" providerId="ADAL" clId="{3B40422A-39D3-481D-AF9A-F714FAEE8EB0}" dt="2024-07-23T07:37:46.471" v="485" actId="2696"/>
        <pc:sldMkLst>
          <pc:docMk/>
          <pc:sldMk cId="4279906043" sldId="324"/>
        </pc:sldMkLst>
      </pc:sldChg>
      <pc:sldChg chg="modSp mod">
        <pc:chgData name="Pranav A Sogi" userId="26041da9-58db-4268-87d2-8f3ed54afd3b" providerId="ADAL" clId="{3B40422A-39D3-481D-AF9A-F714FAEE8EB0}" dt="2024-07-23T11:58:57.123" v="1717" actId="20577"/>
        <pc:sldMkLst>
          <pc:docMk/>
          <pc:sldMk cId="1466793444" sldId="329"/>
        </pc:sldMkLst>
        <pc:spChg chg="mod">
          <ac:chgData name="Pranav A Sogi" userId="26041da9-58db-4268-87d2-8f3ed54afd3b" providerId="ADAL" clId="{3B40422A-39D3-481D-AF9A-F714FAEE8EB0}" dt="2024-07-23T11:58:57.123" v="1717" actId="20577"/>
          <ac:spMkLst>
            <pc:docMk/>
            <pc:sldMk cId="1466793444" sldId="329"/>
            <ac:spMk id="6" creationId="{818AC00A-33C4-E921-1EF5-87E47002F290}"/>
          </ac:spMkLst>
        </pc:spChg>
      </pc:sldChg>
      <pc:sldChg chg="modSp mod">
        <pc:chgData name="Pranav A Sogi" userId="26041da9-58db-4268-87d2-8f3ed54afd3b" providerId="ADAL" clId="{3B40422A-39D3-481D-AF9A-F714FAEE8EB0}" dt="2024-07-23T10:38:10.868" v="1276" actId="20577"/>
        <pc:sldMkLst>
          <pc:docMk/>
          <pc:sldMk cId="438402519" sldId="2147482708"/>
        </pc:sldMkLst>
        <pc:spChg chg="mod">
          <ac:chgData name="Pranav A Sogi" userId="26041da9-58db-4268-87d2-8f3ed54afd3b" providerId="ADAL" clId="{3B40422A-39D3-481D-AF9A-F714FAEE8EB0}" dt="2024-07-23T07:37:18.825" v="476" actId="20577"/>
          <ac:spMkLst>
            <pc:docMk/>
            <pc:sldMk cId="438402519" sldId="2147482708"/>
            <ac:spMk id="205" creationId="{24BF7D34-415D-D3DD-28BB-CBAA45B64DFC}"/>
          </ac:spMkLst>
        </pc:spChg>
        <pc:spChg chg="mod">
          <ac:chgData name="Pranav A Sogi" userId="26041da9-58db-4268-87d2-8f3ed54afd3b" providerId="ADAL" clId="{3B40422A-39D3-481D-AF9A-F714FAEE8EB0}" dt="2024-07-23T10:38:10.868" v="1276" actId="20577"/>
          <ac:spMkLst>
            <pc:docMk/>
            <pc:sldMk cId="438402519" sldId="2147482708"/>
            <ac:spMk id="215" creationId="{026C740F-EC47-E491-F3CD-D91019D204D0}"/>
          </ac:spMkLst>
        </pc:spChg>
      </pc:sldChg>
      <pc:sldChg chg="addSp delSp modSp mod addCm modCm">
        <pc:chgData name="Pranav A Sogi" userId="26041da9-58db-4268-87d2-8f3ed54afd3b" providerId="ADAL" clId="{3B40422A-39D3-481D-AF9A-F714FAEE8EB0}" dt="2024-07-23T13:03:44.360" v="1721" actId="478"/>
        <pc:sldMkLst>
          <pc:docMk/>
          <pc:sldMk cId="2010227181" sldId="2147482709"/>
        </pc:sldMkLst>
        <pc:spChg chg="add mod">
          <ac:chgData name="Pranav A Sogi" userId="26041da9-58db-4268-87d2-8f3ed54afd3b" providerId="ADAL" clId="{3B40422A-39D3-481D-AF9A-F714FAEE8EB0}" dt="2024-07-23T10:26:23.987" v="1159" actId="113"/>
          <ac:spMkLst>
            <pc:docMk/>
            <pc:sldMk cId="2010227181" sldId="2147482709"/>
            <ac:spMk id="2" creationId="{33080F44-E0F6-FE3B-936F-0D5FB15F670E}"/>
          </ac:spMkLst>
        </pc:spChg>
        <pc:spChg chg="mod">
          <ac:chgData name="Pranav A Sogi" userId="26041da9-58db-4268-87d2-8f3ed54afd3b" providerId="ADAL" clId="{3B40422A-39D3-481D-AF9A-F714FAEE8EB0}" dt="2024-07-23T10:26:59.169" v="1161" actId="113"/>
          <ac:spMkLst>
            <pc:docMk/>
            <pc:sldMk cId="2010227181" sldId="2147482709"/>
            <ac:spMk id="3" creationId="{AF20ADC2-3C67-D329-EA6F-2488F4EFF432}"/>
          </ac:spMkLst>
        </pc:spChg>
        <pc:spChg chg="mod">
          <ac:chgData name="Pranav A Sogi" userId="26041da9-58db-4268-87d2-8f3ed54afd3b" providerId="ADAL" clId="{3B40422A-39D3-481D-AF9A-F714FAEE8EB0}" dt="2024-07-23T10:27:40.372" v="1165" actId="113"/>
          <ac:spMkLst>
            <pc:docMk/>
            <pc:sldMk cId="2010227181" sldId="2147482709"/>
            <ac:spMk id="4" creationId="{52A4373F-7579-759D-B212-9C86F1FEA716}"/>
          </ac:spMkLst>
        </pc:spChg>
        <pc:spChg chg="mod">
          <ac:chgData name="Pranav A Sogi" userId="26041da9-58db-4268-87d2-8f3ed54afd3b" providerId="ADAL" clId="{3B40422A-39D3-481D-AF9A-F714FAEE8EB0}" dt="2024-07-23T09:26:17.539" v="1118" actId="20577"/>
          <ac:spMkLst>
            <pc:docMk/>
            <pc:sldMk cId="2010227181" sldId="2147482709"/>
            <ac:spMk id="5" creationId="{E213826C-8B83-A229-3461-601581E9102F}"/>
          </ac:spMkLst>
        </pc:spChg>
        <pc:spChg chg="mod">
          <ac:chgData name="Pranav A Sogi" userId="26041da9-58db-4268-87d2-8f3ed54afd3b" providerId="ADAL" clId="{3B40422A-39D3-481D-AF9A-F714FAEE8EB0}" dt="2024-07-23T10:28:05.621" v="1169" actId="113"/>
          <ac:spMkLst>
            <pc:docMk/>
            <pc:sldMk cId="2010227181" sldId="2147482709"/>
            <ac:spMk id="6" creationId="{E3C9F3AA-7857-F7EE-FAA1-8B65828C6AC1}"/>
          </ac:spMkLst>
        </pc:spChg>
        <pc:spChg chg="mod">
          <ac:chgData name="Pranav A Sogi" userId="26041da9-58db-4268-87d2-8f3ed54afd3b" providerId="ADAL" clId="{3B40422A-39D3-481D-AF9A-F714FAEE8EB0}" dt="2024-07-23T10:29:12.678" v="1176" actId="113"/>
          <ac:spMkLst>
            <pc:docMk/>
            <pc:sldMk cId="2010227181" sldId="2147482709"/>
            <ac:spMk id="7" creationId="{7627FA47-93C1-2834-3F6A-B150D1244132}"/>
          </ac:spMkLst>
        </pc:spChg>
        <pc:spChg chg="mod topLvl">
          <ac:chgData name="Pranav A Sogi" userId="26041da9-58db-4268-87d2-8f3ed54afd3b" providerId="ADAL" clId="{3B40422A-39D3-481D-AF9A-F714FAEE8EB0}" dt="2024-07-23T10:29:41.348" v="1178" actId="113"/>
          <ac:spMkLst>
            <pc:docMk/>
            <pc:sldMk cId="2010227181" sldId="2147482709"/>
            <ac:spMk id="8" creationId="{84EE4F20-D437-42E0-122C-DECF3FAD59EA}"/>
          </ac:spMkLst>
        </pc:spChg>
        <pc:spChg chg="add mod">
          <ac:chgData name="Pranav A Sogi" userId="26041da9-58db-4268-87d2-8f3ed54afd3b" providerId="ADAL" clId="{3B40422A-39D3-481D-AF9A-F714FAEE8EB0}" dt="2024-07-23T09:17:23.781" v="1097" actId="1076"/>
          <ac:spMkLst>
            <pc:docMk/>
            <pc:sldMk cId="2010227181" sldId="2147482709"/>
            <ac:spMk id="9" creationId="{C2D228DE-43A2-C300-C874-5B8A9678624A}"/>
          </ac:spMkLst>
        </pc:spChg>
        <pc:spChg chg="del mod">
          <ac:chgData name="Pranav A Sogi" userId="26041da9-58db-4268-87d2-8f3ed54afd3b" providerId="ADAL" clId="{3B40422A-39D3-481D-AF9A-F714FAEE8EB0}" dt="2024-07-23T13:03:44.360" v="1721" actId="478"/>
          <ac:spMkLst>
            <pc:docMk/>
            <pc:sldMk cId="2010227181" sldId="2147482709"/>
            <ac:spMk id="11" creationId="{AEF6EAE3-7DD3-2A68-5524-7E4B648FCC11}"/>
          </ac:spMkLst>
        </pc:spChg>
        <pc:spChg chg="mod">
          <ac:chgData name="Pranav A Sogi" userId="26041da9-58db-4268-87d2-8f3ed54afd3b" providerId="ADAL" clId="{3B40422A-39D3-481D-AF9A-F714FAEE8EB0}" dt="2024-07-23T10:25:58.774" v="1157" actId="113"/>
          <ac:spMkLst>
            <pc:docMk/>
            <pc:sldMk cId="2010227181" sldId="2147482709"/>
            <ac:spMk id="23" creationId="{B78E3CE9-715F-D205-DCB5-BD242DAC67C1}"/>
          </ac:spMkLst>
        </pc:spChg>
        <pc:spChg chg="mod">
          <ac:chgData name="Pranav A Sogi" userId="26041da9-58db-4268-87d2-8f3ed54afd3b" providerId="ADAL" clId="{3B40422A-39D3-481D-AF9A-F714FAEE8EB0}" dt="2024-07-23T10:26:12.545" v="1158" actId="113"/>
          <ac:spMkLst>
            <pc:docMk/>
            <pc:sldMk cId="2010227181" sldId="2147482709"/>
            <ac:spMk id="26" creationId="{08064489-4048-FE47-789E-7879FB88A570}"/>
          </ac:spMkLst>
        </pc:spChg>
        <pc:spChg chg="mod">
          <ac:chgData name="Pranav A Sogi" userId="26041da9-58db-4268-87d2-8f3ed54afd3b" providerId="ADAL" clId="{3B40422A-39D3-481D-AF9A-F714FAEE8EB0}" dt="2024-07-23T10:26:48.168" v="1160" actId="113"/>
          <ac:spMkLst>
            <pc:docMk/>
            <pc:sldMk cId="2010227181" sldId="2147482709"/>
            <ac:spMk id="28" creationId="{90319369-CC44-D17D-1BD8-E6ADAD4D8DB2}"/>
          </ac:spMkLst>
        </pc:spChg>
        <pc:spChg chg="mod">
          <ac:chgData name="Pranav A Sogi" userId="26041da9-58db-4268-87d2-8f3ed54afd3b" providerId="ADAL" clId="{3B40422A-39D3-481D-AF9A-F714FAEE8EB0}" dt="2024-07-23T10:27:14.195" v="1162" actId="113"/>
          <ac:spMkLst>
            <pc:docMk/>
            <pc:sldMk cId="2010227181" sldId="2147482709"/>
            <ac:spMk id="29" creationId="{FCB7F731-C799-2396-62B6-8D080F71C0CB}"/>
          </ac:spMkLst>
        </pc:spChg>
        <pc:spChg chg="mod">
          <ac:chgData name="Pranav A Sogi" userId="26041da9-58db-4268-87d2-8f3ed54afd3b" providerId="ADAL" clId="{3B40422A-39D3-481D-AF9A-F714FAEE8EB0}" dt="2024-07-23T10:28:12.977" v="1170" actId="113"/>
          <ac:spMkLst>
            <pc:docMk/>
            <pc:sldMk cId="2010227181" sldId="2147482709"/>
            <ac:spMk id="30" creationId="{C8489662-E654-65A1-19CD-4A13B5BADF4D}"/>
          </ac:spMkLst>
        </pc:spChg>
        <pc:spChg chg="mod">
          <ac:chgData name="Pranav A Sogi" userId="26041da9-58db-4268-87d2-8f3ed54afd3b" providerId="ADAL" clId="{3B40422A-39D3-481D-AF9A-F714FAEE8EB0}" dt="2024-07-23T10:27:28.042" v="1164" actId="113"/>
          <ac:spMkLst>
            <pc:docMk/>
            <pc:sldMk cId="2010227181" sldId="2147482709"/>
            <ac:spMk id="40" creationId="{88951714-F2C8-0D8C-36EE-3EC03677B514}"/>
          </ac:spMkLst>
        </pc:spChg>
        <pc:spChg chg="mod">
          <ac:chgData name="Pranav A Sogi" userId="26041da9-58db-4268-87d2-8f3ed54afd3b" providerId="ADAL" clId="{3B40422A-39D3-481D-AF9A-F714FAEE8EB0}" dt="2024-07-23T03:10:46.448" v="28" actId="207"/>
          <ac:spMkLst>
            <pc:docMk/>
            <pc:sldMk cId="2010227181" sldId="2147482709"/>
            <ac:spMk id="41" creationId="{B7F71C3C-0FDD-D413-9614-0F31EFD9F066}"/>
          </ac:spMkLst>
        </pc:spChg>
        <pc:spChg chg="mod topLvl">
          <ac:chgData name="Pranav A Sogi" userId="26041da9-58db-4268-87d2-8f3ed54afd3b" providerId="ADAL" clId="{3B40422A-39D3-481D-AF9A-F714FAEE8EB0}" dt="2024-07-23T10:30:28.595" v="1179" actId="113"/>
          <ac:spMkLst>
            <pc:docMk/>
            <pc:sldMk cId="2010227181" sldId="2147482709"/>
            <ac:spMk id="42" creationId="{2248FC4E-CA67-05E6-4676-2F5D2D712AFB}"/>
          </ac:spMkLst>
        </pc:spChg>
        <pc:spChg chg="del topLvl">
          <ac:chgData name="Pranav A Sogi" userId="26041da9-58db-4268-87d2-8f3ed54afd3b" providerId="ADAL" clId="{3B40422A-39D3-481D-AF9A-F714FAEE8EB0}" dt="2024-07-23T08:51:43.695" v="614" actId="478"/>
          <ac:spMkLst>
            <pc:docMk/>
            <pc:sldMk cId="2010227181" sldId="2147482709"/>
            <ac:spMk id="43" creationId="{B00A4E85-1C51-407C-4587-E253117B49F3}"/>
          </ac:spMkLst>
        </pc:spChg>
        <pc:spChg chg="del topLvl">
          <ac:chgData name="Pranav A Sogi" userId="26041da9-58db-4268-87d2-8f3ed54afd3b" providerId="ADAL" clId="{3B40422A-39D3-481D-AF9A-F714FAEE8EB0}" dt="2024-07-23T08:51:47.026" v="615" actId="478"/>
          <ac:spMkLst>
            <pc:docMk/>
            <pc:sldMk cId="2010227181" sldId="2147482709"/>
            <ac:spMk id="44" creationId="{2ED4F8F1-A63C-29E7-0DD1-8485E06472F5}"/>
          </ac:spMkLst>
        </pc:spChg>
        <pc:spChg chg="del mod">
          <ac:chgData name="Pranav A Sogi" userId="26041da9-58db-4268-87d2-8f3ed54afd3b" providerId="ADAL" clId="{3B40422A-39D3-481D-AF9A-F714FAEE8EB0}" dt="2024-07-23T03:06:07.617" v="21" actId="478"/>
          <ac:spMkLst>
            <pc:docMk/>
            <pc:sldMk cId="2010227181" sldId="2147482709"/>
            <ac:spMk id="45" creationId="{B07CCB23-F591-1C2B-6C5D-60EC64A09C27}"/>
          </ac:spMkLst>
        </pc:spChg>
        <pc:spChg chg="del topLvl">
          <ac:chgData name="Pranav A Sogi" userId="26041da9-58db-4268-87d2-8f3ed54afd3b" providerId="ADAL" clId="{3B40422A-39D3-481D-AF9A-F714FAEE8EB0}" dt="2024-07-23T09:20:06.604" v="1099" actId="478"/>
          <ac:spMkLst>
            <pc:docMk/>
            <pc:sldMk cId="2010227181" sldId="2147482709"/>
            <ac:spMk id="51" creationId="{D607B4B9-DC86-239C-7EE9-28972EE0E043}"/>
          </ac:spMkLst>
        </pc:spChg>
        <pc:spChg chg="mod">
          <ac:chgData name="Pranav A Sogi" userId="26041da9-58db-4268-87d2-8f3ed54afd3b" providerId="ADAL" clId="{3B40422A-39D3-481D-AF9A-F714FAEE8EB0}" dt="2024-07-23T10:29:27.330" v="1177" actId="113"/>
          <ac:spMkLst>
            <pc:docMk/>
            <pc:sldMk cId="2010227181" sldId="2147482709"/>
            <ac:spMk id="52" creationId="{76CB7F1B-D605-FAF8-8AB6-6842A4B4697D}"/>
          </ac:spMkLst>
        </pc:spChg>
        <pc:spChg chg="mod">
          <ac:chgData name="Pranav A Sogi" userId="26041da9-58db-4268-87d2-8f3ed54afd3b" providerId="ADAL" clId="{3B40422A-39D3-481D-AF9A-F714FAEE8EB0}" dt="2024-07-23T10:28:56.437" v="1175" actId="113"/>
          <ac:spMkLst>
            <pc:docMk/>
            <pc:sldMk cId="2010227181" sldId="2147482709"/>
            <ac:spMk id="56" creationId="{B07DD75D-077E-48DC-1E0A-0F291FACB830}"/>
          </ac:spMkLst>
        </pc:spChg>
        <pc:spChg chg="del mod topLvl">
          <ac:chgData name="Pranav A Sogi" userId="26041da9-58db-4268-87d2-8f3ed54afd3b" providerId="ADAL" clId="{3B40422A-39D3-481D-AF9A-F714FAEE8EB0}" dt="2024-07-23T08:52:26.184" v="618" actId="478"/>
          <ac:spMkLst>
            <pc:docMk/>
            <pc:sldMk cId="2010227181" sldId="2147482709"/>
            <ac:spMk id="62" creationId="{636F61A5-3910-D67B-81BE-8B7AFBCD1C8D}"/>
          </ac:spMkLst>
        </pc:spChg>
        <pc:spChg chg="mod">
          <ac:chgData name="Pranav A Sogi" userId="26041da9-58db-4268-87d2-8f3ed54afd3b" providerId="ADAL" clId="{3B40422A-39D3-481D-AF9A-F714FAEE8EB0}" dt="2024-07-23T10:28:34.175" v="1173" actId="113"/>
          <ac:spMkLst>
            <pc:docMk/>
            <pc:sldMk cId="2010227181" sldId="2147482709"/>
            <ac:spMk id="64" creationId="{25C01B9C-49D1-54EE-99CA-618236B10018}"/>
          </ac:spMkLst>
        </pc:spChg>
        <pc:spChg chg="mod">
          <ac:chgData name="Pranav A Sogi" userId="26041da9-58db-4268-87d2-8f3ed54afd3b" providerId="ADAL" clId="{3B40422A-39D3-481D-AF9A-F714FAEE8EB0}" dt="2024-07-23T10:28:45.548" v="1174" actId="113"/>
          <ac:spMkLst>
            <pc:docMk/>
            <pc:sldMk cId="2010227181" sldId="2147482709"/>
            <ac:spMk id="66" creationId="{58FEFE87-F22E-67EF-A457-6EA576244F2A}"/>
          </ac:spMkLst>
        </pc:spChg>
        <pc:spChg chg="mod">
          <ac:chgData name="Pranav A Sogi" userId="26041da9-58db-4268-87d2-8f3ed54afd3b" providerId="ADAL" clId="{3B40422A-39D3-481D-AF9A-F714FAEE8EB0}" dt="2024-07-23T09:17:36.112" v="1098" actId="1076"/>
          <ac:spMkLst>
            <pc:docMk/>
            <pc:sldMk cId="2010227181" sldId="2147482709"/>
            <ac:spMk id="68" creationId="{8B3ED60A-7245-6715-5ECB-81228DD0C841}"/>
          </ac:spMkLst>
        </pc:spChg>
        <pc:spChg chg="mod">
          <ac:chgData name="Pranav A Sogi" userId="26041da9-58db-4268-87d2-8f3ed54afd3b" providerId="ADAL" clId="{3B40422A-39D3-481D-AF9A-F714FAEE8EB0}" dt="2024-07-23T02:55:33.579" v="14" actId="20577"/>
          <ac:spMkLst>
            <pc:docMk/>
            <pc:sldMk cId="2010227181" sldId="2147482709"/>
            <ac:spMk id="91" creationId="{F19F45BD-EAD1-7F6E-5A26-F3AB04406B00}"/>
          </ac:spMkLst>
        </pc:spChg>
        <pc:spChg chg="mod">
          <ac:chgData name="Pranav A Sogi" userId="26041da9-58db-4268-87d2-8f3ed54afd3b" providerId="ADAL" clId="{3B40422A-39D3-481D-AF9A-F714FAEE8EB0}" dt="2024-07-23T03:11:02.162" v="32" actId="207"/>
          <ac:spMkLst>
            <pc:docMk/>
            <pc:sldMk cId="2010227181" sldId="2147482709"/>
            <ac:spMk id="92" creationId="{39E952B8-0911-93EF-4E8A-9E0C14F4715C}"/>
          </ac:spMkLst>
        </pc:spChg>
        <pc:spChg chg="mod">
          <ac:chgData name="Pranav A Sogi" userId="26041da9-58db-4268-87d2-8f3ed54afd3b" providerId="ADAL" clId="{3B40422A-39D3-481D-AF9A-F714FAEE8EB0}" dt="2024-07-23T02:55:28.133" v="6" actId="20577"/>
          <ac:spMkLst>
            <pc:docMk/>
            <pc:sldMk cId="2010227181" sldId="2147482709"/>
            <ac:spMk id="95" creationId="{E901CD4E-4D6A-CDC7-B5F1-63C243AC1E4C}"/>
          </ac:spMkLst>
        </pc:spChg>
        <pc:spChg chg="mod">
          <ac:chgData name="Pranav A Sogi" userId="26041da9-58db-4268-87d2-8f3ed54afd3b" providerId="ADAL" clId="{3B40422A-39D3-481D-AF9A-F714FAEE8EB0}" dt="2024-07-23T02:55:37.023" v="15" actId="20577"/>
          <ac:spMkLst>
            <pc:docMk/>
            <pc:sldMk cId="2010227181" sldId="2147482709"/>
            <ac:spMk id="98" creationId="{B9ACD629-02EA-1C09-C9DC-369D5AA82B32}"/>
          </ac:spMkLst>
        </pc:spChg>
        <pc:spChg chg="del">
          <ac:chgData name="Pranav A Sogi" userId="26041da9-58db-4268-87d2-8f3ed54afd3b" providerId="ADAL" clId="{3B40422A-39D3-481D-AF9A-F714FAEE8EB0}" dt="2024-07-23T02:55:39.481" v="16" actId="478"/>
          <ac:spMkLst>
            <pc:docMk/>
            <pc:sldMk cId="2010227181" sldId="2147482709"/>
            <ac:spMk id="99" creationId="{C1C07DC3-5724-5596-D88D-A626347D1B8B}"/>
          </ac:spMkLst>
        </pc:spChg>
        <pc:grpChg chg="del">
          <ac:chgData name="Pranav A Sogi" userId="26041da9-58db-4268-87d2-8f3ed54afd3b" providerId="ADAL" clId="{3B40422A-39D3-481D-AF9A-F714FAEE8EB0}" dt="2024-07-23T08:52:26.184" v="618" actId="478"/>
          <ac:grpSpMkLst>
            <pc:docMk/>
            <pc:sldMk cId="2010227181" sldId="2147482709"/>
            <ac:grpSpMk id="69" creationId="{241E0AD3-11D8-3E1E-0CC6-C61A1F88632F}"/>
          </ac:grpSpMkLst>
        </pc:grpChg>
        <pc:grpChg chg="del">
          <ac:chgData name="Pranav A Sogi" userId="26041da9-58db-4268-87d2-8f3ed54afd3b" providerId="ADAL" clId="{3B40422A-39D3-481D-AF9A-F714FAEE8EB0}" dt="2024-07-23T09:20:06.604" v="1099" actId="478"/>
          <ac:grpSpMkLst>
            <pc:docMk/>
            <pc:sldMk cId="2010227181" sldId="2147482709"/>
            <ac:grpSpMk id="70" creationId="{B67C6A29-7DCE-8107-FEBA-13FEE54640E0}"/>
          </ac:grpSpMkLst>
        </pc:grpChg>
        <pc:grpChg chg="del">
          <ac:chgData name="Pranav A Sogi" userId="26041da9-58db-4268-87d2-8f3ed54afd3b" providerId="ADAL" clId="{3B40422A-39D3-481D-AF9A-F714FAEE8EB0}" dt="2024-07-23T08:51:43.695" v="614" actId="478"/>
          <ac:grpSpMkLst>
            <pc:docMk/>
            <pc:sldMk cId="2010227181" sldId="2147482709"/>
            <ac:grpSpMk id="71" creationId="{B25CB68B-6B25-19F1-73F3-B87B17067B77}"/>
          </ac:grpSpMkLst>
        </pc:grpChg>
        <pc:extLst>
          <p:ext xmlns:p="http://schemas.openxmlformats.org/presentationml/2006/main" uri="{D6D511B9-2390-475A-947B-AFAB55BFBCF1}">
            <pc226:cmChg xmlns:pc226="http://schemas.microsoft.com/office/powerpoint/2022/06/main/command" chg="add mod modTsk">
              <pc226:chgData name="Pranav A Sogi" userId="26041da9-58db-4268-87d2-8f3ed54afd3b" providerId="ADAL" clId="{3B40422A-39D3-481D-AF9A-F714FAEE8EB0}" dt="2024-07-23T09:27:22.096" v="1119"/>
              <pc2:cmMkLst xmlns:pc2="http://schemas.microsoft.com/office/powerpoint/2019/9/main/command">
                <pc:docMk/>
                <pc:sldMk cId="2010227181" sldId="2147482709"/>
                <pc2:cmMk id="{B1EC5C0B-3D4D-4604-A9B2-0CC9F623CB2B}"/>
              </pc2:cmMkLst>
              <pc226:cmRplyChg chg="add">
                <pc226:chgData name="Pranav A Sogi" userId="26041da9-58db-4268-87d2-8f3ed54afd3b" providerId="ADAL" clId="{3B40422A-39D3-481D-AF9A-F714FAEE8EB0}" dt="2024-07-23T09:27:22.096" v="1119"/>
                <pc2:cmRplyMkLst xmlns:pc2="http://schemas.microsoft.com/office/powerpoint/2019/9/main/command">
                  <pc:docMk/>
                  <pc:sldMk cId="2010227181" sldId="2147482709"/>
                  <pc2:cmMk id="{B1EC5C0B-3D4D-4604-A9B2-0CC9F623CB2B}"/>
                  <pc2:cmRplyMk id="{33AD0F36-BD1A-4928-B4F3-FA0FEA25F61B}"/>
                </pc2:cmRplyMkLst>
              </pc226:cmRplyChg>
            </pc226:cmChg>
          </p:ext>
        </pc:extLst>
      </pc:sldChg>
      <pc:sldChg chg="addSp modSp mod addCm modCm">
        <pc:chgData name="Pranav A Sogi" userId="26041da9-58db-4268-87d2-8f3ed54afd3b" providerId="ADAL" clId="{3B40422A-39D3-481D-AF9A-F714FAEE8EB0}" dt="2024-07-23T11:15:59.322" v="1343"/>
        <pc:sldMkLst>
          <pc:docMk/>
          <pc:sldMk cId="3296767712" sldId="2147482710"/>
        </pc:sldMkLst>
        <pc:spChg chg="add mod">
          <ac:chgData name="Pranav A Sogi" userId="26041da9-58db-4268-87d2-8f3ed54afd3b" providerId="ADAL" clId="{3B40422A-39D3-481D-AF9A-F714FAEE8EB0}" dt="2024-07-23T06:49:20.967" v="226" actId="20577"/>
          <ac:spMkLst>
            <pc:docMk/>
            <pc:sldMk cId="3296767712" sldId="2147482710"/>
            <ac:spMk id="3" creationId="{26E2620F-796F-C388-5199-5C7D72353B2E}"/>
          </ac:spMkLst>
        </pc:spChg>
        <pc:spChg chg="mod">
          <ac:chgData name="Pranav A Sogi" userId="26041da9-58db-4268-87d2-8f3ed54afd3b" providerId="ADAL" clId="{3B40422A-39D3-481D-AF9A-F714FAEE8EB0}" dt="2024-07-23T08:43:12.996" v="494" actId="1076"/>
          <ac:spMkLst>
            <pc:docMk/>
            <pc:sldMk cId="3296767712" sldId="2147482710"/>
            <ac:spMk id="5" creationId="{A7C76751-65DE-043A-D123-93CA66A65D08}"/>
          </ac:spMkLst>
        </pc:spChg>
        <pc:spChg chg="mod">
          <ac:chgData name="Pranav A Sogi" userId="26041da9-58db-4268-87d2-8f3ed54afd3b" providerId="ADAL" clId="{3B40422A-39D3-481D-AF9A-F714FAEE8EB0}" dt="2024-07-23T06:48:34.493" v="156" actId="14100"/>
          <ac:spMkLst>
            <pc:docMk/>
            <pc:sldMk cId="3296767712" sldId="2147482710"/>
            <ac:spMk id="7" creationId="{9340FB5D-DB4A-2A98-A047-03303A5528F1}"/>
          </ac:spMkLst>
        </pc:spChg>
        <pc:graphicFrameChg chg="mod modGraphic">
          <ac:chgData name="Pranav A Sogi" userId="26041da9-58db-4268-87d2-8f3ed54afd3b" providerId="ADAL" clId="{3B40422A-39D3-481D-AF9A-F714FAEE8EB0}" dt="2024-07-23T11:15:52.093" v="1342" actId="20577"/>
          <ac:graphicFrameMkLst>
            <pc:docMk/>
            <pc:sldMk cId="3296767712" sldId="2147482710"/>
            <ac:graphicFrameMk id="4" creationId="{E2C71DD9-2673-621D-24C8-631849C84463}"/>
          </ac:graphicFrameMkLst>
        </pc:graphicFrameChg>
        <pc:graphicFrameChg chg="mod">
          <ac:chgData name="Pranav A Sogi" userId="26041da9-58db-4268-87d2-8f3ed54afd3b" providerId="ADAL" clId="{3B40422A-39D3-481D-AF9A-F714FAEE8EB0}" dt="2024-07-23T11:15:59.322" v="1343"/>
          <ac:graphicFrameMkLst>
            <pc:docMk/>
            <pc:sldMk cId="3296767712" sldId="2147482710"/>
            <ac:graphicFrameMk id="9" creationId="{4911E276-C5CA-6519-8688-F051F062B50F}"/>
          </ac:graphicFrameMkLst>
        </pc:graphicFrameChg>
        <pc:extLst>
          <p:ext xmlns:p="http://schemas.openxmlformats.org/presentationml/2006/main" uri="{D6D511B9-2390-475A-947B-AFAB55BFBCF1}">
            <pc226:cmChg xmlns:pc226="http://schemas.microsoft.com/office/powerpoint/2022/06/main/command" chg="add mod modRxn">
              <pc226:chgData name="Pranav A Sogi" userId="26041da9-58db-4268-87d2-8f3ed54afd3b" providerId="ADAL" clId="{3B40422A-39D3-481D-AF9A-F714FAEE8EB0}" dt="2024-07-23T09:23:15.153" v="1113"/>
              <pc2:cmMkLst xmlns:pc2="http://schemas.microsoft.com/office/powerpoint/2019/9/main/command">
                <pc:docMk/>
                <pc:sldMk cId="3296767712" sldId="2147482710"/>
                <pc2:cmMk id="{94F96CC4-27AD-4CF0-AB41-8B1C3DF9D4FD}"/>
              </pc2:cmMkLst>
            </pc226:cmChg>
            <pc226:cmChg xmlns:pc226="http://schemas.microsoft.com/office/powerpoint/2022/06/main/command" chg="add mod">
              <pc226:chgData name="Pranav A Sogi" userId="26041da9-58db-4268-87d2-8f3ed54afd3b" providerId="ADAL" clId="{3B40422A-39D3-481D-AF9A-F714FAEE8EB0}" dt="2024-07-23T09:23:22.569" v="1114"/>
              <pc2:cmMkLst xmlns:pc2="http://schemas.microsoft.com/office/powerpoint/2019/9/main/command">
                <pc:docMk/>
                <pc:sldMk cId="3296767712" sldId="2147482710"/>
                <pc2:cmMk id="{D351FBDF-7F4D-4F98-A582-EC9AF66DA921}"/>
              </pc2:cmMkLst>
            </pc226:cmChg>
          </p:ext>
        </pc:extLst>
      </pc:sldChg>
      <pc:sldChg chg="modSp mod addCm delCm modCm">
        <pc:chgData name="Pranav A Sogi" userId="26041da9-58db-4268-87d2-8f3ed54afd3b" providerId="ADAL" clId="{3B40422A-39D3-481D-AF9A-F714FAEE8EB0}" dt="2024-07-23T09:22:56.513" v="1111"/>
        <pc:sldMkLst>
          <pc:docMk/>
          <pc:sldMk cId="3542391616" sldId="2147482711"/>
        </pc:sldMkLst>
        <pc:spChg chg="mod">
          <ac:chgData name="Pranav A Sogi" userId="26041da9-58db-4268-87d2-8f3ed54afd3b" providerId="ADAL" clId="{3B40422A-39D3-481D-AF9A-F714FAEE8EB0}" dt="2024-07-23T06:56:05.900" v="383" actId="20577"/>
          <ac:spMkLst>
            <pc:docMk/>
            <pc:sldMk cId="3542391616" sldId="2147482711"/>
            <ac:spMk id="2" creationId="{5B74F435-36AC-4365-4019-B1F77698B0E9}"/>
          </ac:spMkLst>
        </pc:spChg>
        <pc:spChg chg="mod">
          <ac:chgData name="Pranav A Sogi" userId="26041da9-58db-4268-87d2-8f3ed54afd3b" providerId="ADAL" clId="{3B40422A-39D3-481D-AF9A-F714FAEE8EB0}" dt="2024-07-23T08:31:22.575" v="491" actId="14100"/>
          <ac:spMkLst>
            <pc:docMk/>
            <pc:sldMk cId="3542391616" sldId="2147482711"/>
            <ac:spMk id="11" creationId="{7838F1E8-F92D-8E2B-223C-CCA64A3D20E3}"/>
          </ac:spMkLst>
        </pc:spChg>
        <pc:spChg chg="mod">
          <ac:chgData name="Pranav A Sogi" userId="26041da9-58db-4268-87d2-8f3ed54afd3b" providerId="ADAL" clId="{3B40422A-39D3-481D-AF9A-F714FAEE8EB0}" dt="2024-07-23T08:29:52.401" v="489" actId="14100"/>
          <ac:spMkLst>
            <pc:docMk/>
            <pc:sldMk cId="3542391616" sldId="2147482711"/>
            <ac:spMk id="15" creationId="{3B726521-F816-2E32-84A2-88E2452B2228}"/>
          </ac:spMkLst>
        </pc:spChg>
        <pc:spChg chg="mod">
          <ac:chgData name="Pranav A Sogi" userId="26041da9-58db-4268-87d2-8f3ed54afd3b" providerId="ADAL" clId="{3B40422A-39D3-481D-AF9A-F714FAEE8EB0}" dt="2024-07-23T09:21:38.074" v="1109" actId="20577"/>
          <ac:spMkLst>
            <pc:docMk/>
            <pc:sldMk cId="3542391616" sldId="2147482711"/>
            <ac:spMk id="50" creationId="{BEBC0D57-FF98-BB8D-9FDA-935F0548E9F9}"/>
          </ac:spMkLst>
        </pc:spChg>
        <pc:spChg chg="mod">
          <ac:chgData name="Pranav A Sogi" userId="26041da9-58db-4268-87d2-8f3ed54afd3b" providerId="ADAL" clId="{3B40422A-39D3-481D-AF9A-F714FAEE8EB0}" dt="2024-07-23T07:02:49.748" v="459" actId="14100"/>
          <ac:spMkLst>
            <pc:docMk/>
            <pc:sldMk cId="3542391616" sldId="2147482711"/>
            <ac:spMk id="72" creationId="{965A25CF-5800-38D8-00B5-F560C999EFC0}"/>
          </ac:spMkLst>
        </pc:spChg>
        <pc:extLst>
          <p:ext xmlns:p="http://schemas.openxmlformats.org/presentationml/2006/main" uri="{D6D511B9-2390-475A-947B-AFAB55BFBCF1}">
            <pc226:cmChg xmlns:pc226="http://schemas.microsoft.com/office/powerpoint/2022/06/main/command" chg="add del mod">
              <pc226:chgData name="Pranav A Sogi" userId="26041da9-58db-4268-87d2-8f3ed54afd3b" providerId="ADAL" clId="{3B40422A-39D3-481D-AF9A-F714FAEE8EB0}" dt="2024-07-23T09:22:56.513" v="1111"/>
              <pc2:cmMkLst xmlns:pc2="http://schemas.microsoft.com/office/powerpoint/2019/9/main/command">
                <pc:docMk/>
                <pc:sldMk cId="3542391616" sldId="2147482711"/>
                <pc2:cmMk id="{FD801A0E-44A9-4347-9C6E-2ACF4A322D3F}"/>
              </pc2:cmMkLst>
            </pc226:cmChg>
          </p:ext>
        </pc:extLst>
      </pc:sldChg>
      <pc:sldChg chg="addSp delSp modSp mod ord addCm delCm">
        <pc:chgData name="Pranav A Sogi" userId="26041da9-58db-4268-87d2-8f3ed54afd3b" providerId="ADAL" clId="{3B40422A-39D3-481D-AF9A-F714FAEE8EB0}" dt="2024-07-23T12:46:53.790" v="1719"/>
        <pc:sldMkLst>
          <pc:docMk/>
          <pc:sldMk cId="4233723798" sldId="2147482712"/>
        </pc:sldMkLst>
        <pc:spChg chg="mod">
          <ac:chgData name="Pranav A Sogi" userId="26041da9-58db-4268-87d2-8f3ed54afd3b" providerId="ADAL" clId="{3B40422A-39D3-481D-AF9A-F714FAEE8EB0}" dt="2024-07-23T11:22:25.641" v="1347" actId="20577"/>
          <ac:spMkLst>
            <pc:docMk/>
            <pc:sldMk cId="4233723798" sldId="2147482712"/>
            <ac:spMk id="2" creationId="{DC8A91D7-B1FE-9C5E-FE5F-849F83F0089C}"/>
          </ac:spMkLst>
        </pc:spChg>
        <pc:graphicFrameChg chg="del">
          <ac:chgData name="Pranav A Sogi" userId="26041da9-58db-4268-87d2-8f3ed54afd3b" providerId="ADAL" clId="{3B40422A-39D3-481D-AF9A-F714FAEE8EB0}" dt="2024-07-23T11:21:13.102" v="1344" actId="478"/>
          <ac:graphicFrameMkLst>
            <pc:docMk/>
            <pc:sldMk cId="4233723798" sldId="2147482712"/>
            <ac:graphicFrameMk id="5" creationId="{31FB6A72-4925-67EB-B713-19A526ED01D9}"/>
          </ac:graphicFrameMkLst>
        </pc:graphicFrameChg>
        <pc:graphicFrameChg chg="add mod">
          <ac:chgData name="Pranav A Sogi" userId="26041da9-58db-4268-87d2-8f3ed54afd3b" providerId="ADAL" clId="{3B40422A-39D3-481D-AF9A-F714FAEE8EB0}" dt="2024-07-23T12:46:53.790" v="1719"/>
          <ac:graphicFrameMkLst>
            <pc:docMk/>
            <pc:sldMk cId="4233723798" sldId="2147482712"/>
            <ac:graphicFrameMk id="9" creationId="{75B771E8-360A-7E66-D37A-88F23A43F511}"/>
          </ac:graphicFrameMkLst>
        </pc:graphicFrameChg>
        <pc:extLst>
          <p:ext xmlns:p="http://schemas.openxmlformats.org/presentationml/2006/main" uri="{D6D511B9-2390-475A-947B-AFAB55BFBCF1}">
            <pc226:cmChg xmlns:pc226="http://schemas.microsoft.com/office/powerpoint/2022/06/main/command" chg="add">
              <pc226:chgData name="Pranav A Sogi" userId="26041da9-58db-4268-87d2-8f3ed54afd3b" providerId="ADAL" clId="{3B40422A-39D3-481D-AF9A-F714FAEE8EB0}" dt="2024-07-23T09:25:18.327" v="1115"/>
              <pc2:cmMkLst xmlns:pc2="http://schemas.microsoft.com/office/powerpoint/2019/9/main/command">
                <pc:docMk/>
                <pc:sldMk cId="4233723798" sldId="2147482712"/>
                <pc2:cmMk id="{E8BFAE92-E747-4E09-A2EF-1E6BEDBE6453}"/>
              </pc2:cmMkLst>
            </pc226:cmChg>
            <pc226:cmChg xmlns:pc226="http://schemas.microsoft.com/office/powerpoint/2022/06/main/command" chg="add del">
              <pc226:chgData name="Pranav A Sogi" userId="26041da9-58db-4268-87d2-8f3ed54afd3b" providerId="ADAL" clId="{3B40422A-39D3-481D-AF9A-F714FAEE8EB0}" dt="2024-07-23T09:25:32.967" v="1116"/>
              <pc2:cmMkLst xmlns:pc2="http://schemas.microsoft.com/office/powerpoint/2019/9/main/command">
                <pc:docMk/>
                <pc:sldMk cId="4233723798" sldId="2147482712"/>
                <pc2:cmMk id="{A96187F0-87EF-4905-8ACD-B1F61E154A42}"/>
              </pc2:cmMkLst>
            </pc226:cmChg>
          </p:ext>
        </pc:extLst>
      </pc:sldChg>
      <pc:sldChg chg="modSp mod">
        <pc:chgData name="Pranav A Sogi" userId="26041da9-58db-4268-87d2-8f3ed54afd3b" providerId="ADAL" clId="{3B40422A-39D3-481D-AF9A-F714FAEE8EB0}" dt="2024-07-23T11:35:35.094" v="1477" actId="20577"/>
        <pc:sldMkLst>
          <pc:docMk/>
          <pc:sldMk cId="2005261635" sldId="2147482713"/>
        </pc:sldMkLst>
        <pc:spChg chg="mod">
          <ac:chgData name="Pranav A Sogi" userId="26041da9-58db-4268-87d2-8f3ed54afd3b" providerId="ADAL" clId="{3B40422A-39D3-481D-AF9A-F714FAEE8EB0}" dt="2024-07-23T09:00:54.466" v="814" actId="20577"/>
          <ac:spMkLst>
            <pc:docMk/>
            <pc:sldMk cId="2005261635" sldId="2147482713"/>
            <ac:spMk id="2" creationId="{F2F39935-05AF-A634-27A8-499EB349F9AF}"/>
          </ac:spMkLst>
        </pc:spChg>
        <pc:spChg chg="mod">
          <ac:chgData name="Pranav A Sogi" userId="26041da9-58db-4268-87d2-8f3ed54afd3b" providerId="ADAL" clId="{3B40422A-39D3-481D-AF9A-F714FAEE8EB0}" dt="2024-07-23T11:35:35.094" v="1477" actId="20577"/>
          <ac:spMkLst>
            <pc:docMk/>
            <pc:sldMk cId="2005261635" sldId="2147482713"/>
            <ac:spMk id="48" creationId="{F9359EDB-7293-F9E7-F3B3-1254F789E211}"/>
          </ac:spMkLst>
        </pc:spChg>
        <pc:spChg chg="mod">
          <ac:chgData name="Pranav A Sogi" userId="26041da9-58db-4268-87d2-8f3ed54afd3b" providerId="ADAL" clId="{3B40422A-39D3-481D-AF9A-F714FAEE8EB0}" dt="2024-07-23T11:35:17.768" v="1474" actId="1076"/>
          <ac:spMkLst>
            <pc:docMk/>
            <pc:sldMk cId="2005261635" sldId="2147482713"/>
            <ac:spMk id="49" creationId="{E51EE795-751C-ABED-E33D-181B8781F568}"/>
          </ac:spMkLst>
        </pc:spChg>
        <pc:spChg chg="mod">
          <ac:chgData name="Pranav A Sogi" userId="26041da9-58db-4268-87d2-8f3ed54afd3b" providerId="ADAL" clId="{3B40422A-39D3-481D-AF9A-F714FAEE8EB0}" dt="2024-07-23T11:33:48.055" v="1371" actId="20577"/>
          <ac:spMkLst>
            <pc:docMk/>
            <pc:sldMk cId="2005261635" sldId="2147482713"/>
            <ac:spMk id="52" creationId="{588AFF2C-36FC-82B5-9DCE-BD8EC5845B63}"/>
          </ac:spMkLst>
        </pc:spChg>
        <pc:spChg chg="mod">
          <ac:chgData name="Pranav A Sogi" userId="26041da9-58db-4268-87d2-8f3ed54afd3b" providerId="ADAL" clId="{3B40422A-39D3-481D-AF9A-F714FAEE8EB0}" dt="2024-07-23T11:35:19.043" v="1475" actId="1076"/>
          <ac:spMkLst>
            <pc:docMk/>
            <pc:sldMk cId="2005261635" sldId="2147482713"/>
            <ac:spMk id="53" creationId="{2FFC462C-5E1A-8ACE-195B-74A636E79716}"/>
          </ac:spMkLst>
        </pc:spChg>
        <pc:spChg chg="mod">
          <ac:chgData name="Pranav A Sogi" userId="26041da9-58db-4268-87d2-8f3ed54afd3b" providerId="ADAL" clId="{3B40422A-39D3-481D-AF9A-F714FAEE8EB0}" dt="2024-07-23T11:33:58.031" v="1374"/>
          <ac:spMkLst>
            <pc:docMk/>
            <pc:sldMk cId="2005261635" sldId="2147482713"/>
            <ac:spMk id="56" creationId="{763622D2-1F03-F529-A531-86A666618A80}"/>
          </ac:spMkLst>
        </pc:spChg>
        <pc:spChg chg="mod">
          <ac:chgData name="Pranav A Sogi" userId="26041da9-58db-4268-87d2-8f3ed54afd3b" providerId="ADAL" clId="{3B40422A-39D3-481D-AF9A-F714FAEE8EB0}" dt="2024-07-23T11:35:17.251" v="1473" actId="1076"/>
          <ac:spMkLst>
            <pc:docMk/>
            <pc:sldMk cId="2005261635" sldId="2147482713"/>
            <ac:spMk id="61" creationId="{EFA16C51-ADCE-C6A6-37E5-2BBAEB4C531E}"/>
          </ac:spMkLst>
        </pc:spChg>
        <pc:grpChg chg="mod">
          <ac:chgData name="Pranav A Sogi" userId="26041da9-58db-4268-87d2-8f3ed54afd3b" providerId="ADAL" clId="{3B40422A-39D3-481D-AF9A-F714FAEE8EB0}" dt="2024-07-23T07:38:42.943" v="486" actId="1076"/>
          <ac:grpSpMkLst>
            <pc:docMk/>
            <pc:sldMk cId="2005261635" sldId="2147482713"/>
            <ac:grpSpMk id="47" creationId="{D4AF4F2F-1D6B-F471-9E70-12134B14587D}"/>
          </ac:grpSpMkLst>
        </pc:grpChg>
        <pc:picChg chg="mod">
          <ac:chgData name="Pranav A Sogi" userId="26041da9-58db-4268-87d2-8f3ed54afd3b" providerId="ADAL" clId="{3B40422A-39D3-481D-AF9A-F714FAEE8EB0}" dt="2024-07-23T09:01:10.151" v="818" actId="1076"/>
          <ac:picMkLst>
            <pc:docMk/>
            <pc:sldMk cId="2005261635" sldId="2147482713"/>
            <ac:picMk id="15" creationId="{32F28D49-A37B-ED99-8582-029168CD1BA3}"/>
          </ac:picMkLst>
        </pc:picChg>
        <pc:picChg chg="mod">
          <ac:chgData name="Pranav A Sogi" userId="26041da9-58db-4268-87d2-8f3ed54afd3b" providerId="ADAL" clId="{3B40422A-39D3-481D-AF9A-F714FAEE8EB0}" dt="2024-07-23T11:35:16.888" v="1472" actId="1076"/>
          <ac:picMkLst>
            <pc:docMk/>
            <pc:sldMk cId="2005261635" sldId="2147482713"/>
            <ac:picMk id="51" creationId="{869167D4-F758-4AC8-DF43-36704AEEFC0D}"/>
          </ac:picMkLst>
        </pc:picChg>
      </pc:sldChg>
      <pc:sldChg chg="addSp delSp modSp mod">
        <pc:chgData name="Pranav A Sogi" userId="26041da9-58db-4268-87d2-8f3ed54afd3b" providerId="ADAL" clId="{3B40422A-39D3-481D-AF9A-F714FAEE8EB0}" dt="2024-07-23T11:37:38.319" v="1591" actId="20577"/>
        <pc:sldMkLst>
          <pc:docMk/>
          <pc:sldMk cId="1115414689" sldId="2147482714"/>
        </pc:sldMkLst>
        <pc:spChg chg="mod">
          <ac:chgData name="Pranav A Sogi" userId="26041da9-58db-4268-87d2-8f3ed54afd3b" providerId="ADAL" clId="{3B40422A-39D3-481D-AF9A-F714FAEE8EB0}" dt="2024-07-23T06:37:47.334" v="82" actId="20577"/>
          <ac:spMkLst>
            <pc:docMk/>
            <pc:sldMk cId="1115414689" sldId="2147482714"/>
            <ac:spMk id="2" creationId="{F2F39935-05AF-A634-27A8-499EB349F9AF}"/>
          </ac:spMkLst>
        </pc:spChg>
        <pc:spChg chg="del mod">
          <ac:chgData name="Pranav A Sogi" userId="26041da9-58db-4268-87d2-8f3ed54afd3b" providerId="ADAL" clId="{3B40422A-39D3-481D-AF9A-F714FAEE8EB0}" dt="2024-07-23T11:36:11.107" v="1496"/>
          <ac:spMkLst>
            <pc:docMk/>
            <pc:sldMk cId="1115414689" sldId="2147482714"/>
            <ac:spMk id="7" creationId="{DB3B83A1-7EA3-8656-5667-1F61BA03701D}"/>
          </ac:spMkLst>
        </pc:spChg>
        <pc:spChg chg="mod">
          <ac:chgData name="Pranav A Sogi" userId="26041da9-58db-4268-87d2-8f3ed54afd3b" providerId="ADAL" clId="{3B40422A-39D3-481D-AF9A-F714FAEE8EB0}" dt="2024-07-23T11:35:46.277" v="1489" actId="20577"/>
          <ac:spMkLst>
            <pc:docMk/>
            <pc:sldMk cId="1115414689" sldId="2147482714"/>
            <ac:spMk id="8" creationId="{B8599D5C-2AE5-89CA-0875-EF0F2B576AD4}"/>
          </ac:spMkLst>
        </pc:spChg>
        <pc:spChg chg="mod">
          <ac:chgData name="Pranav A Sogi" userId="26041da9-58db-4268-87d2-8f3ed54afd3b" providerId="ADAL" clId="{3B40422A-39D3-481D-AF9A-F714FAEE8EB0}" dt="2024-07-23T11:37:38.319" v="1591" actId="20577"/>
          <ac:spMkLst>
            <pc:docMk/>
            <pc:sldMk cId="1115414689" sldId="2147482714"/>
            <ac:spMk id="13" creationId="{84B100B3-C490-D9AD-D9C5-7E3032BA83D6}"/>
          </ac:spMkLst>
        </pc:spChg>
        <pc:spChg chg="mod">
          <ac:chgData name="Pranav A Sogi" userId="26041da9-58db-4268-87d2-8f3ed54afd3b" providerId="ADAL" clId="{3B40422A-39D3-481D-AF9A-F714FAEE8EB0}" dt="2024-07-23T11:36:08.762" v="1494"/>
          <ac:spMkLst>
            <pc:docMk/>
            <pc:sldMk cId="1115414689" sldId="2147482714"/>
            <ac:spMk id="33" creationId="{B2C628E5-7562-AF95-41E5-651B58674AE6}"/>
          </ac:spMkLst>
        </pc:spChg>
        <pc:spChg chg="add mod">
          <ac:chgData name="Pranav A Sogi" userId="26041da9-58db-4268-87d2-8f3ed54afd3b" providerId="ADAL" clId="{3B40422A-39D3-481D-AF9A-F714FAEE8EB0}" dt="2024-07-23T11:37:03.182" v="1579" actId="20577"/>
          <ac:spMkLst>
            <pc:docMk/>
            <pc:sldMk cId="1115414689" sldId="2147482714"/>
            <ac:spMk id="52" creationId="{6C053849-380B-FBC9-D868-F7B30EC3069F}"/>
          </ac:spMkLst>
        </pc:spChg>
      </pc:sldChg>
      <pc:sldChg chg="modSp mod">
        <pc:chgData name="Pranav A Sogi" userId="26041da9-58db-4268-87d2-8f3ed54afd3b" providerId="ADAL" clId="{3B40422A-39D3-481D-AF9A-F714FAEE8EB0}" dt="2024-07-23T11:58:45.920" v="1716" actId="20577"/>
        <pc:sldMkLst>
          <pc:docMk/>
          <pc:sldMk cId="2761275267" sldId="2147482715"/>
        </pc:sldMkLst>
        <pc:spChg chg="mod">
          <ac:chgData name="Pranav A Sogi" userId="26041da9-58db-4268-87d2-8f3ed54afd3b" providerId="ADAL" clId="{3B40422A-39D3-481D-AF9A-F714FAEE8EB0}" dt="2024-07-23T06:38:03.812" v="109" actId="20577"/>
          <ac:spMkLst>
            <pc:docMk/>
            <pc:sldMk cId="2761275267" sldId="2147482715"/>
            <ac:spMk id="2" creationId="{F2F39935-05AF-A634-27A8-499EB349F9AF}"/>
          </ac:spMkLst>
        </pc:spChg>
        <pc:spChg chg="mod">
          <ac:chgData name="Pranav A Sogi" userId="26041da9-58db-4268-87d2-8f3ed54afd3b" providerId="ADAL" clId="{3B40422A-39D3-481D-AF9A-F714FAEE8EB0}" dt="2024-07-23T11:58:45.920" v="1716" actId="20577"/>
          <ac:spMkLst>
            <pc:docMk/>
            <pc:sldMk cId="2761275267" sldId="2147482715"/>
            <ac:spMk id="5" creationId="{33B8317E-2E68-A99C-DA2F-C6771022871E}"/>
          </ac:spMkLst>
        </pc:spChg>
        <pc:spChg chg="mod">
          <ac:chgData name="Pranav A Sogi" userId="26041da9-58db-4268-87d2-8f3ed54afd3b" providerId="ADAL" clId="{3B40422A-39D3-481D-AF9A-F714FAEE8EB0}" dt="2024-07-23T11:37:46.782" v="1601" actId="20577"/>
          <ac:spMkLst>
            <pc:docMk/>
            <pc:sldMk cId="2761275267" sldId="2147482715"/>
            <ac:spMk id="6" creationId="{8CE63729-CC2B-16BF-757E-27AF6E94FC66}"/>
          </ac:spMkLst>
        </pc:spChg>
        <pc:spChg chg="mod">
          <ac:chgData name="Pranav A Sogi" userId="26041da9-58db-4268-87d2-8f3ed54afd3b" providerId="ADAL" clId="{3B40422A-39D3-481D-AF9A-F714FAEE8EB0}" dt="2024-07-23T11:38:06.574" v="1615" actId="20577"/>
          <ac:spMkLst>
            <pc:docMk/>
            <pc:sldMk cId="2761275267" sldId="2147482715"/>
            <ac:spMk id="12" creationId="{3489D622-030E-FC9F-1F93-B28F0A2958DE}"/>
          </ac:spMkLst>
        </pc:spChg>
        <pc:spChg chg="mod">
          <ac:chgData name="Pranav A Sogi" userId="26041da9-58db-4268-87d2-8f3ed54afd3b" providerId="ADAL" clId="{3B40422A-39D3-481D-AF9A-F714FAEE8EB0}" dt="2024-07-23T11:37:54.058" v="1603"/>
          <ac:spMkLst>
            <pc:docMk/>
            <pc:sldMk cId="2761275267" sldId="2147482715"/>
            <ac:spMk id="37" creationId="{47824D11-93F7-7B28-2E48-118A410BD141}"/>
          </ac:spMkLst>
        </pc:spChg>
        <pc:picChg chg="mod">
          <ac:chgData name="Pranav A Sogi" userId="26041da9-58db-4268-87d2-8f3ed54afd3b" providerId="ADAL" clId="{3B40422A-39D3-481D-AF9A-F714FAEE8EB0}" dt="2024-07-23T08:30:09.624" v="490" actId="1076"/>
          <ac:picMkLst>
            <pc:docMk/>
            <pc:sldMk cId="2761275267" sldId="2147482715"/>
            <ac:picMk id="9" creationId="{DED833BA-3964-E5C9-9782-DCE520A78FE0}"/>
          </ac:picMkLst>
        </pc:picChg>
      </pc:sldChg>
      <pc:sldChg chg="addSp delSp modSp mod ord modClrScheme chgLayout">
        <pc:chgData name="Pranav A Sogi" userId="26041da9-58db-4268-87d2-8f3ed54afd3b" providerId="ADAL" clId="{3B40422A-39D3-481D-AF9A-F714FAEE8EB0}" dt="2024-07-23T10:39:09.554" v="1280" actId="255"/>
        <pc:sldMkLst>
          <pc:docMk/>
          <pc:sldMk cId="1272102133" sldId="2147482716"/>
        </pc:sldMkLst>
        <pc:spChg chg="add del mod ord">
          <ac:chgData name="Pranav A Sogi" userId="26041da9-58db-4268-87d2-8f3ed54afd3b" providerId="ADAL" clId="{3B40422A-39D3-481D-AF9A-F714FAEE8EB0}" dt="2024-07-23T08:53:47.189" v="629" actId="700"/>
          <ac:spMkLst>
            <pc:docMk/>
            <pc:sldMk cId="1272102133" sldId="2147482716"/>
            <ac:spMk id="2" creationId="{F671E2D1-D91C-14F0-B429-20C6324FB2FC}"/>
          </ac:spMkLst>
        </pc:spChg>
        <pc:spChg chg="add del mod ord">
          <ac:chgData name="Pranav A Sogi" userId="26041da9-58db-4268-87d2-8f3ed54afd3b" providerId="ADAL" clId="{3B40422A-39D3-481D-AF9A-F714FAEE8EB0}" dt="2024-07-23T08:53:47.189" v="629" actId="700"/>
          <ac:spMkLst>
            <pc:docMk/>
            <pc:sldMk cId="1272102133" sldId="2147482716"/>
            <ac:spMk id="3" creationId="{E4FE7510-6B23-9F48-292B-E543C20F86F0}"/>
          </ac:spMkLst>
        </pc:spChg>
        <pc:spChg chg="add del mod ord">
          <ac:chgData name="Pranav A Sogi" userId="26041da9-58db-4268-87d2-8f3ed54afd3b" providerId="ADAL" clId="{3B40422A-39D3-481D-AF9A-F714FAEE8EB0}" dt="2024-07-23T08:53:47.189" v="629" actId="700"/>
          <ac:spMkLst>
            <pc:docMk/>
            <pc:sldMk cId="1272102133" sldId="2147482716"/>
            <ac:spMk id="4" creationId="{B012CD07-3D2D-BF9E-6854-D7C4AA131573}"/>
          </ac:spMkLst>
        </pc:spChg>
        <pc:spChg chg="add del mod ord">
          <ac:chgData name="Pranav A Sogi" userId="26041da9-58db-4268-87d2-8f3ed54afd3b" providerId="ADAL" clId="{3B40422A-39D3-481D-AF9A-F714FAEE8EB0}" dt="2024-07-23T08:53:47.189" v="629" actId="700"/>
          <ac:spMkLst>
            <pc:docMk/>
            <pc:sldMk cId="1272102133" sldId="2147482716"/>
            <ac:spMk id="5" creationId="{D1BBBBD7-D158-89B1-CA3A-441C4A1E6D88}"/>
          </ac:spMkLst>
        </pc:spChg>
        <pc:spChg chg="add del mod ord">
          <ac:chgData name="Pranav A Sogi" userId="26041da9-58db-4268-87d2-8f3ed54afd3b" providerId="ADAL" clId="{3B40422A-39D3-481D-AF9A-F714FAEE8EB0}" dt="2024-07-23T08:53:47.189" v="629" actId="700"/>
          <ac:spMkLst>
            <pc:docMk/>
            <pc:sldMk cId="1272102133" sldId="2147482716"/>
            <ac:spMk id="6" creationId="{6C00AB77-8948-C135-FDAD-D8573185E8F5}"/>
          </ac:spMkLst>
        </pc:spChg>
        <pc:spChg chg="add del mod ord">
          <ac:chgData name="Pranav A Sogi" userId="26041da9-58db-4268-87d2-8f3ed54afd3b" providerId="ADAL" clId="{3B40422A-39D3-481D-AF9A-F714FAEE8EB0}" dt="2024-07-23T08:53:47.189" v="629" actId="700"/>
          <ac:spMkLst>
            <pc:docMk/>
            <pc:sldMk cId="1272102133" sldId="2147482716"/>
            <ac:spMk id="7" creationId="{9EF7F208-CDE3-6322-188D-8AEB3A86BA52}"/>
          </ac:spMkLst>
        </pc:spChg>
        <pc:spChg chg="add del mod ord">
          <ac:chgData name="Pranav A Sogi" userId="26041da9-58db-4268-87d2-8f3ed54afd3b" providerId="ADAL" clId="{3B40422A-39D3-481D-AF9A-F714FAEE8EB0}" dt="2024-07-23T08:53:57.759" v="630" actId="700"/>
          <ac:spMkLst>
            <pc:docMk/>
            <pc:sldMk cId="1272102133" sldId="2147482716"/>
            <ac:spMk id="8" creationId="{904BFA57-1925-F6FA-4B7E-0DC3FF2823C8}"/>
          </ac:spMkLst>
        </pc:spChg>
        <pc:spChg chg="add del mod ord">
          <ac:chgData name="Pranav A Sogi" userId="26041da9-58db-4268-87d2-8f3ed54afd3b" providerId="ADAL" clId="{3B40422A-39D3-481D-AF9A-F714FAEE8EB0}" dt="2024-07-23T08:53:47.189" v="629" actId="700"/>
          <ac:spMkLst>
            <pc:docMk/>
            <pc:sldMk cId="1272102133" sldId="2147482716"/>
            <ac:spMk id="9" creationId="{3A5490E3-0A1C-4583-3C0A-7CBBB5D81CAE}"/>
          </ac:spMkLst>
        </pc:spChg>
        <pc:spChg chg="add del mod ord">
          <ac:chgData name="Pranav A Sogi" userId="26041da9-58db-4268-87d2-8f3ed54afd3b" providerId="ADAL" clId="{3B40422A-39D3-481D-AF9A-F714FAEE8EB0}" dt="2024-07-23T08:53:47.189" v="629" actId="700"/>
          <ac:spMkLst>
            <pc:docMk/>
            <pc:sldMk cId="1272102133" sldId="2147482716"/>
            <ac:spMk id="10" creationId="{DC1BFE4D-CC6C-4F34-398F-D1D63871D917}"/>
          </ac:spMkLst>
        </pc:spChg>
        <pc:spChg chg="add del mod ord">
          <ac:chgData name="Pranav A Sogi" userId="26041da9-58db-4268-87d2-8f3ed54afd3b" providerId="ADAL" clId="{3B40422A-39D3-481D-AF9A-F714FAEE8EB0}" dt="2024-07-23T08:53:47.189" v="629" actId="700"/>
          <ac:spMkLst>
            <pc:docMk/>
            <pc:sldMk cId="1272102133" sldId="2147482716"/>
            <ac:spMk id="11" creationId="{53AC9048-DBA3-54B2-4B23-E4417C89583D}"/>
          </ac:spMkLst>
        </pc:spChg>
        <pc:spChg chg="add del mod ord">
          <ac:chgData name="Pranav A Sogi" userId="26041da9-58db-4268-87d2-8f3ed54afd3b" providerId="ADAL" clId="{3B40422A-39D3-481D-AF9A-F714FAEE8EB0}" dt="2024-07-23T08:53:47.189" v="629" actId="700"/>
          <ac:spMkLst>
            <pc:docMk/>
            <pc:sldMk cId="1272102133" sldId="2147482716"/>
            <ac:spMk id="12" creationId="{F0826270-B52C-B516-56FD-992292BE2FB0}"/>
          </ac:spMkLst>
        </pc:spChg>
        <pc:spChg chg="add del mod ord">
          <ac:chgData name="Pranav A Sogi" userId="26041da9-58db-4268-87d2-8f3ed54afd3b" providerId="ADAL" clId="{3B40422A-39D3-481D-AF9A-F714FAEE8EB0}" dt="2024-07-23T08:53:47.189" v="629" actId="700"/>
          <ac:spMkLst>
            <pc:docMk/>
            <pc:sldMk cId="1272102133" sldId="2147482716"/>
            <ac:spMk id="13" creationId="{A5FA418D-D4D8-1DB7-EAE2-55C1CE38A85A}"/>
          </ac:spMkLst>
        </pc:spChg>
        <pc:spChg chg="add del mod ord">
          <ac:chgData name="Pranav A Sogi" userId="26041da9-58db-4268-87d2-8f3ed54afd3b" providerId="ADAL" clId="{3B40422A-39D3-481D-AF9A-F714FAEE8EB0}" dt="2024-07-23T08:53:47.189" v="629" actId="700"/>
          <ac:spMkLst>
            <pc:docMk/>
            <pc:sldMk cId="1272102133" sldId="2147482716"/>
            <ac:spMk id="14" creationId="{7368DA5A-11F8-FC30-504D-7503B380B2E4}"/>
          </ac:spMkLst>
        </pc:spChg>
        <pc:spChg chg="add del mod ord">
          <ac:chgData name="Pranav A Sogi" userId="26041da9-58db-4268-87d2-8f3ed54afd3b" providerId="ADAL" clId="{3B40422A-39D3-481D-AF9A-F714FAEE8EB0}" dt="2024-07-23T08:53:47.189" v="629" actId="700"/>
          <ac:spMkLst>
            <pc:docMk/>
            <pc:sldMk cId="1272102133" sldId="2147482716"/>
            <ac:spMk id="15" creationId="{EFFCFE28-157F-919D-1A71-8C72402F2D12}"/>
          </ac:spMkLst>
        </pc:spChg>
        <pc:spChg chg="add del mod ord">
          <ac:chgData name="Pranav A Sogi" userId="26041da9-58db-4268-87d2-8f3ed54afd3b" providerId="ADAL" clId="{3B40422A-39D3-481D-AF9A-F714FAEE8EB0}" dt="2024-07-23T08:53:47.189" v="629" actId="700"/>
          <ac:spMkLst>
            <pc:docMk/>
            <pc:sldMk cId="1272102133" sldId="2147482716"/>
            <ac:spMk id="16" creationId="{DEA5568B-423E-2795-FF9E-9E1E22109002}"/>
          </ac:spMkLst>
        </pc:spChg>
        <pc:spChg chg="add del mod ord">
          <ac:chgData name="Pranav A Sogi" userId="26041da9-58db-4268-87d2-8f3ed54afd3b" providerId="ADAL" clId="{3B40422A-39D3-481D-AF9A-F714FAEE8EB0}" dt="2024-07-23T08:53:47.189" v="629" actId="700"/>
          <ac:spMkLst>
            <pc:docMk/>
            <pc:sldMk cId="1272102133" sldId="2147482716"/>
            <ac:spMk id="17" creationId="{57BB7B8A-0016-C43D-13AF-C7E962168C1F}"/>
          </ac:spMkLst>
        </pc:spChg>
        <pc:spChg chg="add del mod ord">
          <ac:chgData name="Pranav A Sogi" userId="26041da9-58db-4268-87d2-8f3ed54afd3b" providerId="ADAL" clId="{3B40422A-39D3-481D-AF9A-F714FAEE8EB0}" dt="2024-07-23T08:53:47.189" v="629" actId="700"/>
          <ac:spMkLst>
            <pc:docMk/>
            <pc:sldMk cId="1272102133" sldId="2147482716"/>
            <ac:spMk id="18" creationId="{A1017845-FE40-5BF2-D743-8E7F3D4EE01C}"/>
          </ac:spMkLst>
        </pc:spChg>
        <pc:spChg chg="add del mod ord">
          <ac:chgData name="Pranav A Sogi" userId="26041da9-58db-4268-87d2-8f3ed54afd3b" providerId="ADAL" clId="{3B40422A-39D3-481D-AF9A-F714FAEE8EB0}" dt="2024-07-23T10:24:43.286" v="1154" actId="478"/>
          <ac:spMkLst>
            <pc:docMk/>
            <pc:sldMk cId="1272102133" sldId="2147482716"/>
            <ac:spMk id="19" creationId="{9E2CB0D9-C300-662A-E5B8-B035F26DF574}"/>
          </ac:spMkLst>
        </pc:spChg>
        <pc:spChg chg="add del mod ord">
          <ac:chgData name="Pranav A Sogi" userId="26041da9-58db-4268-87d2-8f3ed54afd3b" providerId="ADAL" clId="{3B40422A-39D3-481D-AF9A-F714FAEE8EB0}" dt="2024-07-23T10:24:46.146" v="1155" actId="478"/>
          <ac:spMkLst>
            <pc:docMk/>
            <pc:sldMk cId="1272102133" sldId="2147482716"/>
            <ac:spMk id="20" creationId="{78B4CE4C-CC78-4344-223C-470C98D3AE57}"/>
          </ac:spMkLst>
        </pc:spChg>
        <pc:spChg chg="add del mod ord">
          <ac:chgData name="Pranav A Sogi" userId="26041da9-58db-4268-87d2-8f3ed54afd3b" providerId="ADAL" clId="{3B40422A-39D3-481D-AF9A-F714FAEE8EB0}" dt="2024-07-23T10:24:48.049" v="1156" actId="478"/>
          <ac:spMkLst>
            <pc:docMk/>
            <pc:sldMk cId="1272102133" sldId="2147482716"/>
            <ac:spMk id="21" creationId="{E6ED3EC5-F3EF-8182-6257-ECE7ED6FBA60}"/>
          </ac:spMkLst>
        </pc:spChg>
        <pc:spChg chg="add mod ord">
          <ac:chgData name="Pranav A Sogi" userId="26041da9-58db-4268-87d2-8f3ed54afd3b" providerId="ADAL" clId="{3B40422A-39D3-481D-AF9A-F714FAEE8EB0}" dt="2024-07-23T10:39:09.554" v="1280" actId="255"/>
          <ac:spMkLst>
            <pc:docMk/>
            <pc:sldMk cId="1272102133" sldId="2147482716"/>
            <ac:spMk id="22" creationId="{07331EB3-90F0-76F3-B999-5B7D86F504B0}"/>
          </ac:spMkLst>
        </pc:spChg>
      </pc:sldChg>
      <pc:sldChg chg="modSp del">
        <pc:chgData name="Pranav A Sogi" userId="26041da9-58db-4268-87d2-8f3ed54afd3b" providerId="ADAL" clId="{3B40422A-39D3-481D-AF9A-F714FAEE8EB0}" dt="2024-07-23T08:51:06.161" v="613" actId="47"/>
        <pc:sldMkLst>
          <pc:docMk/>
          <pc:sldMk cId="3335871969" sldId="2147482717"/>
        </pc:sldMkLst>
        <pc:graphicFrameChg chg="mod">
          <ac:chgData name="Pranav A Sogi" userId="26041da9-58db-4268-87d2-8f3ed54afd3b" providerId="ADAL" clId="{3B40422A-39D3-481D-AF9A-F714FAEE8EB0}" dt="2024-07-23T03:47:36.001" v="35"/>
          <ac:graphicFrameMkLst>
            <pc:docMk/>
            <pc:sldMk cId="3335871969" sldId="2147482717"/>
            <ac:graphicFrameMk id="13" creationId="{4734AB12-8FF2-3439-EA3D-1A034375A02E}"/>
          </ac:graphicFrameMkLst>
        </pc:graphicFrameChg>
      </pc:sldChg>
      <pc:sldChg chg="addSp delSp modSp new mod addCm">
        <pc:chgData name="Pranav A Sogi" userId="26041da9-58db-4268-87d2-8f3ed54afd3b" providerId="ADAL" clId="{3B40422A-39D3-481D-AF9A-F714FAEE8EB0}" dt="2024-07-23T10:36:57.894" v="1267" actId="14100"/>
        <pc:sldMkLst>
          <pc:docMk/>
          <pc:sldMk cId="3511841896" sldId="2147482718"/>
        </pc:sldMkLst>
        <pc:spChg chg="mod">
          <ac:chgData name="Pranav A Sogi" userId="26041da9-58db-4268-87d2-8f3ed54afd3b" providerId="ADAL" clId="{3B40422A-39D3-481D-AF9A-F714FAEE8EB0}" dt="2024-07-23T06:59:40.706" v="434" actId="20577"/>
          <ac:spMkLst>
            <pc:docMk/>
            <pc:sldMk cId="3511841896" sldId="2147482718"/>
            <ac:spMk id="2" creationId="{D26F7DB3-1E34-CC52-11D6-E55E2C53198B}"/>
          </ac:spMkLst>
        </pc:spChg>
        <pc:spChg chg="mod">
          <ac:chgData name="Pranav A Sogi" userId="26041da9-58db-4268-87d2-8f3ed54afd3b" providerId="ADAL" clId="{3B40422A-39D3-481D-AF9A-F714FAEE8EB0}" dt="2024-07-23T10:36:57.894" v="1267" actId="14100"/>
          <ac:spMkLst>
            <pc:docMk/>
            <pc:sldMk cId="3511841896" sldId="2147482718"/>
            <ac:spMk id="3" creationId="{607D8D30-1D6E-5C4A-732B-E7C26DB9328A}"/>
          </ac:spMkLst>
        </pc:spChg>
        <pc:spChg chg="mod">
          <ac:chgData name="Pranav A Sogi" userId="26041da9-58db-4268-87d2-8f3ed54afd3b" providerId="ADAL" clId="{3B40422A-39D3-481D-AF9A-F714FAEE8EB0}" dt="2024-07-23T08:57:24.936" v="762" actId="20577"/>
          <ac:spMkLst>
            <pc:docMk/>
            <pc:sldMk cId="3511841896" sldId="2147482718"/>
            <ac:spMk id="4" creationId="{28D85DBE-C889-4C50-A17C-3264A1FEAFFA}"/>
          </ac:spMkLst>
        </pc:spChg>
        <pc:spChg chg="add del">
          <ac:chgData name="Pranav A Sogi" userId="26041da9-58db-4268-87d2-8f3ed54afd3b" providerId="ADAL" clId="{3B40422A-39D3-481D-AF9A-F714FAEE8EB0}" dt="2024-07-23T08:05:05.156" v="488" actId="22"/>
          <ac:spMkLst>
            <pc:docMk/>
            <pc:sldMk cId="3511841896" sldId="2147482718"/>
            <ac:spMk id="6" creationId="{1CCD032C-5EFE-003F-FAFA-F61B8D0F2A6E}"/>
          </ac:spMkLst>
        </pc:spChg>
        <pc:spChg chg="add mod">
          <ac:chgData name="Pranav A Sogi" userId="26041da9-58db-4268-87d2-8f3ed54afd3b" providerId="ADAL" clId="{3B40422A-39D3-481D-AF9A-F714FAEE8EB0}" dt="2024-07-23T10:19:45.353" v="1138" actId="113"/>
          <ac:spMkLst>
            <pc:docMk/>
            <pc:sldMk cId="3511841896" sldId="2147482718"/>
            <ac:spMk id="14" creationId="{E6471F9F-199B-7D9A-88FB-4D8EC3DA9769}"/>
          </ac:spMkLst>
        </pc:spChg>
        <pc:picChg chg="add mod">
          <ac:chgData name="Pranav A Sogi" userId="26041da9-58db-4268-87d2-8f3ed54afd3b" providerId="ADAL" clId="{3B40422A-39D3-481D-AF9A-F714FAEE8EB0}" dt="2024-07-23T08:47:00.052" v="546" actId="1076"/>
          <ac:picMkLst>
            <pc:docMk/>
            <pc:sldMk cId="3511841896" sldId="2147482718"/>
            <ac:picMk id="7" creationId="{45D4D0E7-37FC-15F9-1FD3-A301EE224A4C}"/>
          </ac:picMkLst>
        </pc:picChg>
        <pc:picChg chg="add mod">
          <ac:chgData name="Pranav A Sogi" userId="26041da9-58db-4268-87d2-8f3ed54afd3b" providerId="ADAL" clId="{3B40422A-39D3-481D-AF9A-F714FAEE8EB0}" dt="2024-07-23T08:56:42.310" v="657"/>
          <ac:picMkLst>
            <pc:docMk/>
            <pc:sldMk cId="3511841896" sldId="2147482718"/>
            <ac:picMk id="8" creationId="{C6A104EA-623B-D1B0-7CE0-2D1E6CEDE2D3}"/>
          </ac:picMkLst>
        </pc:picChg>
        <pc:extLst>
          <p:ext xmlns:p="http://schemas.openxmlformats.org/presentationml/2006/main" uri="{D6D511B9-2390-475A-947B-AFAB55BFBCF1}">
            <pc226:cmChg xmlns:pc226="http://schemas.microsoft.com/office/powerpoint/2022/06/main/command" chg="add">
              <pc226:chgData name="Pranav A Sogi" userId="26041da9-58db-4268-87d2-8f3ed54afd3b" providerId="ADAL" clId="{3B40422A-39D3-481D-AF9A-F714FAEE8EB0}" dt="2024-07-23T08:58:27.978" v="764"/>
              <pc2:cmMkLst xmlns:pc2="http://schemas.microsoft.com/office/powerpoint/2019/9/main/command">
                <pc:docMk/>
                <pc:sldMk cId="3511841896" sldId="2147482718"/>
                <pc2:cmMk id="{B18D0164-6687-43D8-A987-9277E875916B}"/>
              </pc2:cmMkLst>
            </pc226:cmChg>
          </p:ext>
        </pc:extLst>
      </pc:sldChg>
      <pc:sldChg chg="addSp modSp new mod addCm">
        <pc:chgData name="Pranav A Sogi" userId="26041da9-58db-4268-87d2-8f3ed54afd3b" providerId="ADAL" clId="{3B40422A-39D3-481D-AF9A-F714FAEE8EB0}" dt="2024-07-23T10:36:45.966" v="1265" actId="1076"/>
        <pc:sldMkLst>
          <pc:docMk/>
          <pc:sldMk cId="514153652" sldId="2147482719"/>
        </pc:sldMkLst>
        <pc:spChg chg="mod">
          <ac:chgData name="Pranav A Sogi" userId="26041da9-58db-4268-87d2-8f3ed54afd3b" providerId="ADAL" clId="{3B40422A-39D3-481D-AF9A-F714FAEE8EB0}" dt="2024-07-23T08:50:21.026" v="609" actId="20577"/>
          <ac:spMkLst>
            <pc:docMk/>
            <pc:sldMk cId="514153652" sldId="2147482719"/>
            <ac:spMk id="2" creationId="{1E81EADA-1048-A409-D94F-D329B390C7CA}"/>
          </ac:spMkLst>
        </pc:spChg>
        <pc:spChg chg="mod">
          <ac:chgData name="Pranav A Sogi" userId="26041da9-58db-4268-87d2-8f3ed54afd3b" providerId="ADAL" clId="{3B40422A-39D3-481D-AF9A-F714FAEE8EB0}" dt="2024-07-23T10:36:45.966" v="1265" actId="1076"/>
          <ac:spMkLst>
            <pc:docMk/>
            <pc:sldMk cId="514153652" sldId="2147482719"/>
            <ac:spMk id="3" creationId="{95246656-3AAA-D904-0E70-1EA92209A9EA}"/>
          </ac:spMkLst>
        </pc:spChg>
        <pc:spChg chg="mod">
          <ac:chgData name="Pranav A Sogi" userId="26041da9-58db-4268-87d2-8f3ed54afd3b" providerId="ADAL" clId="{3B40422A-39D3-481D-AF9A-F714FAEE8EB0}" dt="2024-07-23T08:56:05.645" v="645" actId="113"/>
          <ac:spMkLst>
            <pc:docMk/>
            <pc:sldMk cId="514153652" sldId="2147482719"/>
            <ac:spMk id="4" creationId="{2BAB6622-2E13-C9E9-894A-79155C63BEDC}"/>
          </ac:spMkLst>
        </pc:spChg>
        <pc:spChg chg="mod">
          <ac:chgData name="Pranav A Sogi" userId="26041da9-58db-4268-87d2-8f3ed54afd3b" providerId="ADAL" clId="{3B40422A-39D3-481D-AF9A-F714FAEE8EB0}" dt="2024-07-23T10:01:20.123" v="1133" actId="20577"/>
          <ac:spMkLst>
            <pc:docMk/>
            <pc:sldMk cId="514153652" sldId="2147482719"/>
            <ac:spMk id="14" creationId="{FDC99662-A3EA-020B-0C07-5E0437692BA4}"/>
          </ac:spMkLst>
        </pc:spChg>
        <pc:picChg chg="add mod">
          <ac:chgData name="Pranav A Sogi" userId="26041da9-58db-4268-87d2-8f3ed54afd3b" providerId="ADAL" clId="{3B40422A-39D3-481D-AF9A-F714FAEE8EB0}" dt="2024-07-23T08:49:55.421" v="587" actId="1076"/>
          <ac:picMkLst>
            <pc:docMk/>
            <pc:sldMk cId="514153652" sldId="2147482719"/>
            <ac:picMk id="5" creationId="{C21C5009-DC44-AD7F-F94A-8F3D97E7F01A}"/>
          </ac:picMkLst>
        </pc:picChg>
        <pc:extLst>
          <p:ext xmlns:p="http://schemas.openxmlformats.org/presentationml/2006/main" uri="{D6D511B9-2390-475A-947B-AFAB55BFBCF1}">
            <pc226:cmChg xmlns:pc226="http://schemas.microsoft.com/office/powerpoint/2022/06/main/command" chg="add">
              <pc226:chgData name="Pranav A Sogi" userId="26041da9-58db-4268-87d2-8f3ed54afd3b" providerId="ADAL" clId="{3B40422A-39D3-481D-AF9A-F714FAEE8EB0}" dt="2024-07-23T08:59:28.794" v="767"/>
              <pc2:cmMkLst xmlns:pc2="http://schemas.microsoft.com/office/powerpoint/2019/9/main/command">
                <pc:docMk/>
                <pc:sldMk cId="514153652" sldId="2147482719"/>
                <pc2:cmMk id="{2AF13D77-8D85-4913-8F67-C32E58939996}"/>
              </pc2:cmMkLst>
            </pc226:cmChg>
          </p:ext>
        </pc:extLst>
      </pc:sldChg>
      <pc:sldChg chg="new del">
        <pc:chgData name="Pranav A Sogi" userId="26041da9-58db-4268-87d2-8f3ed54afd3b" providerId="ADAL" clId="{3B40422A-39D3-481D-AF9A-F714FAEE8EB0}" dt="2024-07-23T08:42:47.245" v="493" actId="680"/>
        <pc:sldMkLst>
          <pc:docMk/>
          <pc:sldMk cId="3117188302" sldId="2147482719"/>
        </pc:sldMkLst>
      </pc:sldChg>
      <pc:sldChg chg="addSp delSp modSp new mod addCm modCm">
        <pc:chgData name="Pranav A Sogi" userId="26041da9-58db-4268-87d2-8f3ed54afd3b" providerId="ADAL" clId="{3B40422A-39D3-481D-AF9A-F714FAEE8EB0}" dt="2024-07-23T12:05:21.075" v="1718"/>
        <pc:sldMkLst>
          <pc:docMk/>
          <pc:sldMk cId="769217906" sldId="2147482720"/>
        </pc:sldMkLst>
        <pc:spChg chg="mod">
          <ac:chgData name="Pranav A Sogi" userId="26041da9-58db-4268-87d2-8f3ed54afd3b" providerId="ADAL" clId="{3B40422A-39D3-481D-AF9A-F714FAEE8EB0}" dt="2024-07-23T09:27:53.867" v="1125" actId="20577"/>
          <ac:spMkLst>
            <pc:docMk/>
            <pc:sldMk cId="769217906" sldId="2147482720"/>
            <ac:spMk id="2" creationId="{E23FF904-5603-5E1F-69C9-73BDCD7FB8EE}"/>
          </ac:spMkLst>
        </pc:spChg>
        <pc:spChg chg="add del">
          <ac:chgData name="Pranav A Sogi" userId="26041da9-58db-4268-87d2-8f3ed54afd3b" providerId="ADAL" clId="{3B40422A-39D3-481D-AF9A-F714FAEE8EB0}" dt="2024-07-23T10:22:59.996" v="1146" actId="11529"/>
          <ac:spMkLst>
            <pc:docMk/>
            <pc:sldMk cId="769217906" sldId="2147482720"/>
            <ac:spMk id="10" creationId="{0CE3F38C-833E-9BA4-7D10-BFE04FA008D3}"/>
          </ac:spMkLst>
        </pc:spChg>
        <pc:spChg chg="add mod">
          <ac:chgData name="Pranav A Sogi" userId="26041da9-58db-4268-87d2-8f3ed54afd3b" providerId="ADAL" clId="{3B40422A-39D3-481D-AF9A-F714FAEE8EB0}" dt="2024-07-23T10:23:20.024" v="1148" actId="17032"/>
          <ac:spMkLst>
            <pc:docMk/>
            <pc:sldMk cId="769217906" sldId="2147482720"/>
            <ac:spMk id="11" creationId="{B1B58254-0849-5E1B-A1D4-D4DF9A751654}"/>
          </ac:spMkLst>
        </pc:spChg>
        <pc:picChg chg="add mod modCrop">
          <ac:chgData name="Pranav A Sogi" userId="26041da9-58db-4268-87d2-8f3ed54afd3b" providerId="ADAL" clId="{3B40422A-39D3-481D-AF9A-F714FAEE8EB0}" dt="2024-07-23T10:21:47.518" v="1144" actId="1076"/>
          <ac:picMkLst>
            <pc:docMk/>
            <pc:sldMk cId="769217906" sldId="2147482720"/>
            <ac:picMk id="9" creationId="{D3059771-BBF2-CA4F-C50D-84F37258B5CE}"/>
          </ac:picMkLst>
        </pc:picChg>
        <pc:extLst>
          <p:ext xmlns:p="http://schemas.openxmlformats.org/presentationml/2006/main" uri="{D6D511B9-2390-475A-947B-AFAB55BFBCF1}">
            <pc226:cmChg xmlns:pc226="http://schemas.microsoft.com/office/powerpoint/2022/06/main/command" chg="add">
              <pc226:chgData name="Pranav A Sogi" userId="26041da9-58db-4268-87d2-8f3ed54afd3b" providerId="ADAL" clId="{3B40422A-39D3-481D-AF9A-F714FAEE8EB0}" dt="2024-07-23T12:05:21.075" v="1718"/>
              <pc2:cmMkLst xmlns:pc2="http://schemas.microsoft.com/office/powerpoint/2019/9/main/command">
                <pc:docMk/>
                <pc:sldMk cId="769217906" sldId="2147482720"/>
                <pc2:cmMk id="{9B819C4B-A796-4264-A4A2-F8A828687E1C}"/>
              </pc2:cmMkLst>
            </pc226:cmChg>
            <pc226:cmChg xmlns:pc226="http://schemas.microsoft.com/office/powerpoint/2022/06/main/command" chg="add mod">
              <pc226:chgData name="Pranav A Sogi" userId="26041da9-58db-4268-87d2-8f3ed54afd3b" providerId="ADAL" clId="{3B40422A-39D3-481D-AF9A-F714FAEE8EB0}" dt="2024-07-23T10:10:34.956" v="1134" actId="2056"/>
              <pc2:cmMkLst xmlns:pc2="http://schemas.microsoft.com/office/powerpoint/2019/9/main/command">
                <pc:docMk/>
                <pc:sldMk cId="769217906" sldId="2147482720"/>
                <pc2:cmMk id="{999AB37E-4C4F-4019-9488-C494DDA3FE63}"/>
              </pc2:cmMkLst>
            </pc226:cmChg>
          </p:ext>
        </pc:extLst>
      </pc:sldChg>
      <pc:sldChg chg="addSp modSp new mod addCm">
        <pc:chgData name="Pranav A Sogi" userId="26041da9-58db-4268-87d2-8f3ed54afd3b" providerId="ADAL" clId="{3B40422A-39D3-481D-AF9A-F714FAEE8EB0}" dt="2024-07-23T10:24:09.897" v="1153" actId="1076"/>
        <pc:sldMkLst>
          <pc:docMk/>
          <pc:sldMk cId="3231079088" sldId="2147482721"/>
        </pc:sldMkLst>
        <pc:picChg chg="add mod">
          <ac:chgData name="Pranav A Sogi" userId="26041da9-58db-4268-87d2-8f3ed54afd3b" providerId="ADAL" clId="{3B40422A-39D3-481D-AF9A-F714FAEE8EB0}" dt="2024-07-23T10:24:09.897" v="1153" actId="1076"/>
          <ac:picMkLst>
            <pc:docMk/>
            <pc:sldMk cId="3231079088" sldId="2147482721"/>
            <ac:picMk id="9" creationId="{136B5544-9735-5A3A-B2DB-C7F5DAFCB015}"/>
          </ac:picMkLst>
        </pc:picChg>
        <pc:extLst>
          <p:ext xmlns:p="http://schemas.openxmlformats.org/presentationml/2006/main" uri="{D6D511B9-2390-475A-947B-AFAB55BFBCF1}">
            <pc226:cmChg xmlns:pc226="http://schemas.microsoft.com/office/powerpoint/2022/06/main/command" chg="add">
              <pc226:chgData name="Pranav A Sogi" userId="26041da9-58db-4268-87d2-8f3ed54afd3b" providerId="ADAL" clId="{3B40422A-39D3-481D-AF9A-F714FAEE8EB0}" dt="2024-07-23T09:30:01.440" v="1127"/>
              <pc2:cmMkLst xmlns:pc2="http://schemas.microsoft.com/office/powerpoint/2019/9/main/command">
                <pc:docMk/>
                <pc:sldMk cId="3231079088" sldId="2147482721"/>
                <pc2:cmMk id="{2EB87672-9453-4922-BF95-C7554E476323}"/>
              </pc2:cmMkLst>
            </pc226:cmChg>
          </p:ext>
        </pc:extLst>
      </pc:sldChg>
    </pc:docChg>
  </pc:docChgLst>
  <pc:docChgLst>
    <pc:chgData name="Deepti Yadav" userId="b600194b-c568-4684-b899-1525a3e1db24" providerId="ADAL" clId="{9A80CF40-BD20-4D2C-AEA2-B40F08EEBA85}"/>
    <pc:docChg chg="undo custSel addSld modSld sldOrd">
      <pc:chgData name="Deepti Yadav" userId="b600194b-c568-4684-b899-1525a3e1db24" providerId="ADAL" clId="{9A80CF40-BD20-4D2C-AEA2-B40F08EEBA85}" dt="2024-07-23T12:02:31.075" v="277" actId="14100"/>
      <pc:docMkLst>
        <pc:docMk/>
      </pc:docMkLst>
      <pc:sldChg chg="modSp add mod">
        <pc:chgData name="Deepti Yadav" userId="b600194b-c568-4684-b899-1525a3e1db24" providerId="ADAL" clId="{9A80CF40-BD20-4D2C-AEA2-B40F08EEBA85}" dt="2024-07-23T11:58:35.182" v="262" actId="20577"/>
        <pc:sldMkLst>
          <pc:docMk/>
          <pc:sldMk cId="1466793444" sldId="329"/>
        </pc:sldMkLst>
        <pc:spChg chg="mod">
          <ac:chgData name="Deepti Yadav" userId="b600194b-c568-4684-b899-1525a3e1db24" providerId="ADAL" clId="{9A80CF40-BD20-4D2C-AEA2-B40F08EEBA85}" dt="2024-07-23T11:58:35.182" v="262" actId="20577"/>
          <ac:spMkLst>
            <pc:docMk/>
            <pc:sldMk cId="1466793444" sldId="329"/>
            <ac:spMk id="6" creationId="{818AC00A-33C4-E921-1EF5-87E47002F290}"/>
          </ac:spMkLst>
        </pc:spChg>
      </pc:sldChg>
      <pc:sldChg chg="modSp mod">
        <pc:chgData name="Deepti Yadav" userId="b600194b-c568-4684-b899-1525a3e1db24" providerId="ADAL" clId="{9A80CF40-BD20-4D2C-AEA2-B40F08EEBA85}" dt="2024-07-23T12:02:31.075" v="277" actId="14100"/>
        <pc:sldMkLst>
          <pc:docMk/>
          <pc:sldMk cId="438402519" sldId="2147482708"/>
        </pc:sldMkLst>
        <pc:spChg chg="mod">
          <ac:chgData name="Deepti Yadav" userId="b600194b-c568-4684-b899-1525a3e1db24" providerId="ADAL" clId="{9A80CF40-BD20-4D2C-AEA2-B40F08EEBA85}" dt="2024-07-23T12:02:31.075" v="277" actId="14100"/>
          <ac:spMkLst>
            <pc:docMk/>
            <pc:sldMk cId="438402519" sldId="2147482708"/>
            <ac:spMk id="214" creationId="{0E8247D5-9862-862A-72DA-7EBC6566429D}"/>
          </ac:spMkLst>
        </pc:spChg>
        <pc:spChg chg="mod">
          <ac:chgData name="Deepti Yadav" userId="b600194b-c568-4684-b899-1525a3e1db24" providerId="ADAL" clId="{9A80CF40-BD20-4D2C-AEA2-B40F08EEBA85}" dt="2024-07-23T12:02:20.793" v="275" actId="21"/>
          <ac:spMkLst>
            <pc:docMk/>
            <pc:sldMk cId="438402519" sldId="2147482708"/>
            <ac:spMk id="215" creationId="{026C740F-EC47-E491-F3CD-D91019D204D0}"/>
          </ac:spMkLst>
        </pc:spChg>
      </pc:sldChg>
      <pc:sldChg chg="modSp mod">
        <pc:chgData name="Deepti Yadav" userId="b600194b-c568-4684-b899-1525a3e1db24" providerId="ADAL" clId="{9A80CF40-BD20-4D2C-AEA2-B40F08EEBA85}" dt="2024-07-23T11:09:08.144" v="68" actId="20577"/>
        <pc:sldMkLst>
          <pc:docMk/>
          <pc:sldMk cId="3296767712" sldId="2147482710"/>
        </pc:sldMkLst>
        <pc:spChg chg="mod">
          <ac:chgData name="Deepti Yadav" userId="b600194b-c568-4684-b899-1525a3e1db24" providerId="ADAL" clId="{9A80CF40-BD20-4D2C-AEA2-B40F08EEBA85}" dt="2024-07-23T11:09:08.144" v="68" actId="20577"/>
          <ac:spMkLst>
            <pc:docMk/>
            <pc:sldMk cId="3296767712" sldId="2147482710"/>
            <ac:spMk id="3" creationId="{26E2620F-796F-C388-5199-5C7D72353B2E}"/>
          </ac:spMkLst>
        </pc:spChg>
      </pc:sldChg>
      <pc:sldChg chg="modSp mod">
        <pc:chgData name="Deepti Yadav" userId="b600194b-c568-4684-b899-1525a3e1db24" providerId="ADAL" clId="{9A80CF40-BD20-4D2C-AEA2-B40F08EEBA85}" dt="2024-07-23T11:11:38.539" v="88"/>
        <pc:sldMkLst>
          <pc:docMk/>
          <pc:sldMk cId="3542391616" sldId="2147482711"/>
        </pc:sldMkLst>
        <pc:spChg chg="mod">
          <ac:chgData name="Deepti Yadav" userId="b600194b-c568-4684-b899-1525a3e1db24" providerId="ADAL" clId="{9A80CF40-BD20-4D2C-AEA2-B40F08EEBA85}" dt="2024-07-23T11:11:38.539" v="88"/>
          <ac:spMkLst>
            <pc:docMk/>
            <pc:sldMk cId="3542391616" sldId="2147482711"/>
            <ac:spMk id="2" creationId="{5B74F435-36AC-4365-4019-B1F77698B0E9}"/>
          </ac:spMkLst>
        </pc:spChg>
      </pc:sldChg>
      <pc:sldChg chg="modSp mod">
        <pc:chgData name="Deepti Yadav" userId="b600194b-c568-4684-b899-1525a3e1db24" providerId="ADAL" clId="{9A80CF40-BD20-4D2C-AEA2-B40F08EEBA85}" dt="2024-07-23T11:23:22.436" v="91" actId="33524"/>
        <pc:sldMkLst>
          <pc:docMk/>
          <pc:sldMk cId="514153652" sldId="2147482719"/>
        </pc:sldMkLst>
        <pc:spChg chg="mod">
          <ac:chgData name="Deepti Yadav" userId="b600194b-c568-4684-b899-1525a3e1db24" providerId="ADAL" clId="{9A80CF40-BD20-4D2C-AEA2-B40F08EEBA85}" dt="2024-07-23T11:23:22.436" v="91" actId="33524"/>
          <ac:spMkLst>
            <pc:docMk/>
            <pc:sldMk cId="514153652" sldId="2147482719"/>
            <ac:spMk id="14" creationId="{FDC99662-A3EA-020B-0C07-5E0437692BA4}"/>
          </ac:spMkLst>
        </pc:spChg>
        <pc:picChg chg="mod">
          <ac:chgData name="Deepti Yadav" userId="b600194b-c568-4684-b899-1525a3e1db24" providerId="ADAL" clId="{9A80CF40-BD20-4D2C-AEA2-B40F08EEBA85}" dt="2024-07-23T11:22:56.493" v="90" actId="1076"/>
          <ac:picMkLst>
            <pc:docMk/>
            <pc:sldMk cId="514153652" sldId="2147482719"/>
            <ac:picMk id="7" creationId="{2D3B0431-38D8-CAE7-9256-65F6E4D5648A}"/>
          </ac:picMkLst>
        </pc:picChg>
      </pc:sldChg>
      <pc:sldChg chg="modSp add mod ord">
        <pc:chgData name="Deepti Yadav" userId="b600194b-c568-4684-b899-1525a3e1db24" providerId="ADAL" clId="{9A80CF40-BD20-4D2C-AEA2-B40F08EEBA85}" dt="2024-07-23T11:59:26.550" v="270"/>
        <pc:sldMkLst>
          <pc:docMk/>
          <pc:sldMk cId="2337706030" sldId="2147482722"/>
        </pc:sldMkLst>
        <pc:spChg chg="mod">
          <ac:chgData name="Deepti Yadav" userId="b600194b-c568-4684-b899-1525a3e1db24" providerId="ADAL" clId="{9A80CF40-BD20-4D2C-AEA2-B40F08EEBA85}" dt="2024-07-23T11:59:11.751" v="266" actId="1076"/>
          <ac:spMkLst>
            <pc:docMk/>
            <pc:sldMk cId="2337706030" sldId="2147482722"/>
            <ac:spMk id="7" creationId="{3456BBCB-5683-B8F1-85A4-38C22684A23E}"/>
          </ac:spMkLst>
        </pc:spChg>
      </pc:sldChg>
      <pc:sldChg chg="modSp add mod ord">
        <pc:chgData name="Deepti Yadav" userId="b600194b-c568-4684-b899-1525a3e1db24" providerId="ADAL" clId="{9A80CF40-BD20-4D2C-AEA2-B40F08EEBA85}" dt="2024-07-23T11:59:31.036" v="272"/>
        <pc:sldMkLst>
          <pc:docMk/>
          <pc:sldMk cId="360145393" sldId="2147482723"/>
        </pc:sldMkLst>
        <pc:spChg chg="mod">
          <ac:chgData name="Deepti Yadav" userId="b600194b-c568-4684-b899-1525a3e1db24" providerId="ADAL" clId="{9A80CF40-BD20-4D2C-AEA2-B40F08EEBA85}" dt="2024-07-23T11:59:16.718" v="267" actId="1076"/>
          <ac:spMkLst>
            <pc:docMk/>
            <pc:sldMk cId="360145393" sldId="2147482723"/>
            <ac:spMk id="7" creationId="{3456BBCB-5683-B8F1-85A4-38C22684A23E}"/>
          </ac:spMkLst>
        </pc:spChg>
      </pc:sldChg>
      <pc:sldChg chg="modSp add mod ord">
        <pc:chgData name="Deepti Yadav" userId="b600194b-c568-4684-b899-1525a3e1db24" providerId="ADAL" clId="{9A80CF40-BD20-4D2C-AEA2-B40F08EEBA85}" dt="2024-07-23T11:59:38.382" v="274"/>
        <pc:sldMkLst>
          <pc:docMk/>
          <pc:sldMk cId="1059015893" sldId="2147482724"/>
        </pc:sldMkLst>
        <pc:spChg chg="mod">
          <ac:chgData name="Deepti Yadav" userId="b600194b-c568-4684-b899-1525a3e1db24" providerId="ADAL" clId="{9A80CF40-BD20-4D2C-AEA2-B40F08EEBA85}" dt="2024-07-23T11:59:22.728" v="268" actId="1076"/>
          <ac:spMkLst>
            <pc:docMk/>
            <pc:sldMk cId="1059015893" sldId="2147482724"/>
            <ac:spMk id="7" creationId="{3456BBCB-5683-B8F1-85A4-38C22684A23E}"/>
          </ac:spMkLst>
        </pc:spChg>
      </pc:sldChg>
    </pc:docChg>
  </pc:docChgLst>
  <pc:docChgLst>
    <pc:chgData name="S Vignesh" userId="4cdfbe3e-ecf0-4e37-8a2e-2e2c44064d45" providerId="ADAL" clId="{9BDFAE3E-529F-42D6-8B65-25B5E3EA0121}"/>
    <pc:docChg chg="undo custSel addSld delSld modSld sldOrd modSection">
      <pc:chgData name="S Vignesh" userId="4cdfbe3e-ecf0-4e37-8a2e-2e2c44064d45" providerId="ADAL" clId="{9BDFAE3E-529F-42D6-8B65-25B5E3EA0121}" dt="2024-07-26T09:54:26.828" v="1105" actId="242"/>
      <pc:docMkLst>
        <pc:docMk/>
      </pc:docMkLst>
      <pc:sldChg chg="del ord">
        <pc:chgData name="S Vignesh" userId="4cdfbe3e-ecf0-4e37-8a2e-2e2c44064d45" providerId="ADAL" clId="{9BDFAE3E-529F-42D6-8B65-25B5E3EA0121}" dt="2024-07-22T18:29:40.841" v="10" actId="47"/>
        <pc:sldMkLst>
          <pc:docMk/>
          <pc:sldMk cId="1414950004" sldId="257"/>
        </pc:sldMkLst>
      </pc:sldChg>
      <pc:sldChg chg="add del ord">
        <pc:chgData name="S Vignesh" userId="4cdfbe3e-ecf0-4e37-8a2e-2e2c44064d45" providerId="ADAL" clId="{9BDFAE3E-529F-42D6-8B65-25B5E3EA0121}" dt="2024-07-22T18:29:25.454" v="7"/>
        <pc:sldMkLst>
          <pc:docMk/>
          <pc:sldMk cId="4279906043" sldId="324"/>
        </pc:sldMkLst>
      </pc:sldChg>
      <pc:sldChg chg="modSp mod">
        <pc:chgData name="S Vignesh" userId="4cdfbe3e-ecf0-4e37-8a2e-2e2c44064d45" providerId="ADAL" clId="{9BDFAE3E-529F-42D6-8B65-25B5E3EA0121}" dt="2024-07-23T12:12:44.515" v="1088" actId="113"/>
        <pc:sldMkLst>
          <pc:docMk/>
          <pc:sldMk cId="1466793444" sldId="329"/>
        </pc:sldMkLst>
        <pc:spChg chg="mod">
          <ac:chgData name="S Vignesh" userId="4cdfbe3e-ecf0-4e37-8a2e-2e2c44064d45" providerId="ADAL" clId="{9BDFAE3E-529F-42D6-8B65-25B5E3EA0121}" dt="2024-07-23T12:12:44.515" v="1088" actId="113"/>
          <ac:spMkLst>
            <pc:docMk/>
            <pc:sldMk cId="1466793444" sldId="329"/>
            <ac:spMk id="6" creationId="{818AC00A-33C4-E921-1EF5-87E47002F290}"/>
          </ac:spMkLst>
        </pc:spChg>
      </pc:sldChg>
      <pc:sldChg chg="add del ord">
        <pc:chgData name="S Vignesh" userId="4cdfbe3e-ecf0-4e37-8a2e-2e2c44064d45" providerId="ADAL" clId="{9BDFAE3E-529F-42D6-8B65-25B5E3EA0121}" dt="2024-07-22T18:31:38.264" v="20"/>
        <pc:sldMkLst>
          <pc:docMk/>
          <pc:sldMk cId="2319494498" sldId="334"/>
        </pc:sldMkLst>
      </pc:sldChg>
      <pc:sldChg chg="del ord">
        <pc:chgData name="S Vignesh" userId="4cdfbe3e-ecf0-4e37-8a2e-2e2c44064d45" providerId="ADAL" clId="{9BDFAE3E-529F-42D6-8B65-25B5E3EA0121}" dt="2024-07-22T18:33:30.379" v="44" actId="47"/>
        <pc:sldMkLst>
          <pc:docMk/>
          <pc:sldMk cId="2035529764" sldId="356"/>
        </pc:sldMkLst>
      </pc:sldChg>
      <pc:sldChg chg="del ord">
        <pc:chgData name="S Vignesh" userId="4cdfbe3e-ecf0-4e37-8a2e-2e2c44064d45" providerId="ADAL" clId="{9BDFAE3E-529F-42D6-8B65-25B5E3EA0121}" dt="2024-07-22T18:32:48.194" v="36" actId="47"/>
        <pc:sldMkLst>
          <pc:docMk/>
          <pc:sldMk cId="812848875" sldId="360"/>
        </pc:sldMkLst>
      </pc:sldChg>
      <pc:sldChg chg="add del ord">
        <pc:chgData name="S Vignesh" userId="4cdfbe3e-ecf0-4e37-8a2e-2e2c44064d45" providerId="ADAL" clId="{9BDFAE3E-529F-42D6-8B65-25B5E3EA0121}" dt="2024-07-22T18:31:38.264" v="20"/>
        <pc:sldMkLst>
          <pc:docMk/>
          <pc:sldMk cId="836712968" sldId="2147482701"/>
        </pc:sldMkLst>
      </pc:sldChg>
      <pc:sldChg chg="del ord">
        <pc:chgData name="S Vignesh" userId="4cdfbe3e-ecf0-4e37-8a2e-2e2c44064d45" providerId="ADAL" clId="{9BDFAE3E-529F-42D6-8B65-25B5E3EA0121}" dt="2024-07-22T18:32:04.981" v="24" actId="47"/>
        <pc:sldMkLst>
          <pc:docMk/>
          <pc:sldMk cId="549651905" sldId="2147482702"/>
        </pc:sldMkLst>
      </pc:sldChg>
      <pc:sldChg chg="del ord">
        <pc:chgData name="S Vignesh" userId="4cdfbe3e-ecf0-4e37-8a2e-2e2c44064d45" providerId="ADAL" clId="{9BDFAE3E-529F-42D6-8B65-25B5E3EA0121}" dt="2024-07-22T18:32:20.211" v="27" actId="47"/>
        <pc:sldMkLst>
          <pc:docMk/>
          <pc:sldMk cId="1886744076" sldId="2147482703"/>
        </pc:sldMkLst>
      </pc:sldChg>
      <pc:sldChg chg="del ord">
        <pc:chgData name="S Vignesh" userId="4cdfbe3e-ecf0-4e37-8a2e-2e2c44064d45" providerId="ADAL" clId="{9BDFAE3E-529F-42D6-8B65-25B5E3EA0121}" dt="2024-07-22T18:33:19.246" v="42" actId="47"/>
        <pc:sldMkLst>
          <pc:docMk/>
          <pc:sldMk cId="3288841276" sldId="2147482704"/>
        </pc:sldMkLst>
      </pc:sldChg>
      <pc:sldChg chg="del ord">
        <pc:chgData name="S Vignesh" userId="4cdfbe3e-ecf0-4e37-8a2e-2e2c44064d45" providerId="ADAL" clId="{9BDFAE3E-529F-42D6-8B65-25B5E3EA0121}" dt="2024-07-22T18:32:54.808" v="37" actId="47"/>
        <pc:sldMkLst>
          <pc:docMk/>
          <pc:sldMk cId="1869025224" sldId="2147482705"/>
        </pc:sldMkLst>
      </pc:sldChg>
      <pc:sldChg chg="del ord">
        <pc:chgData name="S Vignesh" userId="4cdfbe3e-ecf0-4e37-8a2e-2e2c44064d45" providerId="ADAL" clId="{9BDFAE3E-529F-42D6-8B65-25B5E3EA0121}" dt="2024-07-22T18:33:11.770" v="39" actId="47"/>
        <pc:sldMkLst>
          <pc:docMk/>
          <pc:sldMk cId="3269854580" sldId="2147482706"/>
        </pc:sldMkLst>
      </pc:sldChg>
      <pc:sldChg chg="del ord">
        <pc:chgData name="S Vignesh" userId="4cdfbe3e-ecf0-4e37-8a2e-2e2c44064d45" providerId="ADAL" clId="{9BDFAE3E-529F-42D6-8B65-25B5E3EA0121}" dt="2024-07-22T18:32:04.981" v="24" actId="47"/>
        <pc:sldMkLst>
          <pc:docMk/>
          <pc:sldMk cId="4253417476" sldId="2147482707"/>
        </pc:sldMkLst>
      </pc:sldChg>
      <pc:sldChg chg="add del ord">
        <pc:chgData name="S Vignesh" userId="4cdfbe3e-ecf0-4e37-8a2e-2e2c44064d45" providerId="ADAL" clId="{9BDFAE3E-529F-42D6-8B65-25B5E3EA0121}" dt="2024-07-22T18:29:25.454" v="7"/>
        <pc:sldMkLst>
          <pc:docMk/>
          <pc:sldMk cId="438402519" sldId="2147482708"/>
        </pc:sldMkLst>
      </pc:sldChg>
      <pc:sldChg chg="add del">
        <pc:chgData name="S Vignesh" userId="4cdfbe3e-ecf0-4e37-8a2e-2e2c44064d45" providerId="ADAL" clId="{9BDFAE3E-529F-42D6-8B65-25B5E3EA0121}" dt="2024-07-22T18:29:14.342" v="4"/>
        <pc:sldMkLst>
          <pc:docMk/>
          <pc:sldMk cId="1493977054" sldId="2147482709"/>
        </pc:sldMkLst>
      </pc:sldChg>
      <pc:sldChg chg="addSp delSp modSp add mod ord modCm">
        <pc:chgData name="S Vignesh" userId="4cdfbe3e-ecf0-4e37-8a2e-2e2c44064d45" providerId="ADAL" clId="{9BDFAE3E-529F-42D6-8B65-25B5E3EA0121}" dt="2024-07-23T09:39:43.643" v="948"/>
        <pc:sldMkLst>
          <pc:docMk/>
          <pc:sldMk cId="2010227181" sldId="2147482709"/>
        </pc:sldMkLst>
        <pc:spChg chg="mod topLvl">
          <ac:chgData name="S Vignesh" userId="4cdfbe3e-ecf0-4e37-8a2e-2e2c44064d45" providerId="ADAL" clId="{9BDFAE3E-529F-42D6-8B65-25B5E3EA0121}" dt="2024-07-23T09:38:44.585" v="941" actId="465"/>
          <ac:spMkLst>
            <pc:docMk/>
            <pc:sldMk cId="2010227181" sldId="2147482709"/>
            <ac:spMk id="2" creationId="{33080F44-E0F6-FE3B-936F-0D5FB15F670E}"/>
          </ac:spMkLst>
        </pc:spChg>
        <pc:spChg chg="mod topLvl">
          <ac:chgData name="S Vignesh" userId="4cdfbe3e-ecf0-4e37-8a2e-2e2c44064d45" providerId="ADAL" clId="{9BDFAE3E-529F-42D6-8B65-25B5E3EA0121}" dt="2024-07-23T09:34:39.096" v="812" actId="408"/>
          <ac:spMkLst>
            <pc:docMk/>
            <pc:sldMk cId="2010227181" sldId="2147482709"/>
            <ac:spMk id="3" creationId="{AF20ADC2-3C67-D329-EA6F-2488F4EFF432}"/>
          </ac:spMkLst>
        </pc:spChg>
        <pc:spChg chg="mod topLvl">
          <ac:chgData name="S Vignesh" userId="4cdfbe3e-ecf0-4e37-8a2e-2e2c44064d45" providerId="ADAL" clId="{9BDFAE3E-529F-42D6-8B65-25B5E3EA0121}" dt="2024-07-23T09:34:45.531" v="817" actId="164"/>
          <ac:spMkLst>
            <pc:docMk/>
            <pc:sldMk cId="2010227181" sldId="2147482709"/>
            <ac:spMk id="4" creationId="{52A4373F-7579-759D-B212-9C86F1FEA716}"/>
          </ac:spMkLst>
        </pc:spChg>
        <pc:spChg chg="mod topLvl">
          <ac:chgData name="S Vignesh" userId="4cdfbe3e-ecf0-4e37-8a2e-2e2c44064d45" providerId="ADAL" clId="{9BDFAE3E-529F-42D6-8B65-25B5E3EA0121}" dt="2024-07-23T09:34:35.284" v="808"/>
          <ac:spMkLst>
            <pc:docMk/>
            <pc:sldMk cId="2010227181" sldId="2147482709"/>
            <ac:spMk id="6" creationId="{E3C9F3AA-7857-F7EE-FAA1-8B65828C6AC1}"/>
          </ac:spMkLst>
        </pc:spChg>
        <pc:spChg chg="mod topLvl">
          <ac:chgData name="S Vignesh" userId="4cdfbe3e-ecf0-4e37-8a2e-2e2c44064d45" providerId="ADAL" clId="{9BDFAE3E-529F-42D6-8B65-25B5E3EA0121}" dt="2024-07-23T09:36:01.303" v="854"/>
          <ac:spMkLst>
            <pc:docMk/>
            <pc:sldMk cId="2010227181" sldId="2147482709"/>
            <ac:spMk id="7" creationId="{7627FA47-93C1-2834-3F6A-B150D1244132}"/>
          </ac:spMkLst>
        </pc:spChg>
        <pc:spChg chg="mod topLvl">
          <ac:chgData name="S Vignesh" userId="4cdfbe3e-ecf0-4e37-8a2e-2e2c44064d45" providerId="ADAL" clId="{9BDFAE3E-529F-42D6-8B65-25B5E3EA0121}" dt="2024-07-23T09:34:56.167" v="823" actId="465"/>
          <ac:spMkLst>
            <pc:docMk/>
            <pc:sldMk cId="2010227181" sldId="2147482709"/>
            <ac:spMk id="8" creationId="{84EE4F20-D437-42E0-122C-DECF3FAD59EA}"/>
          </ac:spMkLst>
        </pc:spChg>
        <pc:spChg chg="mod topLvl">
          <ac:chgData name="S Vignesh" userId="4cdfbe3e-ecf0-4e37-8a2e-2e2c44064d45" providerId="ADAL" clId="{9BDFAE3E-529F-42D6-8B65-25B5E3EA0121}" dt="2024-07-23T09:38:06.091" v="923" actId="14100"/>
          <ac:spMkLst>
            <pc:docMk/>
            <pc:sldMk cId="2010227181" sldId="2147482709"/>
            <ac:spMk id="9" creationId="{C2D228DE-43A2-C300-C874-5B8A9678624A}"/>
          </ac:spMkLst>
        </pc:spChg>
        <pc:spChg chg="mod ord topLvl">
          <ac:chgData name="S Vignesh" userId="4cdfbe3e-ecf0-4e37-8a2e-2e2c44064d45" providerId="ADAL" clId="{9BDFAE3E-529F-42D6-8B65-25B5E3EA0121}" dt="2024-07-23T09:38:59.420" v="947" actId="166"/>
          <ac:spMkLst>
            <pc:docMk/>
            <pc:sldMk cId="2010227181" sldId="2147482709"/>
            <ac:spMk id="10" creationId="{2652A6CB-32B7-9795-8C2A-FB115E098F1E}"/>
          </ac:spMkLst>
        </pc:spChg>
        <pc:spChg chg="mod ord topLvl">
          <ac:chgData name="S Vignesh" userId="4cdfbe3e-ecf0-4e37-8a2e-2e2c44064d45" providerId="ADAL" clId="{9BDFAE3E-529F-42D6-8B65-25B5E3EA0121}" dt="2024-07-23T09:37:05.892" v="894" actId="166"/>
          <ac:spMkLst>
            <pc:docMk/>
            <pc:sldMk cId="2010227181" sldId="2147482709"/>
            <ac:spMk id="20" creationId="{5233A767-7BB7-36DA-9AEA-01F9AACBAE83}"/>
          </ac:spMkLst>
        </pc:spChg>
        <pc:spChg chg="mod ord topLvl">
          <ac:chgData name="S Vignesh" userId="4cdfbe3e-ecf0-4e37-8a2e-2e2c44064d45" providerId="ADAL" clId="{9BDFAE3E-529F-42D6-8B65-25B5E3EA0121}" dt="2024-07-23T09:37:05.892" v="894" actId="166"/>
          <ac:spMkLst>
            <pc:docMk/>
            <pc:sldMk cId="2010227181" sldId="2147482709"/>
            <ac:spMk id="22" creationId="{BD47F234-1EBE-69E3-5D71-C903828FD70B}"/>
          </ac:spMkLst>
        </pc:spChg>
        <pc:spChg chg="mod topLvl">
          <ac:chgData name="S Vignesh" userId="4cdfbe3e-ecf0-4e37-8a2e-2e2c44064d45" providerId="ADAL" clId="{9BDFAE3E-529F-42D6-8B65-25B5E3EA0121}" dt="2024-07-23T09:38:22.975" v="929" actId="14100"/>
          <ac:spMkLst>
            <pc:docMk/>
            <pc:sldMk cId="2010227181" sldId="2147482709"/>
            <ac:spMk id="23" creationId="{B78E3CE9-715F-D205-DCB5-BD242DAC67C1}"/>
          </ac:spMkLst>
        </pc:spChg>
        <pc:spChg chg="mod topLvl">
          <ac:chgData name="S Vignesh" userId="4cdfbe3e-ecf0-4e37-8a2e-2e2c44064d45" providerId="ADAL" clId="{9BDFAE3E-529F-42D6-8B65-25B5E3EA0121}" dt="2024-07-23T09:38:44.585" v="941" actId="465"/>
          <ac:spMkLst>
            <pc:docMk/>
            <pc:sldMk cId="2010227181" sldId="2147482709"/>
            <ac:spMk id="24" creationId="{9079FEE8-07A6-188E-AA8F-FE4478EC2251}"/>
          </ac:spMkLst>
        </pc:spChg>
        <pc:spChg chg="mod topLvl">
          <ac:chgData name="S Vignesh" userId="4cdfbe3e-ecf0-4e37-8a2e-2e2c44064d45" providerId="ADAL" clId="{9BDFAE3E-529F-42D6-8B65-25B5E3EA0121}" dt="2024-07-23T09:38:44.585" v="941" actId="465"/>
          <ac:spMkLst>
            <pc:docMk/>
            <pc:sldMk cId="2010227181" sldId="2147482709"/>
            <ac:spMk id="26" creationId="{08064489-4048-FE47-789E-7879FB88A570}"/>
          </ac:spMkLst>
        </pc:spChg>
        <pc:spChg chg="mod topLvl">
          <ac:chgData name="S Vignesh" userId="4cdfbe3e-ecf0-4e37-8a2e-2e2c44064d45" providerId="ADAL" clId="{9BDFAE3E-529F-42D6-8B65-25B5E3EA0121}" dt="2024-07-23T09:34:39.096" v="812" actId="408"/>
          <ac:spMkLst>
            <pc:docMk/>
            <pc:sldMk cId="2010227181" sldId="2147482709"/>
            <ac:spMk id="28" creationId="{90319369-CC44-D17D-1BD8-E6ADAD4D8DB2}"/>
          </ac:spMkLst>
        </pc:spChg>
        <pc:spChg chg="mod topLvl">
          <ac:chgData name="S Vignesh" userId="4cdfbe3e-ecf0-4e37-8a2e-2e2c44064d45" providerId="ADAL" clId="{9BDFAE3E-529F-42D6-8B65-25B5E3EA0121}" dt="2024-07-23T09:34:45.531" v="817" actId="164"/>
          <ac:spMkLst>
            <pc:docMk/>
            <pc:sldMk cId="2010227181" sldId="2147482709"/>
            <ac:spMk id="29" creationId="{FCB7F731-C799-2396-62B6-8D080F71C0CB}"/>
          </ac:spMkLst>
        </pc:spChg>
        <pc:spChg chg="mod topLvl">
          <ac:chgData name="S Vignesh" userId="4cdfbe3e-ecf0-4e37-8a2e-2e2c44064d45" providerId="ADAL" clId="{9BDFAE3E-529F-42D6-8B65-25B5E3EA0121}" dt="2024-07-23T09:34:45.531" v="817" actId="164"/>
          <ac:spMkLst>
            <pc:docMk/>
            <pc:sldMk cId="2010227181" sldId="2147482709"/>
            <ac:spMk id="30" creationId="{C8489662-E654-65A1-19CD-4A13B5BADF4D}"/>
          </ac:spMkLst>
        </pc:spChg>
        <pc:spChg chg="mod topLvl">
          <ac:chgData name="S Vignesh" userId="4cdfbe3e-ecf0-4e37-8a2e-2e2c44064d45" providerId="ADAL" clId="{9BDFAE3E-529F-42D6-8B65-25B5E3EA0121}" dt="2024-07-23T09:34:45.531" v="817" actId="164"/>
          <ac:spMkLst>
            <pc:docMk/>
            <pc:sldMk cId="2010227181" sldId="2147482709"/>
            <ac:spMk id="40" creationId="{88951714-F2C8-0D8C-36EE-3EC03677B514}"/>
          </ac:spMkLst>
        </pc:spChg>
        <pc:spChg chg="mod topLvl">
          <ac:chgData name="S Vignesh" userId="4cdfbe3e-ecf0-4e37-8a2e-2e2c44064d45" providerId="ADAL" clId="{9BDFAE3E-529F-42D6-8B65-25B5E3EA0121}" dt="2024-07-23T09:31:54.892" v="721"/>
          <ac:spMkLst>
            <pc:docMk/>
            <pc:sldMk cId="2010227181" sldId="2147482709"/>
            <ac:spMk id="41" creationId="{B7F71C3C-0FDD-D413-9614-0F31EFD9F066}"/>
          </ac:spMkLst>
        </pc:spChg>
        <pc:spChg chg="mod topLvl">
          <ac:chgData name="S Vignesh" userId="4cdfbe3e-ecf0-4e37-8a2e-2e2c44064d45" providerId="ADAL" clId="{9BDFAE3E-529F-42D6-8B65-25B5E3EA0121}" dt="2024-07-23T09:34:53.007" v="821" actId="1076"/>
          <ac:spMkLst>
            <pc:docMk/>
            <pc:sldMk cId="2010227181" sldId="2147482709"/>
            <ac:spMk id="42" creationId="{2248FC4E-CA67-05E6-4676-2F5D2D712AFB}"/>
          </ac:spMkLst>
        </pc:spChg>
        <pc:spChg chg="mod topLvl">
          <ac:chgData name="S Vignesh" userId="4cdfbe3e-ecf0-4e37-8a2e-2e2c44064d45" providerId="ADAL" clId="{9BDFAE3E-529F-42D6-8B65-25B5E3EA0121}" dt="2024-07-23T09:36:17.458" v="868"/>
          <ac:spMkLst>
            <pc:docMk/>
            <pc:sldMk cId="2010227181" sldId="2147482709"/>
            <ac:spMk id="52" creationId="{76CB7F1B-D605-FAF8-8AB6-6842A4B4697D}"/>
          </ac:spMkLst>
        </pc:spChg>
        <pc:spChg chg="mod topLvl">
          <ac:chgData name="S Vignesh" userId="4cdfbe3e-ecf0-4e37-8a2e-2e2c44064d45" providerId="ADAL" clId="{9BDFAE3E-529F-42D6-8B65-25B5E3EA0121}" dt="2024-07-23T09:35:55.529" v="850" actId="465"/>
          <ac:spMkLst>
            <pc:docMk/>
            <pc:sldMk cId="2010227181" sldId="2147482709"/>
            <ac:spMk id="56" creationId="{B07DD75D-077E-48DC-1E0A-0F291FACB830}"/>
          </ac:spMkLst>
        </pc:spChg>
        <pc:spChg chg="mod ord topLvl">
          <ac:chgData name="S Vignesh" userId="4cdfbe3e-ecf0-4e37-8a2e-2e2c44064d45" providerId="ADAL" clId="{9BDFAE3E-529F-42D6-8B65-25B5E3EA0121}" dt="2024-07-23T09:38:59.420" v="947" actId="166"/>
          <ac:spMkLst>
            <pc:docMk/>
            <pc:sldMk cId="2010227181" sldId="2147482709"/>
            <ac:spMk id="63" creationId="{C40CC5F8-DFF3-4AAA-F729-606AD8208FF8}"/>
          </ac:spMkLst>
        </pc:spChg>
        <pc:spChg chg="mod topLvl">
          <ac:chgData name="S Vignesh" userId="4cdfbe3e-ecf0-4e37-8a2e-2e2c44064d45" providerId="ADAL" clId="{9BDFAE3E-529F-42D6-8B65-25B5E3EA0121}" dt="2024-07-23T09:36:17.458" v="868"/>
          <ac:spMkLst>
            <pc:docMk/>
            <pc:sldMk cId="2010227181" sldId="2147482709"/>
            <ac:spMk id="64" creationId="{25C01B9C-49D1-54EE-99CA-618236B10018}"/>
          </ac:spMkLst>
        </pc:spChg>
        <pc:spChg chg="mod topLvl">
          <ac:chgData name="S Vignesh" userId="4cdfbe3e-ecf0-4e37-8a2e-2e2c44064d45" providerId="ADAL" clId="{9BDFAE3E-529F-42D6-8B65-25B5E3EA0121}" dt="2024-07-23T09:35:55.529" v="850" actId="465"/>
          <ac:spMkLst>
            <pc:docMk/>
            <pc:sldMk cId="2010227181" sldId="2147482709"/>
            <ac:spMk id="66" creationId="{58FEFE87-F22E-67EF-A457-6EA576244F2A}"/>
          </ac:spMkLst>
        </pc:spChg>
        <pc:spChg chg="mod topLvl">
          <ac:chgData name="S Vignesh" userId="4cdfbe3e-ecf0-4e37-8a2e-2e2c44064d45" providerId="ADAL" clId="{9BDFAE3E-529F-42D6-8B65-25B5E3EA0121}" dt="2024-07-23T09:35:55.529" v="850" actId="465"/>
          <ac:spMkLst>
            <pc:docMk/>
            <pc:sldMk cId="2010227181" sldId="2147482709"/>
            <ac:spMk id="68" creationId="{8B3ED60A-7245-6715-5ECB-81228DD0C841}"/>
          </ac:spMkLst>
        </pc:spChg>
        <pc:spChg chg="mod topLvl">
          <ac:chgData name="S Vignesh" userId="4cdfbe3e-ecf0-4e37-8a2e-2e2c44064d45" providerId="ADAL" clId="{9BDFAE3E-529F-42D6-8B65-25B5E3EA0121}" dt="2024-07-23T09:36:44.165" v="885"/>
          <ac:spMkLst>
            <pc:docMk/>
            <pc:sldMk cId="2010227181" sldId="2147482709"/>
            <ac:spMk id="91" creationId="{F19F45BD-EAD1-7F6E-5A26-F3AB04406B00}"/>
          </ac:spMkLst>
        </pc:spChg>
        <pc:spChg chg="mod topLvl">
          <ac:chgData name="S Vignesh" userId="4cdfbe3e-ecf0-4e37-8a2e-2e2c44064d45" providerId="ADAL" clId="{9BDFAE3E-529F-42D6-8B65-25B5E3EA0121}" dt="2024-07-23T09:36:44.165" v="885"/>
          <ac:spMkLst>
            <pc:docMk/>
            <pc:sldMk cId="2010227181" sldId="2147482709"/>
            <ac:spMk id="92" creationId="{39E952B8-0911-93EF-4E8A-9E0C14F4715C}"/>
          </ac:spMkLst>
        </pc:spChg>
        <pc:spChg chg="mod topLvl">
          <ac:chgData name="S Vignesh" userId="4cdfbe3e-ecf0-4e37-8a2e-2e2c44064d45" providerId="ADAL" clId="{9BDFAE3E-529F-42D6-8B65-25B5E3EA0121}" dt="2024-07-23T09:36:44.165" v="885"/>
          <ac:spMkLst>
            <pc:docMk/>
            <pc:sldMk cId="2010227181" sldId="2147482709"/>
            <ac:spMk id="95" creationId="{E901CD4E-4D6A-CDC7-B5F1-63C243AC1E4C}"/>
          </ac:spMkLst>
        </pc:spChg>
        <pc:spChg chg="mod topLvl">
          <ac:chgData name="S Vignesh" userId="4cdfbe3e-ecf0-4e37-8a2e-2e2c44064d45" providerId="ADAL" clId="{9BDFAE3E-529F-42D6-8B65-25B5E3EA0121}" dt="2024-07-23T09:36:44.165" v="885"/>
          <ac:spMkLst>
            <pc:docMk/>
            <pc:sldMk cId="2010227181" sldId="2147482709"/>
            <ac:spMk id="96" creationId="{5AE24881-26D3-35D6-A272-F28CB6583CB2}"/>
          </ac:spMkLst>
        </pc:spChg>
        <pc:spChg chg="del mod topLvl">
          <ac:chgData name="S Vignesh" userId="4cdfbe3e-ecf0-4e37-8a2e-2e2c44064d45" providerId="ADAL" clId="{9BDFAE3E-529F-42D6-8B65-25B5E3EA0121}" dt="2024-07-23T09:29:24.097" v="660" actId="478"/>
          <ac:spMkLst>
            <pc:docMk/>
            <pc:sldMk cId="2010227181" sldId="2147482709"/>
            <ac:spMk id="98" creationId="{B9ACD629-02EA-1C09-C9DC-369D5AA82B32}"/>
          </ac:spMkLst>
        </pc:spChg>
        <pc:grpChg chg="add del mod">
          <ac:chgData name="S Vignesh" userId="4cdfbe3e-ecf0-4e37-8a2e-2e2c44064d45" providerId="ADAL" clId="{9BDFAE3E-529F-42D6-8B65-25B5E3EA0121}" dt="2024-07-23T09:30:07.593" v="677" actId="165"/>
          <ac:grpSpMkLst>
            <pc:docMk/>
            <pc:sldMk cId="2010227181" sldId="2147482709"/>
            <ac:grpSpMk id="12" creationId="{EF4A27CA-2BF0-20B1-98D2-F1CD1F680FD1}"/>
          </ac:grpSpMkLst>
        </pc:grpChg>
        <pc:grpChg chg="add del mod">
          <ac:chgData name="S Vignesh" userId="4cdfbe3e-ecf0-4e37-8a2e-2e2c44064d45" providerId="ADAL" clId="{9BDFAE3E-529F-42D6-8B65-25B5E3EA0121}" dt="2024-07-23T09:30:04.420" v="676" actId="165"/>
          <ac:grpSpMkLst>
            <pc:docMk/>
            <pc:sldMk cId="2010227181" sldId="2147482709"/>
            <ac:grpSpMk id="13" creationId="{9A356BC3-45FD-F679-EBCC-E0516C14AACA}"/>
          </ac:grpSpMkLst>
        </pc:grpChg>
        <pc:grpChg chg="add del mod">
          <ac:chgData name="S Vignesh" userId="4cdfbe3e-ecf0-4e37-8a2e-2e2c44064d45" providerId="ADAL" clId="{9BDFAE3E-529F-42D6-8B65-25B5E3EA0121}" dt="2024-07-23T09:30:41.064" v="696" actId="165"/>
          <ac:grpSpMkLst>
            <pc:docMk/>
            <pc:sldMk cId="2010227181" sldId="2147482709"/>
            <ac:grpSpMk id="14" creationId="{4A1766BB-5C2C-5772-D085-5C96FE00DC70}"/>
          </ac:grpSpMkLst>
        </pc:grpChg>
        <pc:grpChg chg="add del mod">
          <ac:chgData name="S Vignesh" userId="4cdfbe3e-ecf0-4e37-8a2e-2e2c44064d45" providerId="ADAL" clId="{9BDFAE3E-529F-42D6-8B65-25B5E3EA0121}" dt="2024-07-23T09:31:43.583" v="715" actId="165"/>
          <ac:grpSpMkLst>
            <pc:docMk/>
            <pc:sldMk cId="2010227181" sldId="2147482709"/>
            <ac:grpSpMk id="15" creationId="{32F6A2AE-A556-848E-6F5E-73877324E066}"/>
          </ac:grpSpMkLst>
        </pc:grpChg>
        <pc:grpChg chg="add del mod">
          <ac:chgData name="S Vignesh" userId="4cdfbe3e-ecf0-4e37-8a2e-2e2c44064d45" providerId="ADAL" clId="{9BDFAE3E-529F-42D6-8B65-25B5E3EA0121}" dt="2024-07-23T09:33:28.170" v="777" actId="165"/>
          <ac:grpSpMkLst>
            <pc:docMk/>
            <pc:sldMk cId="2010227181" sldId="2147482709"/>
            <ac:grpSpMk id="17" creationId="{56FC41CF-2796-F4CA-0443-81A476952A9F}"/>
          </ac:grpSpMkLst>
        </pc:grpChg>
        <pc:grpChg chg="add del mod">
          <ac:chgData name="S Vignesh" userId="4cdfbe3e-ecf0-4e37-8a2e-2e2c44064d45" providerId="ADAL" clId="{9BDFAE3E-529F-42D6-8B65-25B5E3EA0121}" dt="2024-07-23T09:34:02.228" v="789" actId="165"/>
          <ac:grpSpMkLst>
            <pc:docMk/>
            <pc:sldMk cId="2010227181" sldId="2147482709"/>
            <ac:grpSpMk id="18" creationId="{1EAD3465-E6C8-02E1-9240-DE5B305ADEE8}"/>
          </ac:grpSpMkLst>
        </pc:grpChg>
        <pc:grpChg chg="add del mod">
          <ac:chgData name="S Vignesh" userId="4cdfbe3e-ecf0-4e37-8a2e-2e2c44064d45" providerId="ADAL" clId="{9BDFAE3E-529F-42D6-8B65-25B5E3EA0121}" dt="2024-07-23T09:35:00.054" v="824" actId="165"/>
          <ac:grpSpMkLst>
            <pc:docMk/>
            <pc:sldMk cId="2010227181" sldId="2147482709"/>
            <ac:grpSpMk id="19" creationId="{6E02AE29-EF8F-AD5A-74C2-C0694DDE5D22}"/>
          </ac:grpSpMkLst>
        </pc:grpChg>
        <pc:grpChg chg="add mod">
          <ac:chgData name="S Vignesh" userId="4cdfbe3e-ecf0-4e37-8a2e-2e2c44064d45" providerId="ADAL" clId="{9BDFAE3E-529F-42D6-8B65-25B5E3EA0121}" dt="2024-07-23T09:35:55.529" v="850" actId="465"/>
          <ac:grpSpMkLst>
            <pc:docMk/>
            <pc:sldMk cId="2010227181" sldId="2147482709"/>
            <ac:grpSpMk id="21" creationId="{21DDE4D9-5932-14C6-E374-7C96FDF95541}"/>
          </ac:grpSpMkLst>
        </pc:grpChg>
        <pc:grpChg chg="add del mod">
          <ac:chgData name="S Vignesh" userId="4cdfbe3e-ecf0-4e37-8a2e-2e2c44064d45" providerId="ADAL" clId="{9BDFAE3E-529F-42D6-8B65-25B5E3EA0121}" dt="2024-07-23T09:35:41.316" v="843" actId="165"/>
          <ac:grpSpMkLst>
            <pc:docMk/>
            <pc:sldMk cId="2010227181" sldId="2147482709"/>
            <ac:grpSpMk id="25" creationId="{CEF88AAF-DAF1-9875-F4EE-8537AAEA0D23}"/>
          </ac:grpSpMkLst>
        </pc:grpChg>
        <pc:grpChg chg="add mod">
          <ac:chgData name="S Vignesh" userId="4cdfbe3e-ecf0-4e37-8a2e-2e2c44064d45" providerId="ADAL" clId="{9BDFAE3E-529F-42D6-8B65-25B5E3EA0121}" dt="2024-07-23T09:36:17.458" v="868"/>
          <ac:grpSpMkLst>
            <pc:docMk/>
            <pc:sldMk cId="2010227181" sldId="2147482709"/>
            <ac:grpSpMk id="27" creationId="{CE68FB9B-10F9-5E83-B356-B4440A9E23DF}"/>
          </ac:grpSpMkLst>
        </pc:grpChg>
        <pc:grpChg chg="add mod">
          <ac:chgData name="S Vignesh" userId="4cdfbe3e-ecf0-4e37-8a2e-2e2c44064d45" providerId="ADAL" clId="{9BDFAE3E-529F-42D6-8B65-25B5E3EA0121}" dt="2024-07-23T09:36:46.694" v="889" actId="1035"/>
          <ac:grpSpMkLst>
            <pc:docMk/>
            <pc:sldMk cId="2010227181" sldId="2147482709"/>
            <ac:grpSpMk id="31" creationId="{CE6E4265-F150-A405-1F5C-533300846537}"/>
          </ac:grpSpMkLst>
        </pc:grpChg>
        <pc:grpChg chg="del">
          <ac:chgData name="S Vignesh" userId="4cdfbe3e-ecf0-4e37-8a2e-2e2c44064d45" providerId="ADAL" clId="{9BDFAE3E-529F-42D6-8B65-25B5E3EA0121}" dt="2024-07-23T09:29:21.032" v="659" actId="165"/>
          <ac:grpSpMkLst>
            <pc:docMk/>
            <pc:sldMk cId="2010227181" sldId="2147482709"/>
            <ac:grpSpMk id="34" creationId="{CDB16686-4FDB-603D-AD08-E81BEA1B3192}"/>
          </ac:grpSpMkLst>
        </pc:grpChg>
        <pc:grpChg chg="del mod topLvl">
          <ac:chgData name="S Vignesh" userId="4cdfbe3e-ecf0-4e37-8a2e-2e2c44064d45" providerId="ADAL" clId="{9BDFAE3E-529F-42D6-8B65-25B5E3EA0121}" dt="2024-07-23T09:30:07.803" v="678" actId="165"/>
          <ac:grpSpMkLst>
            <pc:docMk/>
            <pc:sldMk cId="2010227181" sldId="2147482709"/>
            <ac:grpSpMk id="58" creationId="{DFCBC878-60A9-990D-01E6-99CEE9082E54}"/>
          </ac:grpSpMkLst>
        </pc:grpChg>
        <pc:grpChg chg="del mod topLvl">
          <ac:chgData name="S Vignesh" userId="4cdfbe3e-ecf0-4e37-8a2e-2e2c44064d45" providerId="ADAL" clId="{9BDFAE3E-529F-42D6-8B65-25B5E3EA0121}" dt="2024-07-23T09:30:07.803" v="678" actId="165"/>
          <ac:grpSpMkLst>
            <pc:docMk/>
            <pc:sldMk cId="2010227181" sldId="2147482709"/>
            <ac:grpSpMk id="59" creationId="{AA9404E4-F2B9-0319-6734-91A034397E08}"/>
          </ac:grpSpMkLst>
        </pc:grpChg>
        <pc:extLst>
          <p:ext xmlns:p="http://schemas.openxmlformats.org/presentationml/2006/main" uri="{D6D511B9-2390-475A-947B-AFAB55BFBCF1}">
            <pc226:cmChg xmlns:pc226="http://schemas.microsoft.com/office/powerpoint/2022/06/main/command" chg="">
              <pc226:chgData name="S Vignesh" userId="4cdfbe3e-ecf0-4e37-8a2e-2e2c44064d45" providerId="ADAL" clId="{9BDFAE3E-529F-42D6-8B65-25B5E3EA0121}" dt="2024-07-23T09:39:43.643" v="948"/>
              <pc2:cmMkLst xmlns:pc2="http://schemas.microsoft.com/office/powerpoint/2019/9/main/command">
                <pc:docMk/>
                <pc:sldMk cId="2010227181" sldId="2147482709"/>
                <pc2:cmMk id="{B1EC5C0B-3D4D-4604-A9B2-0CC9F623CB2B}"/>
              </pc2:cmMkLst>
              <pc226:cmRplyChg chg="add">
                <pc226:chgData name="S Vignesh" userId="4cdfbe3e-ecf0-4e37-8a2e-2e2c44064d45" providerId="ADAL" clId="{9BDFAE3E-529F-42D6-8B65-25B5E3EA0121}" dt="2024-07-23T09:39:43.643" v="948"/>
                <pc2:cmRplyMkLst xmlns:pc2="http://schemas.microsoft.com/office/powerpoint/2019/9/main/command">
                  <pc:docMk/>
                  <pc:sldMk cId="2010227181" sldId="2147482709"/>
                  <pc2:cmMk id="{B1EC5C0B-3D4D-4604-A9B2-0CC9F623CB2B}"/>
                  <pc2:cmRplyMk id="{1B2B0B11-B919-4F03-BCE2-2D6D3B6CF82C}"/>
                </pc2:cmRplyMkLst>
              </pc226:cmRplyChg>
            </pc226:cmChg>
          </p:ext>
        </pc:extLst>
      </pc:sldChg>
      <pc:sldChg chg="addSp modSp add mod ord">
        <pc:chgData name="S Vignesh" userId="4cdfbe3e-ecf0-4e37-8a2e-2e2c44064d45" providerId="ADAL" clId="{9BDFAE3E-529F-42D6-8B65-25B5E3EA0121}" dt="2024-07-23T12:15:00.052" v="1103" actId="20577"/>
        <pc:sldMkLst>
          <pc:docMk/>
          <pc:sldMk cId="3296767712" sldId="2147482710"/>
        </pc:sldMkLst>
        <pc:spChg chg="mod ord">
          <ac:chgData name="S Vignesh" userId="4cdfbe3e-ecf0-4e37-8a2e-2e2c44064d45" providerId="ADAL" clId="{9BDFAE3E-529F-42D6-8B65-25B5E3EA0121}" dt="2024-07-23T12:15:00.052" v="1103" actId="20577"/>
          <ac:spMkLst>
            <pc:docMk/>
            <pc:sldMk cId="3296767712" sldId="2147482710"/>
            <ac:spMk id="3" creationId="{26E2620F-796F-C388-5199-5C7D72353B2E}"/>
          </ac:spMkLst>
        </pc:spChg>
        <pc:spChg chg="add mod">
          <ac:chgData name="S Vignesh" userId="4cdfbe3e-ecf0-4e37-8a2e-2e2c44064d45" providerId="ADAL" clId="{9BDFAE3E-529F-42D6-8B65-25B5E3EA0121}" dt="2024-07-23T08:33:47.129" v="58" actId="207"/>
          <ac:spMkLst>
            <pc:docMk/>
            <pc:sldMk cId="3296767712" sldId="2147482710"/>
            <ac:spMk id="5" creationId="{A7C76751-65DE-043A-D123-93CA66A65D08}"/>
          </ac:spMkLst>
        </pc:spChg>
        <pc:spChg chg="mod">
          <ac:chgData name="S Vignesh" userId="4cdfbe3e-ecf0-4e37-8a2e-2e2c44064d45" providerId="ADAL" clId="{9BDFAE3E-529F-42D6-8B65-25B5E3EA0121}" dt="2024-07-23T08:35:01.316" v="78" actId="14100"/>
          <ac:spMkLst>
            <pc:docMk/>
            <pc:sldMk cId="3296767712" sldId="2147482710"/>
            <ac:spMk id="7" creationId="{9340FB5D-DB4A-2A98-A047-03303A5528F1}"/>
          </ac:spMkLst>
        </pc:spChg>
        <pc:spChg chg="mod">
          <ac:chgData name="S Vignesh" userId="4cdfbe3e-ecf0-4e37-8a2e-2e2c44064d45" providerId="ADAL" clId="{9BDFAE3E-529F-42D6-8B65-25B5E3EA0121}" dt="2024-07-23T08:37:52.008" v="119"/>
          <ac:spMkLst>
            <pc:docMk/>
            <pc:sldMk cId="3296767712" sldId="2147482710"/>
            <ac:spMk id="8" creationId="{3E89EED4-4972-7F79-8261-70620AA59C99}"/>
          </ac:spMkLst>
        </pc:spChg>
        <pc:graphicFrameChg chg="mod modGraphic">
          <ac:chgData name="S Vignesh" userId="4cdfbe3e-ecf0-4e37-8a2e-2e2c44064d45" providerId="ADAL" clId="{9BDFAE3E-529F-42D6-8B65-25B5E3EA0121}" dt="2024-07-23T10:08:03.825" v="977" actId="108"/>
          <ac:graphicFrameMkLst>
            <pc:docMk/>
            <pc:sldMk cId="3296767712" sldId="2147482710"/>
            <ac:graphicFrameMk id="4" creationId="{E2C71DD9-2673-621D-24C8-631849C84463}"/>
          </ac:graphicFrameMkLst>
        </pc:graphicFrameChg>
        <pc:graphicFrameChg chg="add mod modGraphic">
          <ac:chgData name="S Vignesh" userId="4cdfbe3e-ecf0-4e37-8a2e-2e2c44064d45" providerId="ADAL" clId="{9BDFAE3E-529F-42D6-8B65-25B5E3EA0121}" dt="2024-07-23T08:38:15.347" v="127" actId="1076"/>
          <ac:graphicFrameMkLst>
            <pc:docMk/>
            <pc:sldMk cId="3296767712" sldId="2147482710"/>
            <ac:graphicFrameMk id="9" creationId="{4911E276-C5CA-6519-8688-F051F062B50F}"/>
          </ac:graphicFrameMkLst>
        </pc:graphicFrameChg>
        <pc:graphicFrameChg chg="add mod modGraphic">
          <ac:chgData name="S Vignesh" userId="4cdfbe3e-ecf0-4e37-8a2e-2e2c44064d45" providerId="ADAL" clId="{9BDFAE3E-529F-42D6-8B65-25B5E3EA0121}" dt="2024-07-23T08:38:15.347" v="127" actId="1076"/>
          <ac:graphicFrameMkLst>
            <pc:docMk/>
            <pc:sldMk cId="3296767712" sldId="2147482710"/>
            <ac:graphicFrameMk id="11" creationId="{257B86A0-5696-F3B2-1396-84B65BAC2B9A}"/>
          </ac:graphicFrameMkLst>
        </pc:graphicFrameChg>
        <pc:graphicFrameChg chg="add mod modGraphic">
          <ac:chgData name="S Vignesh" userId="4cdfbe3e-ecf0-4e37-8a2e-2e2c44064d45" providerId="ADAL" clId="{9BDFAE3E-529F-42D6-8B65-25B5E3EA0121}" dt="2024-07-23T08:38:15.347" v="127" actId="1076"/>
          <ac:graphicFrameMkLst>
            <pc:docMk/>
            <pc:sldMk cId="3296767712" sldId="2147482710"/>
            <ac:graphicFrameMk id="13" creationId="{3CE4C177-C6A3-783C-4196-9A72F3D18AAF}"/>
          </ac:graphicFrameMkLst>
        </pc:graphicFrameChg>
      </pc:sldChg>
      <pc:sldChg chg="add del">
        <pc:chgData name="S Vignesh" userId="4cdfbe3e-ecf0-4e37-8a2e-2e2c44064d45" providerId="ADAL" clId="{9BDFAE3E-529F-42D6-8B65-25B5E3EA0121}" dt="2024-07-22T18:29:14.342" v="4"/>
        <pc:sldMkLst>
          <pc:docMk/>
          <pc:sldMk cId="4280720862" sldId="2147482710"/>
        </pc:sldMkLst>
      </pc:sldChg>
      <pc:sldChg chg="add del">
        <pc:chgData name="S Vignesh" userId="4cdfbe3e-ecf0-4e37-8a2e-2e2c44064d45" providerId="ADAL" clId="{9BDFAE3E-529F-42D6-8B65-25B5E3EA0121}" dt="2024-07-22T18:29:14.342" v="4"/>
        <pc:sldMkLst>
          <pc:docMk/>
          <pc:sldMk cId="842797219" sldId="2147482711"/>
        </pc:sldMkLst>
      </pc:sldChg>
      <pc:sldChg chg="addSp delSp modSp add mod ord">
        <pc:chgData name="S Vignesh" userId="4cdfbe3e-ecf0-4e37-8a2e-2e2c44064d45" providerId="ADAL" clId="{9BDFAE3E-529F-42D6-8B65-25B5E3EA0121}" dt="2024-07-23T09:28:31.771" v="652" actId="1036"/>
        <pc:sldMkLst>
          <pc:docMk/>
          <pc:sldMk cId="3542391616" sldId="2147482711"/>
        </pc:sldMkLst>
        <pc:spChg chg="add del mod">
          <ac:chgData name="S Vignesh" userId="4cdfbe3e-ecf0-4e37-8a2e-2e2c44064d45" providerId="ADAL" clId="{9BDFAE3E-529F-42D6-8B65-25B5E3EA0121}" dt="2024-07-23T09:28:03.780" v="647" actId="478"/>
          <ac:spMkLst>
            <pc:docMk/>
            <pc:sldMk cId="3542391616" sldId="2147482711"/>
            <ac:spMk id="3" creationId="{7EB1D462-6DA2-9A28-B7D3-F194937798C0}"/>
          </ac:spMkLst>
        </pc:spChg>
        <pc:spChg chg="add del mod">
          <ac:chgData name="S Vignesh" userId="4cdfbe3e-ecf0-4e37-8a2e-2e2c44064d45" providerId="ADAL" clId="{9BDFAE3E-529F-42D6-8B65-25B5E3EA0121}" dt="2024-07-22T18:31:58.960" v="23" actId="478"/>
          <ac:spMkLst>
            <pc:docMk/>
            <pc:sldMk cId="3542391616" sldId="2147482711"/>
            <ac:spMk id="3" creationId="{E259089F-03B4-CF26-18B1-C632BA62D8EA}"/>
          </ac:spMkLst>
        </pc:spChg>
        <pc:spChg chg="add del mod">
          <ac:chgData name="S Vignesh" userId="4cdfbe3e-ecf0-4e37-8a2e-2e2c44064d45" providerId="ADAL" clId="{9BDFAE3E-529F-42D6-8B65-25B5E3EA0121}" dt="2024-07-23T09:28:22.357" v="651" actId="478"/>
          <ac:spMkLst>
            <pc:docMk/>
            <pc:sldMk cId="3542391616" sldId="2147482711"/>
            <ac:spMk id="4" creationId="{C82FAEEE-BFF1-F0F1-9ABB-861BDD4E269B}"/>
          </ac:spMkLst>
        </pc:spChg>
        <pc:spChg chg="add mod">
          <ac:chgData name="S Vignesh" userId="4cdfbe3e-ecf0-4e37-8a2e-2e2c44064d45" providerId="ADAL" clId="{9BDFAE3E-529F-42D6-8B65-25B5E3EA0121}" dt="2024-07-23T09:28:31.771" v="652" actId="1036"/>
          <ac:spMkLst>
            <pc:docMk/>
            <pc:sldMk cId="3542391616" sldId="2147482711"/>
            <ac:spMk id="5" creationId="{431AA7AF-0A7D-28CB-6DB0-4F102C29C660}"/>
          </ac:spMkLst>
        </pc:spChg>
        <pc:spChg chg="add mod topLvl">
          <ac:chgData name="S Vignesh" userId="4cdfbe3e-ecf0-4e37-8a2e-2e2c44064d45" providerId="ADAL" clId="{9BDFAE3E-529F-42D6-8B65-25B5E3EA0121}" dt="2024-07-23T09:28:31.771" v="652" actId="1036"/>
          <ac:spMkLst>
            <pc:docMk/>
            <pc:sldMk cId="3542391616" sldId="2147482711"/>
            <ac:spMk id="6" creationId="{4BFCBD8A-AED1-1654-B8E6-93E1EFD8815E}"/>
          </ac:spMkLst>
        </pc:spChg>
        <pc:spChg chg="add mod topLvl">
          <ac:chgData name="S Vignesh" userId="4cdfbe3e-ecf0-4e37-8a2e-2e2c44064d45" providerId="ADAL" clId="{9BDFAE3E-529F-42D6-8B65-25B5E3EA0121}" dt="2024-07-23T09:28:31.771" v="652" actId="1036"/>
          <ac:spMkLst>
            <pc:docMk/>
            <pc:sldMk cId="3542391616" sldId="2147482711"/>
            <ac:spMk id="7" creationId="{10AA4C42-2DCA-6005-3D04-91101F5A6501}"/>
          </ac:spMkLst>
        </pc:spChg>
        <pc:spChg chg="add mod">
          <ac:chgData name="S Vignesh" userId="4cdfbe3e-ecf0-4e37-8a2e-2e2c44064d45" providerId="ADAL" clId="{9BDFAE3E-529F-42D6-8B65-25B5E3EA0121}" dt="2024-07-23T09:28:31.771" v="652" actId="1036"/>
          <ac:spMkLst>
            <pc:docMk/>
            <pc:sldMk cId="3542391616" sldId="2147482711"/>
            <ac:spMk id="8" creationId="{0C974CB7-C52F-5FF1-12E1-14AB6497AE4F}"/>
          </ac:spMkLst>
        </pc:spChg>
        <pc:spChg chg="add mod">
          <ac:chgData name="S Vignesh" userId="4cdfbe3e-ecf0-4e37-8a2e-2e2c44064d45" providerId="ADAL" clId="{9BDFAE3E-529F-42D6-8B65-25B5E3EA0121}" dt="2024-07-23T09:28:31.771" v="652" actId="1036"/>
          <ac:spMkLst>
            <pc:docMk/>
            <pc:sldMk cId="3542391616" sldId="2147482711"/>
            <ac:spMk id="9" creationId="{634F6BF2-4A59-0E8A-BCCB-99900EC1CDC2}"/>
          </ac:spMkLst>
        </pc:spChg>
        <pc:spChg chg="mod topLvl">
          <ac:chgData name="S Vignesh" userId="4cdfbe3e-ecf0-4e37-8a2e-2e2c44064d45" providerId="ADAL" clId="{9BDFAE3E-529F-42D6-8B65-25B5E3EA0121}" dt="2024-07-23T09:23:27.227" v="598" actId="165"/>
          <ac:spMkLst>
            <pc:docMk/>
            <pc:sldMk cId="3542391616" sldId="2147482711"/>
            <ac:spMk id="11" creationId="{7838F1E8-F92D-8E2B-223C-CCA64A3D20E3}"/>
          </ac:spMkLst>
        </pc:spChg>
        <pc:spChg chg="mod topLvl">
          <ac:chgData name="S Vignesh" userId="4cdfbe3e-ecf0-4e37-8a2e-2e2c44064d45" providerId="ADAL" clId="{9BDFAE3E-529F-42D6-8B65-25B5E3EA0121}" dt="2024-07-23T09:23:27.227" v="598" actId="165"/>
          <ac:spMkLst>
            <pc:docMk/>
            <pc:sldMk cId="3542391616" sldId="2147482711"/>
            <ac:spMk id="12" creationId="{483F3A26-580C-56A8-36C3-3081E0A84471}"/>
          </ac:spMkLst>
        </pc:spChg>
        <pc:spChg chg="mod topLvl">
          <ac:chgData name="S Vignesh" userId="4cdfbe3e-ecf0-4e37-8a2e-2e2c44064d45" providerId="ADAL" clId="{9BDFAE3E-529F-42D6-8B65-25B5E3EA0121}" dt="2024-07-23T09:23:27.227" v="598" actId="165"/>
          <ac:spMkLst>
            <pc:docMk/>
            <pc:sldMk cId="3542391616" sldId="2147482711"/>
            <ac:spMk id="15" creationId="{3B726521-F816-2E32-84A2-88E2452B2228}"/>
          </ac:spMkLst>
        </pc:spChg>
        <pc:spChg chg="mod topLvl">
          <ac:chgData name="S Vignesh" userId="4cdfbe3e-ecf0-4e37-8a2e-2e2c44064d45" providerId="ADAL" clId="{9BDFAE3E-529F-42D6-8B65-25B5E3EA0121}" dt="2024-07-23T09:23:27.227" v="598" actId="165"/>
          <ac:spMkLst>
            <pc:docMk/>
            <pc:sldMk cId="3542391616" sldId="2147482711"/>
            <ac:spMk id="16" creationId="{BC080B38-0DE4-4CEA-9AEB-AD267099F178}"/>
          </ac:spMkLst>
        </pc:spChg>
        <pc:spChg chg="mod">
          <ac:chgData name="S Vignesh" userId="4cdfbe3e-ecf0-4e37-8a2e-2e2c44064d45" providerId="ADAL" clId="{9BDFAE3E-529F-42D6-8B65-25B5E3EA0121}" dt="2024-07-23T09:23:41.748" v="608"/>
          <ac:spMkLst>
            <pc:docMk/>
            <pc:sldMk cId="3542391616" sldId="2147482711"/>
            <ac:spMk id="18" creationId="{71B74D2E-F18B-3F1A-D5F0-5AC0D601B8A1}"/>
          </ac:spMkLst>
        </pc:spChg>
        <pc:spChg chg="mod">
          <ac:chgData name="S Vignesh" userId="4cdfbe3e-ecf0-4e37-8a2e-2e2c44064d45" providerId="ADAL" clId="{9BDFAE3E-529F-42D6-8B65-25B5E3EA0121}" dt="2024-07-23T09:23:41.748" v="608"/>
          <ac:spMkLst>
            <pc:docMk/>
            <pc:sldMk cId="3542391616" sldId="2147482711"/>
            <ac:spMk id="19" creationId="{B6DEE29C-2391-D462-F8B3-65FBDD5734E7}"/>
          </ac:spMkLst>
        </pc:spChg>
        <pc:spChg chg="add mod">
          <ac:chgData name="S Vignesh" userId="4cdfbe3e-ecf0-4e37-8a2e-2e2c44064d45" providerId="ADAL" clId="{9BDFAE3E-529F-42D6-8B65-25B5E3EA0121}" dt="2024-07-23T09:28:31.771" v="652" actId="1036"/>
          <ac:spMkLst>
            <pc:docMk/>
            <pc:sldMk cId="3542391616" sldId="2147482711"/>
            <ac:spMk id="24" creationId="{4261AECB-5FD4-5DA1-1832-EA3CC513FAB7}"/>
          </ac:spMkLst>
        </pc:spChg>
        <pc:spChg chg="mod">
          <ac:chgData name="S Vignesh" userId="4cdfbe3e-ecf0-4e37-8a2e-2e2c44064d45" providerId="ADAL" clId="{9BDFAE3E-529F-42D6-8B65-25B5E3EA0121}" dt="2024-07-23T09:23:38.787" v="606"/>
          <ac:spMkLst>
            <pc:docMk/>
            <pc:sldMk cId="3542391616" sldId="2147482711"/>
            <ac:spMk id="27" creationId="{ABF0D037-F203-2EBB-4E32-B5810E993907}"/>
          </ac:spMkLst>
        </pc:spChg>
        <pc:spChg chg="mod">
          <ac:chgData name="S Vignesh" userId="4cdfbe3e-ecf0-4e37-8a2e-2e2c44064d45" providerId="ADAL" clId="{9BDFAE3E-529F-42D6-8B65-25B5E3EA0121}" dt="2024-07-23T09:23:38.787" v="606"/>
          <ac:spMkLst>
            <pc:docMk/>
            <pc:sldMk cId="3542391616" sldId="2147482711"/>
            <ac:spMk id="28" creationId="{8BABC561-27BE-7458-E9F5-86A7ADF90337}"/>
          </ac:spMkLst>
        </pc:spChg>
        <pc:spChg chg="mod topLvl">
          <ac:chgData name="S Vignesh" userId="4cdfbe3e-ecf0-4e37-8a2e-2e2c44064d45" providerId="ADAL" clId="{9BDFAE3E-529F-42D6-8B65-25B5E3EA0121}" dt="2024-07-23T09:28:31.771" v="652" actId="1036"/>
          <ac:spMkLst>
            <pc:docMk/>
            <pc:sldMk cId="3542391616" sldId="2147482711"/>
            <ac:spMk id="31" creationId="{FA62DA20-8CD9-D21D-8AFD-D0D12B6413DD}"/>
          </ac:spMkLst>
        </pc:spChg>
        <pc:spChg chg="mod topLvl">
          <ac:chgData name="S Vignesh" userId="4cdfbe3e-ecf0-4e37-8a2e-2e2c44064d45" providerId="ADAL" clId="{9BDFAE3E-529F-42D6-8B65-25B5E3EA0121}" dt="2024-07-23T09:23:27.227" v="598" actId="165"/>
          <ac:spMkLst>
            <pc:docMk/>
            <pc:sldMk cId="3542391616" sldId="2147482711"/>
            <ac:spMk id="32" creationId="{47C8AD86-C020-7180-942F-7A9FD36DDCE8}"/>
          </ac:spMkLst>
        </pc:spChg>
        <pc:spChg chg="mod topLvl">
          <ac:chgData name="S Vignesh" userId="4cdfbe3e-ecf0-4e37-8a2e-2e2c44064d45" providerId="ADAL" clId="{9BDFAE3E-529F-42D6-8B65-25B5E3EA0121}" dt="2024-07-23T09:28:31.771" v="652" actId="1036"/>
          <ac:spMkLst>
            <pc:docMk/>
            <pc:sldMk cId="3542391616" sldId="2147482711"/>
            <ac:spMk id="36" creationId="{71F0BEC2-5D60-7AD9-DA66-E1B44E059698}"/>
          </ac:spMkLst>
        </pc:spChg>
        <pc:spChg chg="mod topLvl">
          <ac:chgData name="S Vignesh" userId="4cdfbe3e-ecf0-4e37-8a2e-2e2c44064d45" providerId="ADAL" clId="{9BDFAE3E-529F-42D6-8B65-25B5E3EA0121}" dt="2024-07-23T09:28:31.771" v="652" actId="1036"/>
          <ac:spMkLst>
            <pc:docMk/>
            <pc:sldMk cId="3542391616" sldId="2147482711"/>
            <ac:spMk id="37" creationId="{F0563954-409F-50A7-0DAE-B3B3247F8C0E}"/>
          </ac:spMkLst>
        </pc:spChg>
        <pc:spChg chg="mod">
          <ac:chgData name="S Vignesh" userId="4cdfbe3e-ecf0-4e37-8a2e-2e2c44064d45" providerId="ADAL" clId="{9BDFAE3E-529F-42D6-8B65-25B5E3EA0121}" dt="2024-07-23T09:27:31.034" v="633" actId="165"/>
          <ac:spMkLst>
            <pc:docMk/>
            <pc:sldMk cId="3542391616" sldId="2147482711"/>
            <ac:spMk id="41" creationId="{9BE64ED9-F737-A30C-081A-C833C1231279}"/>
          </ac:spMkLst>
        </pc:spChg>
        <pc:spChg chg="mod">
          <ac:chgData name="S Vignesh" userId="4cdfbe3e-ecf0-4e37-8a2e-2e2c44064d45" providerId="ADAL" clId="{9BDFAE3E-529F-42D6-8B65-25B5E3EA0121}" dt="2024-07-23T09:27:31.034" v="633" actId="165"/>
          <ac:spMkLst>
            <pc:docMk/>
            <pc:sldMk cId="3542391616" sldId="2147482711"/>
            <ac:spMk id="42" creationId="{063BCA57-45A4-8756-D455-85E111AD7980}"/>
          </ac:spMkLst>
        </pc:spChg>
        <pc:spChg chg="mod topLvl">
          <ac:chgData name="S Vignesh" userId="4cdfbe3e-ecf0-4e37-8a2e-2e2c44064d45" providerId="ADAL" clId="{9BDFAE3E-529F-42D6-8B65-25B5E3EA0121}" dt="2024-07-23T09:23:27.227" v="598" actId="165"/>
          <ac:spMkLst>
            <pc:docMk/>
            <pc:sldMk cId="3542391616" sldId="2147482711"/>
            <ac:spMk id="50" creationId="{BEBC0D57-FF98-BB8D-9FDA-935F0548E9F9}"/>
          </ac:spMkLst>
        </pc:spChg>
        <pc:spChg chg="mod topLvl">
          <ac:chgData name="S Vignesh" userId="4cdfbe3e-ecf0-4e37-8a2e-2e2c44064d45" providerId="ADAL" clId="{9BDFAE3E-529F-42D6-8B65-25B5E3EA0121}" dt="2024-07-23T09:28:31.771" v="652" actId="1036"/>
          <ac:spMkLst>
            <pc:docMk/>
            <pc:sldMk cId="3542391616" sldId="2147482711"/>
            <ac:spMk id="51" creationId="{5452C9F4-C79C-D679-61A0-8EF39CF8E1A8}"/>
          </ac:spMkLst>
        </pc:spChg>
        <pc:spChg chg="mod topLvl">
          <ac:chgData name="S Vignesh" userId="4cdfbe3e-ecf0-4e37-8a2e-2e2c44064d45" providerId="ADAL" clId="{9BDFAE3E-529F-42D6-8B65-25B5E3EA0121}" dt="2024-07-23T09:23:27.227" v="598" actId="165"/>
          <ac:spMkLst>
            <pc:docMk/>
            <pc:sldMk cId="3542391616" sldId="2147482711"/>
            <ac:spMk id="72" creationId="{965A25CF-5800-38D8-00B5-F560C999EFC0}"/>
          </ac:spMkLst>
        </pc:spChg>
        <pc:spChg chg="mod topLvl">
          <ac:chgData name="S Vignesh" userId="4cdfbe3e-ecf0-4e37-8a2e-2e2c44064d45" providerId="ADAL" clId="{9BDFAE3E-529F-42D6-8B65-25B5E3EA0121}" dt="2024-07-23T09:23:27.227" v="598" actId="165"/>
          <ac:spMkLst>
            <pc:docMk/>
            <pc:sldMk cId="3542391616" sldId="2147482711"/>
            <ac:spMk id="73" creationId="{17DD51B7-6C63-21E4-CD08-60530840AD9C}"/>
          </ac:spMkLst>
        </pc:spChg>
        <pc:spChg chg="mod">
          <ac:chgData name="S Vignesh" userId="4cdfbe3e-ecf0-4e37-8a2e-2e2c44064d45" providerId="ADAL" clId="{9BDFAE3E-529F-42D6-8B65-25B5E3EA0121}" dt="2024-07-23T09:24:49.962" v="617" actId="165"/>
          <ac:spMkLst>
            <pc:docMk/>
            <pc:sldMk cId="3542391616" sldId="2147482711"/>
            <ac:spMk id="84" creationId="{C52B6092-314F-B0B3-8237-FB6D224A40D7}"/>
          </ac:spMkLst>
        </pc:spChg>
        <pc:spChg chg="mod">
          <ac:chgData name="S Vignesh" userId="4cdfbe3e-ecf0-4e37-8a2e-2e2c44064d45" providerId="ADAL" clId="{9BDFAE3E-529F-42D6-8B65-25B5E3EA0121}" dt="2024-07-23T09:24:49.962" v="617" actId="165"/>
          <ac:spMkLst>
            <pc:docMk/>
            <pc:sldMk cId="3542391616" sldId="2147482711"/>
            <ac:spMk id="85" creationId="{B327D7B7-04C5-13A3-ACBB-68E46C5EE519}"/>
          </ac:spMkLst>
        </pc:spChg>
        <pc:spChg chg="mod">
          <ac:chgData name="S Vignesh" userId="4cdfbe3e-ecf0-4e37-8a2e-2e2c44064d45" providerId="ADAL" clId="{9BDFAE3E-529F-42D6-8B65-25B5E3EA0121}" dt="2024-07-23T09:17:07.209" v="417" actId="165"/>
          <ac:spMkLst>
            <pc:docMk/>
            <pc:sldMk cId="3542391616" sldId="2147482711"/>
            <ac:spMk id="89" creationId="{46BA6956-E78A-9042-962D-820C3CEF18BF}"/>
          </ac:spMkLst>
        </pc:spChg>
        <pc:spChg chg="mod">
          <ac:chgData name="S Vignesh" userId="4cdfbe3e-ecf0-4e37-8a2e-2e2c44064d45" providerId="ADAL" clId="{9BDFAE3E-529F-42D6-8B65-25B5E3EA0121}" dt="2024-07-23T09:17:07.209" v="417" actId="165"/>
          <ac:spMkLst>
            <pc:docMk/>
            <pc:sldMk cId="3542391616" sldId="2147482711"/>
            <ac:spMk id="90" creationId="{C3B779F2-EDD5-06F6-264B-7D08F56C44CD}"/>
          </ac:spMkLst>
        </pc:spChg>
        <pc:spChg chg="mod">
          <ac:chgData name="S Vignesh" userId="4cdfbe3e-ecf0-4e37-8a2e-2e2c44064d45" providerId="ADAL" clId="{9BDFAE3E-529F-42D6-8B65-25B5E3EA0121}" dt="2024-07-23T09:23:36.107" v="602"/>
          <ac:spMkLst>
            <pc:docMk/>
            <pc:sldMk cId="3542391616" sldId="2147482711"/>
            <ac:spMk id="96" creationId="{03582E15-F0E9-9A86-D60E-3625CD061BB9}"/>
          </ac:spMkLst>
        </pc:spChg>
        <pc:spChg chg="mod">
          <ac:chgData name="S Vignesh" userId="4cdfbe3e-ecf0-4e37-8a2e-2e2c44064d45" providerId="ADAL" clId="{9BDFAE3E-529F-42D6-8B65-25B5E3EA0121}" dt="2024-07-23T09:23:36.107" v="602"/>
          <ac:spMkLst>
            <pc:docMk/>
            <pc:sldMk cId="3542391616" sldId="2147482711"/>
            <ac:spMk id="97" creationId="{6DB3669B-C1DF-6577-CE39-75B1D9C0EBFA}"/>
          </ac:spMkLst>
        </pc:spChg>
        <pc:spChg chg="mod topLvl">
          <ac:chgData name="S Vignesh" userId="4cdfbe3e-ecf0-4e37-8a2e-2e2c44064d45" providerId="ADAL" clId="{9BDFAE3E-529F-42D6-8B65-25B5E3EA0121}" dt="2024-07-23T09:28:31.771" v="652" actId="1036"/>
          <ac:spMkLst>
            <pc:docMk/>
            <pc:sldMk cId="3542391616" sldId="2147482711"/>
            <ac:spMk id="100" creationId="{B729D7BF-C081-5F8B-AF21-BAFCF7333F68}"/>
          </ac:spMkLst>
        </pc:spChg>
        <pc:spChg chg="mod topLvl">
          <ac:chgData name="S Vignesh" userId="4cdfbe3e-ecf0-4e37-8a2e-2e2c44064d45" providerId="ADAL" clId="{9BDFAE3E-529F-42D6-8B65-25B5E3EA0121}" dt="2024-07-23T09:23:27.227" v="598" actId="165"/>
          <ac:spMkLst>
            <pc:docMk/>
            <pc:sldMk cId="3542391616" sldId="2147482711"/>
            <ac:spMk id="103" creationId="{DC476872-D20A-D6D2-4CA4-B4C9457FA1E6}"/>
          </ac:spMkLst>
        </pc:spChg>
        <pc:spChg chg="mod">
          <ac:chgData name="S Vignesh" userId="4cdfbe3e-ecf0-4e37-8a2e-2e2c44064d45" providerId="ADAL" clId="{9BDFAE3E-529F-42D6-8B65-25B5E3EA0121}" dt="2024-07-23T09:17:07.209" v="417" actId="165"/>
          <ac:spMkLst>
            <pc:docMk/>
            <pc:sldMk cId="3542391616" sldId="2147482711"/>
            <ac:spMk id="107" creationId="{6DC1CD38-283B-6AAD-C33A-9518E47A18D3}"/>
          </ac:spMkLst>
        </pc:spChg>
        <pc:spChg chg="mod">
          <ac:chgData name="S Vignesh" userId="4cdfbe3e-ecf0-4e37-8a2e-2e2c44064d45" providerId="ADAL" clId="{9BDFAE3E-529F-42D6-8B65-25B5E3EA0121}" dt="2024-07-23T09:17:07.209" v="417" actId="165"/>
          <ac:spMkLst>
            <pc:docMk/>
            <pc:sldMk cId="3542391616" sldId="2147482711"/>
            <ac:spMk id="108" creationId="{DCCBE5A4-31A2-A9C6-E12C-D5CD0C19C659}"/>
          </ac:spMkLst>
        </pc:spChg>
        <pc:spChg chg="mod">
          <ac:chgData name="S Vignesh" userId="4cdfbe3e-ecf0-4e37-8a2e-2e2c44064d45" providerId="ADAL" clId="{9BDFAE3E-529F-42D6-8B65-25B5E3EA0121}" dt="2024-07-23T09:17:07.209" v="417" actId="165"/>
          <ac:spMkLst>
            <pc:docMk/>
            <pc:sldMk cId="3542391616" sldId="2147482711"/>
            <ac:spMk id="111" creationId="{DB71348E-7A2D-6C21-12EF-48E4B90B3CC7}"/>
          </ac:spMkLst>
        </pc:spChg>
        <pc:spChg chg="mod">
          <ac:chgData name="S Vignesh" userId="4cdfbe3e-ecf0-4e37-8a2e-2e2c44064d45" providerId="ADAL" clId="{9BDFAE3E-529F-42D6-8B65-25B5E3EA0121}" dt="2024-07-23T09:17:07.209" v="417" actId="165"/>
          <ac:spMkLst>
            <pc:docMk/>
            <pc:sldMk cId="3542391616" sldId="2147482711"/>
            <ac:spMk id="112" creationId="{B77EE044-B410-090E-3AA5-49EC51F8D4C3}"/>
          </ac:spMkLst>
        </pc:spChg>
        <pc:grpChg chg="add del mod">
          <ac:chgData name="S Vignesh" userId="4cdfbe3e-ecf0-4e37-8a2e-2e2c44064d45" providerId="ADAL" clId="{9BDFAE3E-529F-42D6-8B65-25B5E3EA0121}" dt="2024-07-23T09:18:26.136" v="460" actId="165"/>
          <ac:grpSpMkLst>
            <pc:docMk/>
            <pc:sldMk cId="3542391616" sldId="2147482711"/>
            <ac:grpSpMk id="5" creationId="{7CD58B8A-AC09-B653-654F-EDA325D566DF}"/>
          </ac:grpSpMkLst>
        </pc:grpChg>
        <pc:grpChg chg="add del mod topLvl">
          <ac:chgData name="S Vignesh" userId="4cdfbe3e-ecf0-4e37-8a2e-2e2c44064d45" providerId="ADAL" clId="{9BDFAE3E-529F-42D6-8B65-25B5E3EA0121}" dt="2024-07-23T09:19:50.643" v="498" actId="165"/>
          <ac:grpSpMkLst>
            <pc:docMk/>
            <pc:sldMk cId="3542391616" sldId="2147482711"/>
            <ac:grpSpMk id="8" creationId="{75E51AE8-A2D3-599B-9D30-CE424749FA68}"/>
          </ac:grpSpMkLst>
        </pc:grpChg>
        <pc:grpChg chg="add del mod topLvl">
          <ac:chgData name="S Vignesh" userId="4cdfbe3e-ecf0-4e37-8a2e-2e2c44064d45" providerId="ADAL" clId="{9BDFAE3E-529F-42D6-8B65-25B5E3EA0121}" dt="2024-07-23T09:19:50.643" v="498" actId="165"/>
          <ac:grpSpMkLst>
            <pc:docMk/>
            <pc:sldMk cId="3542391616" sldId="2147482711"/>
            <ac:grpSpMk id="9" creationId="{F7968DC4-09A4-D0B3-881E-FCE4C0694898}"/>
          </ac:grpSpMkLst>
        </pc:grpChg>
        <pc:grpChg chg="add del mod">
          <ac:chgData name="S Vignesh" userId="4cdfbe3e-ecf0-4e37-8a2e-2e2c44064d45" providerId="ADAL" clId="{9BDFAE3E-529F-42D6-8B65-25B5E3EA0121}" dt="2024-07-23T09:19:50.440" v="497" actId="165"/>
          <ac:grpSpMkLst>
            <pc:docMk/>
            <pc:sldMk cId="3542391616" sldId="2147482711"/>
            <ac:grpSpMk id="10" creationId="{7301C5FD-1EA7-9DAB-1109-DC06C060D41E}"/>
          </ac:grpSpMkLst>
        </pc:grpChg>
        <pc:grpChg chg="add del mod ord">
          <ac:chgData name="S Vignesh" userId="4cdfbe3e-ecf0-4e37-8a2e-2e2c44064d45" providerId="ADAL" clId="{9BDFAE3E-529F-42D6-8B65-25B5E3EA0121}" dt="2024-07-23T09:23:32.564" v="600" actId="165"/>
          <ac:grpSpMkLst>
            <pc:docMk/>
            <pc:sldMk cId="3542391616" sldId="2147482711"/>
            <ac:grpSpMk id="13" creationId="{0AB55A59-D78D-299E-3CBF-BD69FB3042EE}"/>
          </ac:grpSpMkLst>
        </pc:grpChg>
        <pc:grpChg chg="add del mod">
          <ac:chgData name="S Vignesh" userId="4cdfbe3e-ecf0-4e37-8a2e-2e2c44064d45" providerId="ADAL" clId="{9BDFAE3E-529F-42D6-8B65-25B5E3EA0121}" dt="2024-07-23T09:20:27.354" v="511" actId="165"/>
          <ac:grpSpMkLst>
            <pc:docMk/>
            <pc:sldMk cId="3542391616" sldId="2147482711"/>
            <ac:grpSpMk id="14" creationId="{A306F48C-DD4C-2797-F41F-BD9A35CB852C}"/>
          </ac:grpSpMkLst>
        </pc:grpChg>
        <pc:grpChg chg="add mod topLvl">
          <ac:chgData name="S Vignesh" userId="4cdfbe3e-ecf0-4e37-8a2e-2e2c44064d45" providerId="ADAL" clId="{9BDFAE3E-529F-42D6-8B65-25B5E3EA0121}" dt="2024-07-23T09:28:31.771" v="652" actId="1036"/>
          <ac:grpSpMkLst>
            <pc:docMk/>
            <pc:sldMk cId="3542391616" sldId="2147482711"/>
            <ac:grpSpMk id="17" creationId="{4DDFA40E-537E-338B-54A2-F0683F720AE5}"/>
          </ac:grpSpMkLst>
        </pc:grpChg>
        <pc:grpChg chg="mod">
          <ac:chgData name="S Vignesh" userId="4cdfbe3e-ecf0-4e37-8a2e-2e2c44064d45" providerId="ADAL" clId="{9BDFAE3E-529F-42D6-8B65-25B5E3EA0121}" dt="2024-07-23T09:23:41.748" v="608"/>
          <ac:grpSpMkLst>
            <pc:docMk/>
            <pc:sldMk cId="3542391616" sldId="2147482711"/>
            <ac:grpSpMk id="20" creationId="{7212D3A5-E6F6-F0F2-3846-2CD59DA03193}"/>
          </ac:grpSpMkLst>
        </pc:grpChg>
        <pc:grpChg chg="add mod topLvl">
          <ac:chgData name="S Vignesh" userId="4cdfbe3e-ecf0-4e37-8a2e-2e2c44064d45" providerId="ADAL" clId="{9BDFAE3E-529F-42D6-8B65-25B5E3EA0121}" dt="2024-07-23T09:28:31.771" v="652" actId="1036"/>
          <ac:grpSpMkLst>
            <pc:docMk/>
            <pc:sldMk cId="3542391616" sldId="2147482711"/>
            <ac:grpSpMk id="21" creationId="{FF31AFA1-E70D-4047-8D06-838A96717512}"/>
          </ac:grpSpMkLst>
        </pc:grpChg>
        <pc:grpChg chg="mod topLvl">
          <ac:chgData name="S Vignesh" userId="4cdfbe3e-ecf0-4e37-8a2e-2e2c44064d45" providerId="ADAL" clId="{9BDFAE3E-529F-42D6-8B65-25B5E3EA0121}" dt="2024-07-23T09:23:41.748" v="608"/>
          <ac:grpSpMkLst>
            <pc:docMk/>
            <pc:sldMk cId="3542391616" sldId="2147482711"/>
            <ac:grpSpMk id="23" creationId="{5AD7660F-D735-243E-3712-E6A6E5E1E454}"/>
          </ac:grpSpMkLst>
        </pc:grpChg>
        <pc:grpChg chg="mod">
          <ac:chgData name="S Vignesh" userId="4cdfbe3e-ecf0-4e37-8a2e-2e2c44064d45" providerId="ADAL" clId="{9BDFAE3E-529F-42D6-8B65-25B5E3EA0121}" dt="2024-07-23T09:23:38.787" v="606"/>
          <ac:grpSpMkLst>
            <pc:docMk/>
            <pc:sldMk cId="3542391616" sldId="2147482711"/>
            <ac:grpSpMk id="25" creationId="{52EB9876-25B2-43EB-28B2-8B1312DF32CB}"/>
          </ac:grpSpMkLst>
        </pc:grpChg>
        <pc:grpChg chg="add del mod">
          <ac:chgData name="S Vignesh" userId="4cdfbe3e-ecf0-4e37-8a2e-2e2c44064d45" providerId="ADAL" clId="{9BDFAE3E-529F-42D6-8B65-25B5E3EA0121}" dt="2024-07-23T09:23:27.227" v="598" actId="165"/>
          <ac:grpSpMkLst>
            <pc:docMk/>
            <pc:sldMk cId="3542391616" sldId="2147482711"/>
            <ac:grpSpMk id="26" creationId="{8DEEE511-A8A0-D02C-A1DD-76FAAC2796F1}"/>
          </ac:grpSpMkLst>
        </pc:grpChg>
        <pc:grpChg chg="del mod ord topLvl">
          <ac:chgData name="S Vignesh" userId="4cdfbe3e-ecf0-4e37-8a2e-2e2c44064d45" providerId="ADAL" clId="{9BDFAE3E-529F-42D6-8B65-25B5E3EA0121}" dt="2024-07-23T09:23:49.306" v="610" actId="165"/>
          <ac:grpSpMkLst>
            <pc:docMk/>
            <pc:sldMk cId="3542391616" sldId="2147482711"/>
            <ac:grpSpMk id="34" creationId="{3D207A1B-51DC-D2DF-33EB-E2A659B35256}"/>
          </ac:grpSpMkLst>
        </pc:grpChg>
        <pc:grpChg chg="del mod topLvl">
          <ac:chgData name="S Vignesh" userId="4cdfbe3e-ecf0-4e37-8a2e-2e2c44064d45" providerId="ADAL" clId="{9BDFAE3E-529F-42D6-8B65-25B5E3EA0121}" dt="2024-07-23T09:28:03.780" v="647" actId="478"/>
          <ac:grpSpMkLst>
            <pc:docMk/>
            <pc:sldMk cId="3542391616" sldId="2147482711"/>
            <ac:grpSpMk id="39" creationId="{7852F60D-8A85-2346-C755-82D458D96D75}"/>
          </ac:grpSpMkLst>
        </pc:grpChg>
        <pc:grpChg chg="del mod">
          <ac:chgData name="S Vignesh" userId="4cdfbe3e-ecf0-4e37-8a2e-2e2c44064d45" providerId="ADAL" clId="{9BDFAE3E-529F-42D6-8B65-25B5E3EA0121}" dt="2024-07-23T09:27:31.034" v="633" actId="165"/>
          <ac:grpSpMkLst>
            <pc:docMk/>
            <pc:sldMk cId="3542391616" sldId="2147482711"/>
            <ac:grpSpMk id="75" creationId="{B9CCFC6A-19FD-0AF2-A915-35FA30ADA427}"/>
          </ac:grpSpMkLst>
        </pc:grpChg>
        <pc:grpChg chg="del mod">
          <ac:chgData name="S Vignesh" userId="4cdfbe3e-ecf0-4e37-8a2e-2e2c44064d45" providerId="ADAL" clId="{9BDFAE3E-529F-42D6-8B65-25B5E3EA0121}" dt="2024-07-23T09:22:18.023" v="577" actId="165"/>
          <ac:grpSpMkLst>
            <pc:docMk/>
            <pc:sldMk cId="3542391616" sldId="2147482711"/>
            <ac:grpSpMk id="76" creationId="{3BB339F6-8AE0-7E5E-8F51-36A06DC817DB}"/>
          </ac:grpSpMkLst>
        </pc:grpChg>
        <pc:grpChg chg="mod topLvl">
          <ac:chgData name="S Vignesh" userId="4cdfbe3e-ecf0-4e37-8a2e-2e2c44064d45" providerId="ADAL" clId="{9BDFAE3E-529F-42D6-8B65-25B5E3EA0121}" dt="2024-07-23T09:23:38.787" v="606"/>
          <ac:grpSpMkLst>
            <pc:docMk/>
            <pc:sldMk cId="3542391616" sldId="2147482711"/>
            <ac:grpSpMk id="80" creationId="{452CA1EE-7F92-C923-C0A0-D2AAD8F6EA85}"/>
          </ac:grpSpMkLst>
        </pc:grpChg>
        <pc:grpChg chg="del mod topLvl">
          <ac:chgData name="S Vignesh" userId="4cdfbe3e-ecf0-4e37-8a2e-2e2c44064d45" providerId="ADAL" clId="{9BDFAE3E-529F-42D6-8B65-25B5E3EA0121}" dt="2024-07-23T09:24:49.962" v="617" actId="165"/>
          <ac:grpSpMkLst>
            <pc:docMk/>
            <pc:sldMk cId="3542391616" sldId="2147482711"/>
            <ac:grpSpMk id="81" creationId="{1F0721D8-9007-F8F9-A0A1-3C241461767D}"/>
          </ac:grpSpMkLst>
        </pc:grpChg>
        <pc:grpChg chg="del mod topLvl">
          <ac:chgData name="S Vignesh" userId="4cdfbe3e-ecf0-4e37-8a2e-2e2c44064d45" providerId="ADAL" clId="{9BDFAE3E-529F-42D6-8B65-25B5E3EA0121}" dt="2024-07-23T09:28:22.357" v="651" actId="478"/>
          <ac:grpSpMkLst>
            <pc:docMk/>
            <pc:sldMk cId="3542391616" sldId="2147482711"/>
            <ac:grpSpMk id="82" creationId="{429CD8CF-8F99-E5FC-4B19-344AFEF1A525}"/>
          </ac:grpSpMkLst>
        </pc:grpChg>
        <pc:grpChg chg="del mod topLvl">
          <ac:chgData name="S Vignesh" userId="4cdfbe3e-ecf0-4e37-8a2e-2e2c44064d45" providerId="ADAL" clId="{9BDFAE3E-529F-42D6-8B65-25B5E3EA0121}" dt="2024-07-23T09:28:22.357" v="651" actId="478"/>
          <ac:grpSpMkLst>
            <pc:docMk/>
            <pc:sldMk cId="3542391616" sldId="2147482711"/>
            <ac:grpSpMk id="86" creationId="{E8231636-8F30-1C32-548A-439010AFEFF6}"/>
          </ac:grpSpMkLst>
        </pc:grpChg>
        <pc:grpChg chg="mod">
          <ac:chgData name="S Vignesh" userId="4cdfbe3e-ecf0-4e37-8a2e-2e2c44064d45" providerId="ADAL" clId="{9BDFAE3E-529F-42D6-8B65-25B5E3EA0121}" dt="2024-07-23T09:17:07.209" v="417" actId="165"/>
          <ac:grpSpMkLst>
            <pc:docMk/>
            <pc:sldMk cId="3542391616" sldId="2147482711"/>
            <ac:grpSpMk id="87" creationId="{064FC6B6-D85F-C155-954A-20448899D1AF}"/>
          </ac:grpSpMkLst>
        </pc:grpChg>
        <pc:grpChg chg="mod topLvl">
          <ac:chgData name="S Vignesh" userId="4cdfbe3e-ecf0-4e37-8a2e-2e2c44064d45" providerId="ADAL" clId="{9BDFAE3E-529F-42D6-8B65-25B5E3EA0121}" dt="2024-07-23T09:23:36.107" v="602"/>
          <ac:grpSpMkLst>
            <pc:docMk/>
            <pc:sldMk cId="3542391616" sldId="2147482711"/>
            <ac:grpSpMk id="94" creationId="{BA4D822E-52E3-4F4F-9A8A-18A150243DCC}"/>
          </ac:grpSpMkLst>
        </pc:grpChg>
        <pc:grpChg chg="del">
          <ac:chgData name="S Vignesh" userId="4cdfbe3e-ecf0-4e37-8a2e-2e2c44064d45" providerId="ADAL" clId="{9BDFAE3E-529F-42D6-8B65-25B5E3EA0121}" dt="2024-07-23T09:17:07.209" v="417" actId="165"/>
          <ac:grpSpMkLst>
            <pc:docMk/>
            <pc:sldMk cId="3542391616" sldId="2147482711"/>
            <ac:grpSpMk id="98" creationId="{901779FD-9ADE-A8C6-C703-75D96314AB0D}"/>
          </ac:grpSpMkLst>
        </pc:grpChg>
        <pc:grpChg chg="del">
          <ac:chgData name="S Vignesh" userId="4cdfbe3e-ecf0-4e37-8a2e-2e2c44064d45" providerId="ADAL" clId="{9BDFAE3E-529F-42D6-8B65-25B5E3EA0121}" dt="2024-07-23T09:17:07.209" v="417" actId="165"/>
          <ac:grpSpMkLst>
            <pc:docMk/>
            <pc:sldMk cId="3542391616" sldId="2147482711"/>
            <ac:grpSpMk id="99" creationId="{552B5A06-8D52-FCAC-D4D3-A4A3FDFABFEC}"/>
          </ac:grpSpMkLst>
        </pc:grpChg>
        <pc:grpChg chg="del mod topLvl">
          <ac:chgData name="S Vignesh" userId="4cdfbe3e-ecf0-4e37-8a2e-2e2c44064d45" providerId="ADAL" clId="{9BDFAE3E-529F-42D6-8B65-25B5E3EA0121}" dt="2024-07-23T09:28:22.357" v="651" actId="478"/>
          <ac:grpSpMkLst>
            <pc:docMk/>
            <pc:sldMk cId="3542391616" sldId="2147482711"/>
            <ac:grpSpMk id="102" creationId="{2D802CCE-BE98-548B-61A0-9B29620F0838}"/>
          </ac:grpSpMkLst>
        </pc:grpChg>
        <pc:grpChg chg="del mod topLvl">
          <ac:chgData name="S Vignesh" userId="4cdfbe3e-ecf0-4e37-8a2e-2e2c44064d45" providerId="ADAL" clId="{9BDFAE3E-529F-42D6-8B65-25B5E3EA0121}" dt="2024-07-23T09:28:22.357" v="651" actId="478"/>
          <ac:grpSpMkLst>
            <pc:docMk/>
            <pc:sldMk cId="3542391616" sldId="2147482711"/>
            <ac:grpSpMk id="104" creationId="{908CD947-93BF-1C0B-350D-0821A42D7E01}"/>
          </ac:grpSpMkLst>
        </pc:grpChg>
        <pc:grpChg chg="mod">
          <ac:chgData name="S Vignesh" userId="4cdfbe3e-ecf0-4e37-8a2e-2e2c44064d45" providerId="ADAL" clId="{9BDFAE3E-529F-42D6-8B65-25B5E3EA0121}" dt="2024-07-23T09:17:07.209" v="417" actId="165"/>
          <ac:grpSpMkLst>
            <pc:docMk/>
            <pc:sldMk cId="3542391616" sldId="2147482711"/>
            <ac:grpSpMk id="105" creationId="{3B184672-A05A-D2CD-C08C-AC001F787E22}"/>
          </ac:grpSpMkLst>
        </pc:grpChg>
        <pc:grpChg chg="mod">
          <ac:chgData name="S Vignesh" userId="4cdfbe3e-ecf0-4e37-8a2e-2e2c44064d45" providerId="ADAL" clId="{9BDFAE3E-529F-42D6-8B65-25B5E3EA0121}" dt="2024-07-23T09:17:07.209" v="417" actId="165"/>
          <ac:grpSpMkLst>
            <pc:docMk/>
            <pc:sldMk cId="3542391616" sldId="2147482711"/>
            <ac:grpSpMk id="109" creationId="{F970E804-B979-A8AC-9504-D8410857B23A}"/>
          </ac:grpSpMkLst>
        </pc:grpChg>
        <pc:picChg chg="add del mod">
          <ac:chgData name="S Vignesh" userId="4cdfbe3e-ecf0-4e37-8a2e-2e2c44064d45" providerId="ADAL" clId="{9BDFAE3E-529F-42D6-8B65-25B5E3EA0121}" dt="2024-07-23T09:27:51.622" v="641" actId="478"/>
          <ac:picMkLst>
            <pc:docMk/>
            <pc:sldMk cId="3542391616" sldId="2147482711"/>
            <ac:picMk id="10" creationId="{9C391542-D74A-C354-757E-70C447FA99FA}"/>
          </ac:picMkLst>
        </pc:picChg>
        <pc:picChg chg="mod">
          <ac:chgData name="S Vignesh" userId="4cdfbe3e-ecf0-4e37-8a2e-2e2c44064d45" providerId="ADAL" clId="{9BDFAE3E-529F-42D6-8B65-25B5E3EA0121}" dt="2024-07-23T09:23:41.748" v="608"/>
          <ac:picMkLst>
            <pc:docMk/>
            <pc:sldMk cId="3542391616" sldId="2147482711"/>
            <ac:picMk id="22" creationId="{1185EEB6-1B5F-1B9B-53A5-265C3FA21048}"/>
          </ac:picMkLst>
        </pc:picChg>
        <pc:picChg chg="mod">
          <ac:chgData name="S Vignesh" userId="4cdfbe3e-ecf0-4e37-8a2e-2e2c44064d45" providerId="ADAL" clId="{9BDFAE3E-529F-42D6-8B65-25B5E3EA0121}" dt="2024-07-23T09:23:38.787" v="606"/>
          <ac:picMkLst>
            <pc:docMk/>
            <pc:sldMk cId="3542391616" sldId="2147482711"/>
            <ac:picMk id="29" creationId="{32A0A64D-CCB4-84C0-3005-5BC11E3F64B6}"/>
          </ac:picMkLst>
        </pc:picChg>
        <pc:picChg chg="mod ord topLvl">
          <ac:chgData name="S Vignesh" userId="4cdfbe3e-ecf0-4e37-8a2e-2e2c44064d45" providerId="ADAL" clId="{9BDFAE3E-529F-42D6-8B65-25B5E3EA0121}" dt="2024-07-23T09:28:31.771" v="652" actId="1036"/>
          <ac:picMkLst>
            <pc:docMk/>
            <pc:sldMk cId="3542391616" sldId="2147482711"/>
            <ac:picMk id="46" creationId="{FE0AD413-5E05-72A9-B8A8-512708BE1559}"/>
          </ac:picMkLst>
        </pc:picChg>
        <pc:picChg chg="mod ord topLvl">
          <ac:chgData name="S Vignesh" userId="4cdfbe3e-ecf0-4e37-8a2e-2e2c44064d45" providerId="ADAL" clId="{9BDFAE3E-529F-42D6-8B65-25B5E3EA0121}" dt="2024-07-23T09:28:31.771" v="652" actId="1036"/>
          <ac:picMkLst>
            <pc:docMk/>
            <pc:sldMk cId="3542391616" sldId="2147482711"/>
            <ac:picMk id="47" creationId="{567D9250-9F7C-22BF-E2A8-6498B0DEFE23}"/>
          </ac:picMkLst>
        </pc:picChg>
        <pc:picChg chg="del mod topLvl">
          <ac:chgData name="S Vignesh" userId="4cdfbe3e-ecf0-4e37-8a2e-2e2c44064d45" providerId="ADAL" clId="{9BDFAE3E-529F-42D6-8B65-25B5E3EA0121}" dt="2024-07-23T09:28:22.357" v="651" actId="478"/>
          <ac:picMkLst>
            <pc:docMk/>
            <pc:sldMk cId="3542391616" sldId="2147482711"/>
            <ac:picMk id="83" creationId="{08DDDED6-B8CF-1BD1-9469-B18F1627561A}"/>
          </ac:picMkLst>
        </pc:picChg>
        <pc:picChg chg="mod">
          <ac:chgData name="S Vignesh" userId="4cdfbe3e-ecf0-4e37-8a2e-2e2c44064d45" providerId="ADAL" clId="{9BDFAE3E-529F-42D6-8B65-25B5E3EA0121}" dt="2024-07-23T09:17:07.209" v="417" actId="165"/>
          <ac:picMkLst>
            <pc:docMk/>
            <pc:sldMk cId="3542391616" sldId="2147482711"/>
            <ac:picMk id="88" creationId="{E4B19FAC-5D18-307F-FB0F-FEA07B31A4D0}"/>
          </ac:picMkLst>
        </pc:picChg>
        <pc:picChg chg="mod">
          <ac:chgData name="S Vignesh" userId="4cdfbe3e-ecf0-4e37-8a2e-2e2c44064d45" providerId="ADAL" clId="{9BDFAE3E-529F-42D6-8B65-25B5E3EA0121}" dt="2024-07-23T09:17:07.209" v="417" actId="165"/>
          <ac:picMkLst>
            <pc:docMk/>
            <pc:sldMk cId="3542391616" sldId="2147482711"/>
            <ac:picMk id="106" creationId="{3CFE025E-4080-3D0C-E177-307F68D9B651}"/>
          </ac:picMkLst>
        </pc:picChg>
        <pc:picChg chg="mod">
          <ac:chgData name="S Vignesh" userId="4cdfbe3e-ecf0-4e37-8a2e-2e2c44064d45" providerId="ADAL" clId="{9BDFAE3E-529F-42D6-8B65-25B5E3EA0121}" dt="2024-07-23T09:17:07.209" v="417" actId="165"/>
          <ac:picMkLst>
            <pc:docMk/>
            <pc:sldMk cId="3542391616" sldId="2147482711"/>
            <ac:picMk id="110" creationId="{EB80C74D-CFE2-7015-3B68-463B4B31D4FB}"/>
          </ac:picMkLst>
        </pc:picChg>
        <pc:picChg chg="mod topLvl">
          <ac:chgData name="S Vignesh" userId="4cdfbe3e-ecf0-4e37-8a2e-2e2c44064d45" providerId="ADAL" clId="{9BDFAE3E-529F-42D6-8B65-25B5E3EA0121}" dt="2024-07-23T09:23:36.108" v="604"/>
          <ac:picMkLst>
            <pc:docMk/>
            <pc:sldMk cId="3542391616" sldId="2147482711"/>
            <ac:picMk id="115" creationId="{F76FE8A3-4CC7-BB1D-4BA1-3E3A9C0A7C22}"/>
          </ac:picMkLst>
        </pc:picChg>
        <pc:cxnChg chg="mod topLvl">
          <ac:chgData name="S Vignesh" userId="4cdfbe3e-ecf0-4e37-8a2e-2e2c44064d45" providerId="ADAL" clId="{9BDFAE3E-529F-42D6-8B65-25B5E3EA0121}" dt="2024-07-23T09:23:27.227" v="598" actId="165"/>
          <ac:cxnSpMkLst>
            <pc:docMk/>
            <pc:sldMk cId="3542391616" sldId="2147482711"/>
            <ac:cxnSpMk id="45" creationId="{174F9B8B-9502-46A1-6C1A-658D1F0EA7B1}"/>
          </ac:cxnSpMkLst>
        </pc:cxnChg>
        <pc:cxnChg chg="mod topLvl">
          <ac:chgData name="S Vignesh" userId="4cdfbe3e-ecf0-4e37-8a2e-2e2c44064d45" providerId="ADAL" clId="{9BDFAE3E-529F-42D6-8B65-25B5E3EA0121}" dt="2024-07-23T09:23:27.227" v="598" actId="165"/>
          <ac:cxnSpMkLst>
            <pc:docMk/>
            <pc:sldMk cId="3542391616" sldId="2147482711"/>
            <ac:cxnSpMk id="78" creationId="{6F51683F-38BA-D50C-D498-09FF4D830A90}"/>
          </ac:cxnSpMkLst>
        </pc:cxnChg>
        <pc:cxnChg chg="mod topLvl">
          <ac:chgData name="S Vignesh" userId="4cdfbe3e-ecf0-4e37-8a2e-2e2c44064d45" providerId="ADAL" clId="{9BDFAE3E-529F-42D6-8B65-25B5E3EA0121}" dt="2024-07-23T09:23:27.227" v="598" actId="165"/>
          <ac:cxnSpMkLst>
            <pc:docMk/>
            <pc:sldMk cId="3542391616" sldId="2147482711"/>
            <ac:cxnSpMk id="101" creationId="{2C1660AF-E414-DBA7-54FB-0571E53D6FBD}"/>
          </ac:cxnSpMkLst>
        </pc:cxnChg>
      </pc:sldChg>
      <pc:sldChg chg="add del">
        <pc:chgData name="S Vignesh" userId="4cdfbe3e-ecf0-4e37-8a2e-2e2c44064d45" providerId="ADAL" clId="{9BDFAE3E-529F-42D6-8B65-25B5E3EA0121}" dt="2024-07-22T18:29:14.342" v="4"/>
        <pc:sldMkLst>
          <pc:docMk/>
          <pc:sldMk cId="1819228269" sldId="2147482712"/>
        </pc:sldMkLst>
      </pc:sldChg>
      <pc:sldChg chg="addSp delSp modSp add mod ord">
        <pc:chgData name="S Vignesh" userId="4cdfbe3e-ecf0-4e37-8a2e-2e2c44064d45" providerId="ADAL" clId="{9BDFAE3E-529F-42D6-8B65-25B5E3EA0121}" dt="2024-07-23T10:07:13.954" v="973"/>
        <pc:sldMkLst>
          <pc:docMk/>
          <pc:sldMk cId="4233723798" sldId="2147482712"/>
        </pc:sldMkLst>
        <pc:spChg chg="add mod">
          <ac:chgData name="S Vignesh" userId="4cdfbe3e-ecf0-4e37-8a2e-2e2c44064d45" providerId="ADAL" clId="{9BDFAE3E-529F-42D6-8B65-25B5E3EA0121}" dt="2024-07-23T10:07:09.571" v="971" actId="255"/>
          <ac:spMkLst>
            <pc:docMk/>
            <pc:sldMk cId="4233723798" sldId="2147482712"/>
            <ac:spMk id="3" creationId="{4901962A-5460-F8B3-786E-B6156243457D}"/>
          </ac:spMkLst>
        </pc:spChg>
        <pc:spChg chg="mod topLvl">
          <ac:chgData name="S Vignesh" userId="4cdfbe3e-ecf0-4e37-8a2e-2e2c44064d45" providerId="ADAL" clId="{9BDFAE3E-529F-42D6-8B65-25B5E3EA0121}" dt="2024-07-23T10:07:13.954" v="973"/>
          <ac:spMkLst>
            <pc:docMk/>
            <pc:sldMk cId="4233723798" sldId="2147482712"/>
            <ac:spMk id="6" creationId="{D0977085-16B9-DD42-0B2F-2C7C5F96D063}"/>
          </ac:spMkLst>
        </pc:spChg>
        <pc:grpChg chg="add del mod">
          <ac:chgData name="S Vignesh" userId="4cdfbe3e-ecf0-4e37-8a2e-2e2c44064d45" providerId="ADAL" clId="{9BDFAE3E-529F-42D6-8B65-25B5E3EA0121}" dt="2024-07-23T10:06:57.939" v="970" actId="165"/>
          <ac:grpSpMkLst>
            <pc:docMk/>
            <pc:sldMk cId="4233723798" sldId="2147482712"/>
            <ac:grpSpMk id="4" creationId="{8B9768BB-6259-4F07-A010-5FC998E40184}"/>
          </ac:grpSpMkLst>
        </pc:grpChg>
        <pc:graphicFrameChg chg="mod topLvl">
          <ac:chgData name="S Vignesh" userId="4cdfbe3e-ecf0-4e37-8a2e-2e2c44064d45" providerId="ADAL" clId="{9BDFAE3E-529F-42D6-8B65-25B5E3EA0121}" dt="2024-07-23T10:06:57.939" v="970" actId="165"/>
          <ac:graphicFrameMkLst>
            <pc:docMk/>
            <pc:sldMk cId="4233723798" sldId="2147482712"/>
            <ac:graphicFrameMk id="5" creationId="{31FB6A72-4925-67EB-B713-19A526ED01D9}"/>
          </ac:graphicFrameMkLst>
        </pc:graphicFrameChg>
      </pc:sldChg>
      <pc:sldChg chg="add del">
        <pc:chgData name="S Vignesh" userId="4cdfbe3e-ecf0-4e37-8a2e-2e2c44064d45" providerId="ADAL" clId="{9BDFAE3E-529F-42D6-8B65-25B5E3EA0121}" dt="2024-07-22T18:29:14.342" v="4"/>
        <pc:sldMkLst>
          <pc:docMk/>
          <pc:sldMk cId="896676954" sldId="2147482713"/>
        </pc:sldMkLst>
      </pc:sldChg>
      <pc:sldChg chg="addSp delSp modSp add mod ord">
        <pc:chgData name="S Vignesh" userId="4cdfbe3e-ecf0-4e37-8a2e-2e2c44064d45" providerId="ADAL" clId="{9BDFAE3E-529F-42D6-8B65-25B5E3EA0121}" dt="2024-07-23T08:44:07.934" v="236" actId="113"/>
        <pc:sldMkLst>
          <pc:docMk/>
          <pc:sldMk cId="2005261635" sldId="2147482713"/>
        </pc:sldMkLst>
        <pc:spChg chg="add mod">
          <ac:chgData name="S Vignesh" userId="4cdfbe3e-ecf0-4e37-8a2e-2e2c44064d45" providerId="ADAL" clId="{9BDFAE3E-529F-42D6-8B65-25B5E3EA0121}" dt="2024-07-23T08:44:07.934" v="236" actId="113"/>
          <ac:spMkLst>
            <pc:docMk/>
            <pc:sldMk cId="2005261635" sldId="2147482713"/>
            <ac:spMk id="3" creationId="{F846F889-7D85-1AE8-3E4A-4DFA99521B47}"/>
          </ac:spMkLst>
        </pc:spChg>
        <pc:picChg chg="del">
          <ac:chgData name="S Vignesh" userId="4cdfbe3e-ecf0-4e37-8a2e-2e2c44064d45" providerId="ADAL" clId="{9BDFAE3E-529F-42D6-8B65-25B5E3EA0121}" dt="2024-07-23T08:38:52.241" v="141" actId="478"/>
          <ac:picMkLst>
            <pc:docMk/>
            <pc:sldMk cId="2005261635" sldId="2147482713"/>
            <ac:picMk id="9" creationId="{6AB41493-36E8-C706-6ECF-F1F87A477D3E}"/>
          </ac:picMkLst>
        </pc:picChg>
        <pc:picChg chg="mod ord">
          <ac:chgData name="S Vignesh" userId="4cdfbe3e-ecf0-4e37-8a2e-2e2c44064d45" providerId="ADAL" clId="{9BDFAE3E-529F-42D6-8B65-25B5E3EA0121}" dt="2024-07-23T08:39:25.379" v="182" actId="18653"/>
          <ac:picMkLst>
            <pc:docMk/>
            <pc:sldMk cId="2005261635" sldId="2147482713"/>
            <ac:picMk id="15" creationId="{32F28D49-A37B-ED99-8582-029168CD1BA3}"/>
          </ac:picMkLst>
        </pc:picChg>
        <pc:picChg chg="mod">
          <ac:chgData name="S Vignesh" userId="4cdfbe3e-ecf0-4e37-8a2e-2e2c44064d45" providerId="ADAL" clId="{9BDFAE3E-529F-42D6-8B65-25B5E3EA0121}" dt="2024-07-23T08:38:54.381" v="143" actId="1076"/>
          <ac:picMkLst>
            <pc:docMk/>
            <pc:sldMk cId="2005261635" sldId="2147482713"/>
            <ac:picMk id="43" creationId="{B2D44EB7-7753-5423-65B2-8F1FBA68378D}"/>
          </ac:picMkLst>
        </pc:picChg>
      </pc:sldChg>
      <pc:sldChg chg="add del">
        <pc:chgData name="S Vignesh" userId="4cdfbe3e-ecf0-4e37-8a2e-2e2c44064d45" providerId="ADAL" clId="{9BDFAE3E-529F-42D6-8B65-25B5E3EA0121}" dt="2024-07-22T18:29:14.342" v="4"/>
        <pc:sldMkLst>
          <pc:docMk/>
          <pc:sldMk cId="416803166" sldId="2147482714"/>
        </pc:sldMkLst>
      </pc:sldChg>
      <pc:sldChg chg="addSp delSp modSp add mod ord">
        <pc:chgData name="S Vignesh" userId="4cdfbe3e-ecf0-4e37-8a2e-2e2c44064d45" providerId="ADAL" clId="{9BDFAE3E-529F-42D6-8B65-25B5E3EA0121}" dt="2024-07-23T08:44:13.642" v="237"/>
        <pc:sldMkLst>
          <pc:docMk/>
          <pc:sldMk cId="1115414689" sldId="2147482714"/>
        </pc:sldMkLst>
        <pc:spChg chg="mod topLvl">
          <ac:chgData name="S Vignesh" userId="4cdfbe3e-ecf0-4e37-8a2e-2e2c44064d45" providerId="ADAL" clId="{9BDFAE3E-529F-42D6-8B65-25B5E3EA0121}" dt="2024-07-23T08:40:47.903" v="214"/>
          <ac:spMkLst>
            <pc:docMk/>
            <pc:sldMk cId="1115414689" sldId="2147482714"/>
            <ac:spMk id="7" creationId="{DB3B83A1-7EA3-8656-5667-1F61BA03701D}"/>
          </ac:spMkLst>
        </pc:spChg>
        <pc:spChg chg="mod topLvl">
          <ac:chgData name="S Vignesh" userId="4cdfbe3e-ecf0-4e37-8a2e-2e2c44064d45" providerId="ADAL" clId="{9BDFAE3E-529F-42D6-8B65-25B5E3EA0121}" dt="2024-07-23T08:40:44.538" v="213" actId="165"/>
          <ac:spMkLst>
            <pc:docMk/>
            <pc:sldMk cId="1115414689" sldId="2147482714"/>
            <ac:spMk id="8" creationId="{B8599D5C-2AE5-89CA-0875-EF0F2B576AD4}"/>
          </ac:spMkLst>
        </pc:spChg>
        <pc:spChg chg="mod topLvl">
          <ac:chgData name="S Vignesh" userId="4cdfbe3e-ecf0-4e37-8a2e-2e2c44064d45" providerId="ADAL" clId="{9BDFAE3E-529F-42D6-8B65-25B5E3EA0121}" dt="2024-07-23T08:40:44.538" v="213" actId="165"/>
          <ac:spMkLst>
            <pc:docMk/>
            <pc:sldMk cId="1115414689" sldId="2147482714"/>
            <ac:spMk id="13" creationId="{84B100B3-C490-D9AD-D9C5-7E3032BA83D6}"/>
          </ac:spMkLst>
        </pc:spChg>
        <pc:spChg chg="mod topLvl">
          <ac:chgData name="S Vignesh" userId="4cdfbe3e-ecf0-4e37-8a2e-2e2c44064d45" providerId="ADAL" clId="{9BDFAE3E-529F-42D6-8B65-25B5E3EA0121}" dt="2024-07-23T08:40:44.538" v="213" actId="165"/>
          <ac:spMkLst>
            <pc:docMk/>
            <pc:sldMk cId="1115414689" sldId="2147482714"/>
            <ac:spMk id="14" creationId="{E703ED7B-DAAC-333B-122F-4696D4E30E6E}"/>
          </ac:spMkLst>
        </pc:spChg>
        <pc:spChg chg="mod topLvl">
          <ac:chgData name="S Vignesh" userId="4cdfbe3e-ecf0-4e37-8a2e-2e2c44064d45" providerId="ADAL" clId="{9BDFAE3E-529F-42D6-8B65-25B5E3EA0121}" dt="2024-07-23T08:40:44.538" v="213" actId="165"/>
          <ac:spMkLst>
            <pc:docMk/>
            <pc:sldMk cId="1115414689" sldId="2147482714"/>
            <ac:spMk id="16" creationId="{0B769ED9-6C41-0E0E-CCD9-AA309EBBAA7B}"/>
          </ac:spMkLst>
        </pc:spChg>
        <pc:spChg chg="mod topLvl">
          <ac:chgData name="S Vignesh" userId="4cdfbe3e-ecf0-4e37-8a2e-2e2c44064d45" providerId="ADAL" clId="{9BDFAE3E-529F-42D6-8B65-25B5E3EA0121}" dt="2024-07-23T08:40:51.766" v="215"/>
          <ac:spMkLst>
            <pc:docMk/>
            <pc:sldMk cId="1115414689" sldId="2147482714"/>
            <ac:spMk id="33" creationId="{B2C628E5-7562-AF95-41E5-651B58674AE6}"/>
          </ac:spMkLst>
        </pc:spChg>
        <pc:spChg chg="mod">
          <ac:chgData name="S Vignesh" userId="4cdfbe3e-ecf0-4e37-8a2e-2e2c44064d45" providerId="ADAL" clId="{9BDFAE3E-529F-42D6-8B65-25B5E3EA0121}" dt="2024-07-23T08:40:44.538" v="213" actId="165"/>
          <ac:spMkLst>
            <pc:docMk/>
            <pc:sldMk cId="1115414689" sldId="2147482714"/>
            <ac:spMk id="37" creationId="{616A2F35-378C-D82B-8E74-F11754A42540}"/>
          </ac:spMkLst>
        </pc:spChg>
        <pc:spChg chg="mod">
          <ac:chgData name="S Vignesh" userId="4cdfbe3e-ecf0-4e37-8a2e-2e2c44064d45" providerId="ADAL" clId="{9BDFAE3E-529F-42D6-8B65-25B5E3EA0121}" dt="2024-07-23T08:40:44.538" v="213" actId="165"/>
          <ac:spMkLst>
            <pc:docMk/>
            <pc:sldMk cId="1115414689" sldId="2147482714"/>
            <ac:spMk id="38" creationId="{89650483-54E1-EFBE-7F78-5E0FBD63E7B4}"/>
          </ac:spMkLst>
        </pc:spChg>
        <pc:spChg chg="mod">
          <ac:chgData name="S Vignesh" userId="4cdfbe3e-ecf0-4e37-8a2e-2e2c44064d45" providerId="ADAL" clId="{9BDFAE3E-529F-42D6-8B65-25B5E3EA0121}" dt="2024-07-23T08:40:44.538" v="213" actId="165"/>
          <ac:spMkLst>
            <pc:docMk/>
            <pc:sldMk cId="1115414689" sldId="2147482714"/>
            <ac:spMk id="39" creationId="{E3183CFD-5C75-0925-43BA-4DCDF15165C1}"/>
          </ac:spMkLst>
        </pc:spChg>
        <pc:spChg chg="mod">
          <ac:chgData name="S Vignesh" userId="4cdfbe3e-ecf0-4e37-8a2e-2e2c44064d45" providerId="ADAL" clId="{9BDFAE3E-529F-42D6-8B65-25B5E3EA0121}" dt="2024-07-23T08:40:44.538" v="213" actId="165"/>
          <ac:spMkLst>
            <pc:docMk/>
            <pc:sldMk cId="1115414689" sldId="2147482714"/>
            <ac:spMk id="40" creationId="{B380FBB3-4916-55FB-B5C0-07796F5C0503}"/>
          </ac:spMkLst>
        </pc:spChg>
        <pc:spChg chg="add mod">
          <ac:chgData name="S Vignesh" userId="4cdfbe3e-ecf0-4e37-8a2e-2e2c44064d45" providerId="ADAL" clId="{9BDFAE3E-529F-42D6-8B65-25B5E3EA0121}" dt="2024-07-23T08:44:13.642" v="237"/>
          <ac:spMkLst>
            <pc:docMk/>
            <pc:sldMk cId="1115414689" sldId="2147482714"/>
            <ac:spMk id="41" creationId="{C6AF8178-3FDC-B857-739B-DAFF34CE2E81}"/>
          </ac:spMkLst>
        </pc:spChg>
        <pc:grpChg chg="add del mod">
          <ac:chgData name="S Vignesh" userId="4cdfbe3e-ecf0-4e37-8a2e-2e2c44064d45" providerId="ADAL" clId="{9BDFAE3E-529F-42D6-8B65-25B5E3EA0121}" dt="2024-07-23T08:40:44.538" v="213" actId="165"/>
          <ac:grpSpMkLst>
            <pc:docMk/>
            <pc:sldMk cId="1115414689" sldId="2147482714"/>
            <ac:grpSpMk id="5" creationId="{AB4F1CD7-BC3D-D0F5-6DB7-9EF5971B196E}"/>
          </ac:grpSpMkLst>
        </pc:grpChg>
        <pc:grpChg chg="del mod">
          <ac:chgData name="S Vignesh" userId="4cdfbe3e-ecf0-4e37-8a2e-2e2c44064d45" providerId="ADAL" clId="{9BDFAE3E-529F-42D6-8B65-25B5E3EA0121}" dt="2024-07-23T08:40:54.005" v="216" actId="478"/>
          <ac:grpSpMkLst>
            <pc:docMk/>
            <pc:sldMk cId="1115414689" sldId="2147482714"/>
            <ac:grpSpMk id="9" creationId="{9DC299C6-0477-8A04-D244-FA21944FD57F}"/>
          </ac:grpSpMkLst>
        </pc:grpChg>
        <pc:grpChg chg="mod topLvl">
          <ac:chgData name="S Vignesh" userId="4cdfbe3e-ecf0-4e37-8a2e-2e2c44064d45" providerId="ADAL" clId="{9BDFAE3E-529F-42D6-8B65-25B5E3EA0121}" dt="2024-07-23T08:40:44.538" v="213" actId="165"/>
          <ac:grpSpMkLst>
            <pc:docMk/>
            <pc:sldMk cId="1115414689" sldId="2147482714"/>
            <ac:grpSpMk id="10" creationId="{77149F42-6060-9E92-B7DA-0DE67B97482B}"/>
          </ac:grpSpMkLst>
        </pc:grpChg>
        <pc:grpChg chg="mod topLvl">
          <ac:chgData name="S Vignesh" userId="4cdfbe3e-ecf0-4e37-8a2e-2e2c44064d45" providerId="ADAL" clId="{9BDFAE3E-529F-42D6-8B65-25B5E3EA0121}" dt="2024-07-23T08:40:44.538" v="213" actId="165"/>
          <ac:grpSpMkLst>
            <pc:docMk/>
            <pc:sldMk cId="1115414689" sldId="2147482714"/>
            <ac:grpSpMk id="32" creationId="{FF605DE8-EAF5-69AD-6A4C-CA3352F1033B}"/>
          </ac:grpSpMkLst>
        </pc:grpChg>
        <pc:grpChg chg="del mod">
          <ac:chgData name="S Vignesh" userId="4cdfbe3e-ecf0-4e37-8a2e-2e2c44064d45" providerId="ADAL" clId="{9BDFAE3E-529F-42D6-8B65-25B5E3EA0121}" dt="2024-07-23T08:39:37.778" v="185" actId="165"/>
          <ac:grpSpMkLst>
            <pc:docMk/>
            <pc:sldMk cId="1115414689" sldId="2147482714"/>
            <ac:grpSpMk id="34" creationId="{5BAA3F41-7BE5-CDE1-CD0D-33C5CF27B389}"/>
          </ac:grpSpMkLst>
        </pc:grpChg>
        <pc:grpChg chg="mod">
          <ac:chgData name="S Vignesh" userId="4cdfbe3e-ecf0-4e37-8a2e-2e2c44064d45" providerId="ADAL" clId="{9BDFAE3E-529F-42D6-8B65-25B5E3EA0121}" dt="2024-07-23T08:40:44.538" v="213" actId="165"/>
          <ac:grpSpMkLst>
            <pc:docMk/>
            <pc:sldMk cId="1115414689" sldId="2147482714"/>
            <ac:grpSpMk id="35" creationId="{FFC6F382-0156-D0D1-CF1D-3CA31A6DD33C}"/>
          </ac:grpSpMkLst>
        </pc:grpChg>
        <pc:picChg chg="add mod">
          <ac:chgData name="S Vignesh" userId="4cdfbe3e-ecf0-4e37-8a2e-2e2c44064d45" providerId="ADAL" clId="{9BDFAE3E-529F-42D6-8B65-25B5E3EA0121}" dt="2024-07-23T08:39:35.613" v="184"/>
          <ac:picMkLst>
            <pc:docMk/>
            <pc:sldMk cId="1115414689" sldId="2147482714"/>
            <ac:picMk id="3" creationId="{CD445A1C-68B7-8A11-B9B1-AE8CCC8480E9}"/>
          </ac:picMkLst>
        </pc:picChg>
        <pc:picChg chg="add del mod">
          <ac:chgData name="S Vignesh" userId="4cdfbe3e-ecf0-4e37-8a2e-2e2c44064d45" providerId="ADAL" clId="{9BDFAE3E-529F-42D6-8B65-25B5E3EA0121}" dt="2024-07-23T08:39:47.505" v="191" actId="478"/>
          <ac:picMkLst>
            <pc:docMk/>
            <pc:sldMk cId="1115414689" sldId="2147482714"/>
            <ac:picMk id="4" creationId="{DC0F9B52-FC99-4165-D702-2D814068B94A}"/>
          </ac:picMkLst>
        </pc:picChg>
        <pc:picChg chg="del mod topLvl">
          <ac:chgData name="S Vignesh" userId="4cdfbe3e-ecf0-4e37-8a2e-2e2c44064d45" providerId="ADAL" clId="{9BDFAE3E-529F-42D6-8B65-25B5E3EA0121}" dt="2024-07-23T08:40:02.399" v="197" actId="478"/>
          <ac:picMkLst>
            <pc:docMk/>
            <pc:sldMk cId="1115414689" sldId="2147482714"/>
            <ac:picMk id="6" creationId="{16BE8A2E-6960-E126-7E8A-462E2C395260}"/>
          </ac:picMkLst>
        </pc:picChg>
        <pc:picChg chg="mod topLvl">
          <ac:chgData name="S Vignesh" userId="4cdfbe3e-ecf0-4e37-8a2e-2e2c44064d45" providerId="ADAL" clId="{9BDFAE3E-529F-42D6-8B65-25B5E3EA0121}" dt="2024-07-23T08:40:44.538" v="213" actId="165"/>
          <ac:picMkLst>
            <pc:docMk/>
            <pc:sldMk cId="1115414689" sldId="2147482714"/>
            <ac:picMk id="12" creationId="{15C7B150-1E15-77E5-CD65-D5565415E932}"/>
          </ac:picMkLst>
        </pc:picChg>
        <pc:picChg chg="mod topLvl">
          <ac:chgData name="S Vignesh" userId="4cdfbe3e-ecf0-4e37-8a2e-2e2c44064d45" providerId="ADAL" clId="{9BDFAE3E-529F-42D6-8B65-25B5E3EA0121}" dt="2024-07-23T08:39:58.591" v="196" actId="18653"/>
          <ac:picMkLst>
            <pc:docMk/>
            <pc:sldMk cId="1115414689" sldId="2147482714"/>
            <ac:picMk id="17" creationId="{0BEE492C-D03F-FE33-247B-38AE9D533480}"/>
          </ac:picMkLst>
        </pc:picChg>
        <pc:picChg chg="del mod">
          <ac:chgData name="S Vignesh" userId="4cdfbe3e-ecf0-4e37-8a2e-2e2c44064d45" providerId="ADAL" clId="{9BDFAE3E-529F-42D6-8B65-25B5E3EA0121}" dt="2024-07-23T08:40:02.399" v="197" actId="478"/>
          <ac:picMkLst>
            <pc:docMk/>
            <pc:sldMk cId="1115414689" sldId="2147482714"/>
            <ac:picMk id="31" creationId="{F946FA33-D33C-0A4E-018F-C28B9E8181B4}"/>
          </ac:picMkLst>
        </pc:picChg>
        <pc:picChg chg="mod">
          <ac:chgData name="S Vignesh" userId="4cdfbe3e-ecf0-4e37-8a2e-2e2c44064d45" providerId="ADAL" clId="{9BDFAE3E-529F-42D6-8B65-25B5E3EA0121}" dt="2024-07-23T08:40:44.538" v="213" actId="165"/>
          <ac:picMkLst>
            <pc:docMk/>
            <pc:sldMk cId="1115414689" sldId="2147482714"/>
            <ac:picMk id="36" creationId="{BC7D30A6-BE17-0AC1-9EB2-B1B8F1F00AEF}"/>
          </ac:picMkLst>
        </pc:picChg>
      </pc:sldChg>
      <pc:sldChg chg="add del">
        <pc:chgData name="S Vignesh" userId="4cdfbe3e-ecf0-4e37-8a2e-2e2c44064d45" providerId="ADAL" clId="{9BDFAE3E-529F-42D6-8B65-25B5E3EA0121}" dt="2024-07-22T18:29:14.342" v="4"/>
        <pc:sldMkLst>
          <pc:docMk/>
          <pc:sldMk cId="2570998362" sldId="2147482715"/>
        </pc:sldMkLst>
      </pc:sldChg>
      <pc:sldChg chg="addSp delSp modSp add mod ord">
        <pc:chgData name="S Vignesh" userId="4cdfbe3e-ecf0-4e37-8a2e-2e2c44064d45" providerId="ADAL" clId="{9BDFAE3E-529F-42D6-8B65-25B5E3EA0121}" dt="2024-07-23T08:44:16.601" v="238"/>
        <pc:sldMkLst>
          <pc:docMk/>
          <pc:sldMk cId="2761275267" sldId="2147482715"/>
        </pc:sldMkLst>
        <pc:spChg chg="add mod">
          <ac:chgData name="S Vignesh" userId="4cdfbe3e-ecf0-4e37-8a2e-2e2c44064d45" providerId="ADAL" clId="{9BDFAE3E-529F-42D6-8B65-25B5E3EA0121}" dt="2024-07-23T08:41:02.757" v="219"/>
          <ac:spMkLst>
            <pc:docMk/>
            <pc:sldMk cId="2761275267" sldId="2147482715"/>
            <ac:spMk id="5" creationId="{33B8317E-2E68-A99C-DA2F-C6771022871E}"/>
          </ac:spMkLst>
        </pc:spChg>
        <pc:spChg chg="add mod">
          <ac:chgData name="S Vignesh" userId="4cdfbe3e-ecf0-4e37-8a2e-2e2c44064d45" providerId="ADAL" clId="{9BDFAE3E-529F-42D6-8B65-25B5E3EA0121}" dt="2024-07-23T08:40:59.381" v="218"/>
          <ac:spMkLst>
            <pc:docMk/>
            <pc:sldMk cId="2761275267" sldId="2147482715"/>
            <ac:spMk id="6" creationId="{8CE63729-CC2B-16BF-757E-27AF6E94FC66}"/>
          </ac:spMkLst>
        </pc:spChg>
        <pc:spChg chg="del">
          <ac:chgData name="S Vignesh" userId="4cdfbe3e-ecf0-4e37-8a2e-2e2c44064d45" providerId="ADAL" clId="{9BDFAE3E-529F-42D6-8B65-25B5E3EA0121}" dt="2024-07-22T18:33:04.338" v="38" actId="478"/>
          <ac:spMkLst>
            <pc:docMk/>
            <pc:sldMk cId="2761275267" sldId="2147482715"/>
            <ac:spMk id="7" creationId="{429E00B2-6509-F153-2B58-C3CBE507FC86}"/>
          </ac:spMkLst>
        </pc:spChg>
        <pc:spChg chg="mod">
          <ac:chgData name="S Vignesh" userId="4cdfbe3e-ecf0-4e37-8a2e-2e2c44064d45" providerId="ADAL" clId="{9BDFAE3E-529F-42D6-8B65-25B5E3EA0121}" dt="2024-07-23T08:40:59.381" v="218"/>
          <ac:spMkLst>
            <pc:docMk/>
            <pc:sldMk cId="2761275267" sldId="2147482715"/>
            <ac:spMk id="8" creationId="{15BC4530-A505-3671-7242-0611F8ED2CF9}"/>
          </ac:spMkLst>
        </pc:spChg>
        <pc:spChg chg="del">
          <ac:chgData name="S Vignesh" userId="4cdfbe3e-ecf0-4e37-8a2e-2e2c44064d45" providerId="ADAL" clId="{9BDFAE3E-529F-42D6-8B65-25B5E3EA0121}" dt="2024-07-22T18:33:04.338" v="38" actId="478"/>
          <ac:spMkLst>
            <pc:docMk/>
            <pc:sldMk cId="2761275267" sldId="2147482715"/>
            <ac:spMk id="8" creationId="{C837A399-AA7A-1604-B4D2-B8AC84437CC4}"/>
          </ac:spMkLst>
        </pc:spChg>
        <pc:spChg chg="del">
          <ac:chgData name="S Vignesh" userId="4cdfbe3e-ecf0-4e37-8a2e-2e2c44064d45" providerId="ADAL" clId="{9BDFAE3E-529F-42D6-8B65-25B5E3EA0121}" dt="2024-07-22T18:33:04.338" v="38" actId="478"/>
          <ac:spMkLst>
            <pc:docMk/>
            <pc:sldMk cId="2761275267" sldId="2147482715"/>
            <ac:spMk id="10" creationId="{21F4F1D9-4FA1-BD69-D258-0AE30C4B8C96}"/>
          </ac:spMkLst>
        </pc:spChg>
        <pc:spChg chg="mod">
          <ac:chgData name="S Vignesh" userId="4cdfbe3e-ecf0-4e37-8a2e-2e2c44064d45" providerId="ADAL" clId="{9BDFAE3E-529F-42D6-8B65-25B5E3EA0121}" dt="2024-07-23T08:40:59.381" v="218"/>
          <ac:spMkLst>
            <pc:docMk/>
            <pc:sldMk cId="2761275267" sldId="2147482715"/>
            <ac:spMk id="10" creationId="{3CF08833-48B9-2F05-5B33-858ED639BBF6}"/>
          </ac:spMkLst>
        </pc:spChg>
        <pc:spChg chg="add mod">
          <ac:chgData name="S Vignesh" userId="4cdfbe3e-ecf0-4e37-8a2e-2e2c44064d45" providerId="ADAL" clId="{9BDFAE3E-529F-42D6-8B65-25B5E3EA0121}" dt="2024-07-23T08:40:59.381" v="218"/>
          <ac:spMkLst>
            <pc:docMk/>
            <pc:sldMk cId="2761275267" sldId="2147482715"/>
            <ac:spMk id="12" creationId="{3489D622-030E-FC9F-1F93-B28F0A2958DE}"/>
          </ac:spMkLst>
        </pc:spChg>
        <pc:spChg chg="del">
          <ac:chgData name="S Vignesh" userId="4cdfbe3e-ecf0-4e37-8a2e-2e2c44064d45" providerId="ADAL" clId="{9BDFAE3E-529F-42D6-8B65-25B5E3EA0121}" dt="2024-07-22T18:33:04.338" v="38" actId="478"/>
          <ac:spMkLst>
            <pc:docMk/>
            <pc:sldMk cId="2761275267" sldId="2147482715"/>
            <ac:spMk id="12" creationId="{820FB596-9F04-9E74-27C3-0F234421BFAB}"/>
          </ac:spMkLst>
        </pc:spChg>
        <pc:spChg chg="del">
          <ac:chgData name="S Vignesh" userId="4cdfbe3e-ecf0-4e37-8a2e-2e2c44064d45" providerId="ADAL" clId="{9BDFAE3E-529F-42D6-8B65-25B5E3EA0121}" dt="2024-07-22T18:33:04.338" v="38" actId="478"/>
          <ac:spMkLst>
            <pc:docMk/>
            <pc:sldMk cId="2761275267" sldId="2147482715"/>
            <ac:spMk id="13" creationId="{3227C3C3-1C94-48FA-EE16-2DA5AEF843B2}"/>
          </ac:spMkLst>
        </pc:spChg>
        <pc:spChg chg="add mod">
          <ac:chgData name="S Vignesh" userId="4cdfbe3e-ecf0-4e37-8a2e-2e2c44064d45" providerId="ADAL" clId="{9BDFAE3E-529F-42D6-8B65-25B5E3EA0121}" dt="2024-07-23T08:40:59.381" v="218"/>
          <ac:spMkLst>
            <pc:docMk/>
            <pc:sldMk cId="2761275267" sldId="2147482715"/>
            <ac:spMk id="13" creationId="{FADFD520-51B8-D996-83D2-8D0D67FA80DE}"/>
          </ac:spMkLst>
        </pc:spChg>
        <pc:spChg chg="add mod">
          <ac:chgData name="S Vignesh" userId="4cdfbe3e-ecf0-4e37-8a2e-2e2c44064d45" providerId="ADAL" clId="{9BDFAE3E-529F-42D6-8B65-25B5E3EA0121}" dt="2024-07-23T08:40:59.381" v="218"/>
          <ac:spMkLst>
            <pc:docMk/>
            <pc:sldMk cId="2761275267" sldId="2147482715"/>
            <ac:spMk id="14" creationId="{C5A04B1F-3AF2-87FC-60EE-06174719C1F5}"/>
          </ac:spMkLst>
        </pc:spChg>
        <pc:spChg chg="del">
          <ac:chgData name="S Vignesh" userId="4cdfbe3e-ecf0-4e37-8a2e-2e2c44064d45" providerId="ADAL" clId="{9BDFAE3E-529F-42D6-8B65-25B5E3EA0121}" dt="2024-07-22T18:33:04.338" v="38" actId="478"/>
          <ac:spMkLst>
            <pc:docMk/>
            <pc:sldMk cId="2761275267" sldId="2147482715"/>
            <ac:spMk id="16" creationId="{486D42F5-D0C2-F935-47D5-DFEC4DBBFC96}"/>
          </ac:spMkLst>
        </pc:spChg>
        <pc:spChg chg="mod">
          <ac:chgData name="S Vignesh" userId="4cdfbe3e-ecf0-4e37-8a2e-2e2c44064d45" providerId="ADAL" clId="{9BDFAE3E-529F-42D6-8B65-25B5E3EA0121}" dt="2024-07-23T08:40:59.381" v="218"/>
          <ac:spMkLst>
            <pc:docMk/>
            <pc:sldMk cId="2761275267" sldId="2147482715"/>
            <ac:spMk id="35" creationId="{B5C660FA-AF5A-75C7-4A47-3B885500F81D}"/>
          </ac:spMkLst>
        </pc:spChg>
        <pc:spChg chg="mod">
          <ac:chgData name="S Vignesh" userId="4cdfbe3e-ecf0-4e37-8a2e-2e2c44064d45" providerId="ADAL" clId="{9BDFAE3E-529F-42D6-8B65-25B5E3EA0121}" dt="2024-07-23T08:40:59.381" v="218"/>
          <ac:spMkLst>
            <pc:docMk/>
            <pc:sldMk cId="2761275267" sldId="2147482715"/>
            <ac:spMk id="36" creationId="{413F89FE-9E32-2D8F-BD22-63CA5169780C}"/>
          </ac:spMkLst>
        </pc:spChg>
        <pc:spChg chg="add mod">
          <ac:chgData name="S Vignesh" userId="4cdfbe3e-ecf0-4e37-8a2e-2e2c44064d45" providerId="ADAL" clId="{9BDFAE3E-529F-42D6-8B65-25B5E3EA0121}" dt="2024-07-23T08:41:09.479" v="220"/>
          <ac:spMkLst>
            <pc:docMk/>
            <pc:sldMk cId="2761275267" sldId="2147482715"/>
            <ac:spMk id="37" creationId="{47824D11-93F7-7B28-2E48-118A410BD141}"/>
          </ac:spMkLst>
        </pc:spChg>
        <pc:spChg chg="add mod">
          <ac:chgData name="S Vignesh" userId="4cdfbe3e-ecf0-4e37-8a2e-2e2c44064d45" providerId="ADAL" clId="{9BDFAE3E-529F-42D6-8B65-25B5E3EA0121}" dt="2024-07-23T08:44:16.601" v="238"/>
          <ac:spMkLst>
            <pc:docMk/>
            <pc:sldMk cId="2761275267" sldId="2147482715"/>
            <ac:spMk id="38" creationId="{E59A3D14-994D-E0A1-3279-F80A5FA4A2E5}"/>
          </ac:spMkLst>
        </pc:spChg>
        <pc:grpChg chg="add mod">
          <ac:chgData name="S Vignesh" userId="4cdfbe3e-ecf0-4e37-8a2e-2e2c44064d45" providerId="ADAL" clId="{9BDFAE3E-529F-42D6-8B65-25B5E3EA0121}" dt="2024-07-23T08:40:59.381" v="218"/>
          <ac:grpSpMkLst>
            <pc:docMk/>
            <pc:sldMk cId="2761275267" sldId="2147482715"/>
            <ac:grpSpMk id="7" creationId="{9DA5F874-D9CF-D85E-3C84-9BAC9248A188}"/>
          </ac:grpSpMkLst>
        </pc:grpChg>
        <pc:grpChg chg="del mod">
          <ac:chgData name="S Vignesh" userId="4cdfbe3e-ecf0-4e37-8a2e-2e2c44064d45" providerId="ADAL" clId="{9BDFAE3E-529F-42D6-8B65-25B5E3EA0121}" dt="2024-07-23T08:41:12.482" v="221" actId="478"/>
          <ac:grpSpMkLst>
            <pc:docMk/>
            <pc:sldMk cId="2761275267" sldId="2147482715"/>
            <ac:grpSpMk id="15" creationId="{AF1926B2-8387-D551-DC2F-921C42FFC739}"/>
          </ac:grpSpMkLst>
        </pc:grpChg>
        <pc:grpChg chg="add mod">
          <ac:chgData name="S Vignesh" userId="4cdfbe3e-ecf0-4e37-8a2e-2e2c44064d45" providerId="ADAL" clId="{9BDFAE3E-529F-42D6-8B65-25B5E3EA0121}" dt="2024-07-23T08:40:59.381" v="218"/>
          <ac:grpSpMkLst>
            <pc:docMk/>
            <pc:sldMk cId="2761275267" sldId="2147482715"/>
            <ac:grpSpMk id="16" creationId="{95D5315F-C3C3-8CA0-DA0F-4078B796A4E4}"/>
          </ac:grpSpMkLst>
        </pc:grpChg>
        <pc:grpChg chg="mod">
          <ac:chgData name="S Vignesh" userId="4cdfbe3e-ecf0-4e37-8a2e-2e2c44064d45" providerId="ADAL" clId="{9BDFAE3E-529F-42D6-8B65-25B5E3EA0121}" dt="2024-07-23T08:40:59.381" v="218"/>
          <ac:grpSpMkLst>
            <pc:docMk/>
            <pc:sldMk cId="2761275267" sldId="2147482715"/>
            <ac:grpSpMk id="33" creationId="{07C85546-B600-3446-37C2-066D74373E99}"/>
          </ac:grpSpMkLst>
        </pc:grpChg>
        <pc:picChg chg="add del mod">
          <ac:chgData name="S Vignesh" userId="4cdfbe3e-ecf0-4e37-8a2e-2e2c44064d45" providerId="ADAL" clId="{9BDFAE3E-529F-42D6-8B65-25B5E3EA0121}" dt="2024-07-23T08:40:17.938" v="204" actId="478"/>
          <ac:picMkLst>
            <pc:docMk/>
            <pc:sldMk cId="2761275267" sldId="2147482715"/>
            <ac:picMk id="3" creationId="{0027C93C-04E0-61EF-9819-A0706BDEF477}"/>
          </ac:picMkLst>
        </pc:picChg>
        <pc:picChg chg="del">
          <ac:chgData name="S Vignesh" userId="4cdfbe3e-ecf0-4e37-8a2e-2e2c44064d45" providerId="ADAL" clId="{9BDFAE3E-529F-42D6-8B65-25B5E3EA0121}" dt="2024-07-22T18:33:04.338" v="38" actId="478"/>
          <ac:picMkLst>
            <pc:docMk/>
            <pc:sldMk cId="2761275267" sldId="2147482715"/>
            <ac:picMk id="3" creationId="{B655F9BB-6E5F-7755-C465-874A2F7B6D7E}"/>
          </ac:picMkLst>
        </pc:picChg>
        <pc:picChg chg="add mod">
          <ac:chgData name="S Vignesh" userId="4cdfbe3e-ecf0-4e37-8a2e-2e2c44064d45" providerId="ADAL" clId="{9BDFAE3E-529F-42D6-8B65-25B5E3EA0121}" dt="2024-07-23T08:40:09.861" v="199"/>
          <ac:picMkLst>
            <pc:docMk/>
            <pc:sldMk cId="2761275267" sldId="2147482715"/>
            <ac:picMk id="4" creationId="{61BD6B7D-62EC-20D6-511C-51BC85E09F9D}"/>
          </ac:picMkLst>
        </pc:picChg>
        <pc:picChg chg="mod">
          <ac:chgData name="S Vignesh" userId="4cdfbe3e-ecf0-4e37-8a2e-2e2c44064d45" providerId="ADAL" clId="{9BDFAE3E-529F-42D6-8B65-25B5E3EA0121}" dt="2024-07-23T08:40:22.851" v="209" actId="18653"/>
          <ac:picMkLst>
            <pc:docMk/>
            <pc:sldMk cId="2761275267" sldId="2147482715"/>
            <ac:picMk id="9" creationId="{DED833BA-3964-E5C9-9782-DCE520A78FE0}"/>
          </ac:picMkLst>
        </pc:picChg>
        <pc:picChg chg="add mod">
          <ac:chgData name="S Vignesh" userId="4cdfbe3e-ecf0-4e37-8a2e-2e2c44064d45" providerId="ADAL" clId="{9BDFAE3E-529F-42D6-8B65-25B5E3EA0121}" dt="2024-07-23T08:40:59.381" v="218"/>
          <ac:picMkLst>
            <pc:docMk/>
            <pc:sldMk cId="2761275267" sldId="2147482715"/>
            <ac:picMk id="11" creationId="{F6E42FCC-CE47-FCC4-7917-8247492CA7F4}"/>
          </ac:picMkLst>
        </pc:picChg>
        <pc:picChg chg="del">
          <ac:chgData name="S Vignesh" userId="4cdfbe3e-ecf0-4e37-8a2e-2e2c44064d45" providerId="ADAL" clId="{9BDFAE3E-529F-42D6-8B65-25B5E3EA0121}" dt="2024-07-22T18:33:04.338" v="38" actId="478"/>
          <ac:picMkLst>
            <pc:docMk/>
            <pc:sldMk cId="2761275267" sldId="2147482715"/>
            <ac:picMk id="14" creationId="{F2AC6DCD-2F59-BC26-72FB-45D331F1AB6F}"/>
          </ac:picMkLst>
        </pc:picChg>
        <pc:picChg chg="del mod">
          <ac:chgData name="S Vignesh" userId="4cdfbe3e-ecf0-4e37-8a2e-2e2c44064d45" providerId="ADAL" clId="{9BDFAE3E-529F-42D6-8B65-25B5E3EA0121}" dt="2024-07-23T08:40:25.264" v="210" actId="478"/>
          <ac:picMkLst>
            <pc:docMk/>
            <pc:sldMk cId="2761275267" sldId="2147482715"/>
            <ac:picMk id="32" creationId="{74E18A83-3E7A-50C8-A014-3D3DB27B3D45}"/>
          </ac:picMkLst>
        </pc:picChg>
        <pc:picChg chg="mod">
          <ac:chgData name="S Vignesh" userId="4cdfbe3e-ecf0-4e37-8a2e-2e2c44064d45" providerId="ADAL" clId="{9BDFAE3E-529F-42D6-8B65-25B5E3EA0121}" dt="2024-07-23T08:40:59.381" v="218"/>
          <ac:picMkLst>
            <pc:docMk/>
            <pc:sldMk cId="2761275267" sldId="2147482715"/>
            <ac:picMk id="34" creationId="{DAE87F65-0672-87F5-C806-EE97B575DAC5}"/>
          </ac:picMkLst>
        </pc:picChg>
      </pc:sldChg>
      <pc:sldChg chg="add del">
        <pc:chgData name="S Vignesh" userId="4cdfbe3e-ecf0-4e37-8a2e-2e2c44064d45" providerId="ADAL" clId="{9BDFAE3E-529F-42D6-8B65-25B5E3EA0121}" dt="2024-07-22T18:29:14.342" v="4"/>
        <pc:sldMkLst>
          <pc:docMk/>
          <pc:sldMk cId="83877931" sldId="2147482716"/>
        </pc:sldMkLst>
      </pc:sldChg>
      <pc:sldChg chg="add ord">
        <pc:chgData name="S Vignesh" userId="4cdfbe3e-ecf0-4e37-8a2e-2e2c44064d45" providerId="ADAL" clId="{9BDFAE3E-529F-42D6-8B65-25B5E3EA0121}" dt="2024-07-22T18:32:15.436" v="26"/>
        <pc:sldMkLst>
          <pc:docMk/>
          <pc:sldMk cId="1272102133" sldId="2147482716"/>
        </pc:sldMkLst>
      </pc:sldChg>
      <pc:sldChg chg="add del">
        <pc:chgData name="S Vignesh" userId="4cdfbe3e-ecf0-4e37-8a2e-2e2c44064d45" providerId="ADAL" clId="{9BDFAE3E-529F-42D6-8B65-25B5E3EA0121}" dt="2024-07-22T18:29:14.342" v="4"/>
        <pc:sldMkLst>
          <pc:docMk/>
          <pc:sldMk cId="677041671" sldId="2147482717"/>
        </pc:sldMkLst>
      </pc:sldChg>
      <pc:sldChg chg="delSp add mod ord">
        <pc:chgData name="S Vignesh" userId="4cdfbe3e-ecf0-4e37-8a2e-2e2c44064d45" providerId="ADAL" clId="{9BDFAE3E-529F-42D6-8B65-25B5E3EA0121}" dt="2024-07-22T18:33:23.919" v="43" actId="478"/>
        <pc:sldMkLst>
          <pc:docMk/>
          <pc:sldMk cId="3335871969" sldId="2147482717"/>
        </pc:sldMkLst>
        <pc:spChg chg="del">
          <ac:chgData name="S Vignesh" userId="4cdfbe3e-ecf0-4e37-8a2e-2e2c44064d45" providerId="ADAL" clId="{9BDFAE3E-529F-42D6-8B65-25B5E3EA0121}" dt="2024-07-22T18:33:23.919" v="43" actId="478"/>
          <ac:spMkLst>
            <pc:docMk/>
            <pc:sldMk cId="3335871969" sldId="2147482717"/>
            <ac:spMk id="8" creationId="{5F776C73-D6DF-74F9-2BCC-0AAD9E7C05CC}"/>
          </ac:spMkLst>
        </pc:spChg>
        <pc:spChg chg="del">
          <ac:chgData name="S Vignesh" userId="4cdfbe3e-ecf0-4e37-8a2e-2e2c44064d45" providerId="ADAL" clId="{9BDFAE3E-529F-42D6-8B65-25B5E3EA0121}" dt="2024-07-22T18:33:23.919" v="43" actId="478"/>
          <ac:spMkLst>
            <pc:docMk/>
            <pc:sldMk cId="3335871969" sldId="2147482717"/>
            <ac:spMk id="9" creationId="{0C442F2A-C34A-FCD8-A1AB-993A213E44BA}"/>
          </ac:spMkLst>
        </pc:spChg>
      </pc:sldChg>
      <pc:sldChg chg="add del">
        <pc:chgData name="S Vignesh" userId="4cdfbe3e-ecf0-4e37-8a2e-2e2c44064d45" providerId="ADAL" clId="{9BDFAE3E-529F-42D6-8B65-25B5E3EA0121}" dt="2024-07-22T18:31:38.264" v="20"/>
        <pc:sldMkLst>
          <pc:docMk/>
          <pc:sldMk cId="2063913099" sldId="2147482718"/>
        </pc:sldMkLst>
      </pc:sldChg>
      <pc:sldChg chg="addSp delSp modSp mod">
        <pc:chgData name="S Vignesh" userId="4cdfbe3e-ecf0-4e37-8a2e-2e2c44064d45" providerId="ADAL" clId="{9BDFAE3E-529F-42D6-8B65-25B5E3EA0121}" dt="2024-07-26T09:54:26.828" v="1105" actId="242"/>
        <pc:sldMkLst>
          <pc:docMk/>
          <pc:sldMk cId="3511841896" sldId="2147482718"/>
        </pc:sldMkLst>
        <pc:spChg chg="mod">
          <ac:chgData name="S Vignesh" userId="4cdfbe3e-ecf0-4e37-8a2e-2e2c44064d45" providerId="ADAL" clId="{9BDFAE3E-529F-42D6-8B65-25B5E3EA0121}" dt="2024-07-23T09:15:36.024" v="394" actId="403"/>
          <ac:spMkLst>
            <pc:docMk/>
            <pc:sldMk cId="3511841896" sldId="2147482718"/>
            <ac:spMk id="2" creationId="{D26F7DB3-1E34-CC52-11D6-E55E2C53198B}"/>
          </ac:spMkLst>
        </pc:spChg>
        <pc:spChg chg="add mod">
          <ac:chgData name="S Vignesh" userId="4cdfbe3e-ecf0-4e37-8a2e-2e2c44064d45" providerId="ADAL" clId="{9BDFAE3E-529F-42D6-8B65-25B5E3EA0121}" dt="2024-07-23T10:37:14.109" v="1013" actId="14100"/>
          <ac:spMkLst>
            <pc:docMk/>
            <pc:sldMk cId="3511841896" sldId="2147482718"/>
            <ac:spMk id="3" creationId="{607D8D30-1D6E-5C4A-732B-E7C26DB9328A}"/>
          </ac:spMkLst>
        </pc:spChg>
        <pc:spChg chg="del">
          <ac:chgData name="S Vignesh" userId="4cdfbe3e-ecf0-4e37-8a2e-2e2c44064d45" providerId="ADAL" clId="{9BDFAE3E-529F-42D6-8B65-25B5E3EA0121}" dt="2024-07-23T09:07:59.858" v="242" actId="478"/>
          <ac:spMkLst>
            <pc:docMk/>
            <pc:sldMk cId="3511841896" sldId="2147482718"/>
            <ac:spMk id="3" creationId="{AB59576C-F9B7-3818-878F-6D0BECC3EAA2}"/>
          </ac:spMkLst>
        </pc:spChg>
        <pc:spChg chg="del mod">
          <ac:chgData name="S Vignesh" userId="4cdfbe3e-ecf0-4e37-8a2e-2e2c44064d45" providerId="ADAL" clId="{9BDFAE3E-529F-42D6-8B65-25B5E3EA0121}" dt="2024-07-23T09:12:28.989" v="326" actId="478"/>
          <ac:spMkLst>
            <pc:docMk/>
            <pc:sldMk cId="3511841896" sldId="2147482718"/>
            <ac:spMk id="4" creationId="{28D85DBE-C889-4C50-A17C-3264A1FEAFFA}"/>
          </ac:spMkLst>
        </pc:spChg>
        <pc:spChg chg="add del mod">
          <ac:chgData name="S Vignesh" userId="4cdfbe3e-ecf0-4e37-8a2e-2e2c44064d45" providerId="ADAL" clId="{9BDFAE3E-529F-42D6-8B65-25B5E3EA0121}" dt="2024-07-23T09:15:07.794" v="382" actId="478"/>
          <ac:spMkLst>
            <pc:docMk/>
            <pc:sldMk cId="3511841896" sldId="2147482718"/>
            <ac:spMk id="8" creationId="{5DF7D1CB-9A15-BEB5-14D6-BDA91B2658C0}"/>
          </ac:spMkLst>
        </pc:spChg>
        <pc:spChg chg="add del mod">
          <ac:chgData name="S Vignesh" userId="4cdfbe3e-ecf0-4e37-8a2e-2e2c44064d45" providerId="ADAL" clId="{9BDFAE3E-529F-42D6-8B65-25B5E3EA0121}" dt="2024-07-23T09:15:07.794" v="382" actId="478"/>
          <ac:spMkLst>
            <pc:docMk/>
            <pc:sldMk cId="3511841896" sldId="2147482718"/>
            <ac:spMk id="9" creationId="{7DB94441-7611-8A71-69CF-B728A12232C2}"/>
          </ac:spMkLst>
        </pc:spChg>
        <pc:spChg chg="add del mod">
          <ac:chgData name="S Vignesh" userId="4cdfbe3e-ecf0-4e37-8a2e-2e2c44064d45" providerId="ADAL" clId="{9BDFAE3E-529F-42D6-8B65-25B5E3EA0121}" dt="2024-07-23T09:15:07.794" v="382" actId="478"/>
          <ac:spMkLst>
            <pc:docMk/>
            <pc:sldMk cId="3511841896" sldId="2147482718"/>
            <ac:spMk id="10" creationId="{C623179A-10E0-75F2-1978-C519DB8BFAF1}"/>
          </ac:spMkLst>
        </pc:spChg>
        <pc:spChg chg="add del mod">
          <ac:chgData name="S Vignesh" userId="4cdfbe3e-ecf0-4e37-8a2e-2e2c44064d45" providerId="ADAL" clId="{9BDFAE3E-529F-42D6-8B65-25B5E3EA0121}" dt="2024-07-23T09:15:07.794" v="382" actId="478"/>
          <ac:spMkLst>
            <pc:docMk/>
            <pc:sldMk cId="3511841896" sldId="2147482718"/>
            <ac:spMk id="11" creationId="{73024BE7-9DB2-828B-4CD3-9E12892058FC}"/>
          </ac:spMkLst>
        </pc:spChg>
        <pc:spChg chg="add del mod">
          <ac:chgData name="S Vignesh" userId="4cdfbe3e-ecf0-4e37-8a2e-2e2c44064d45" providerId="ADAL" clId="{9BDFAE3E-529F-42D6-8B65-25B5E3EA0121}" dt="2024-07-23T09:15:07.794" v="382" actId="478"/>
          <ac:spMkLst>
            <pc:docMk/>
            <pc:sldMk cId="3511841896" sldId="2147482718"/>
            <ac:spMk id="12" creationId="{9F656E75-AABA-BB22-9D16-1761A4DFD3F7}"/>
          </ac:spMkLst>
        </pc:spChg>
        <pc:spChg chg="add del mod">
          <ac:chgData name="S Vignesh" userId="4cdfbe3e-ecf0-4e37-8a2e-2e2c44064d45" providerId="ADAL" clId="{9BDFAE3E-529F-42D6-8B65-25B5E3EA0121}" dt="2024-07-23T09:15:07.794" v="382" actId="478"/>
          <ac:spMkLst>
            <pc:docMk/>
            <pc:sldMk cId="3511841896" sldId="2147482718"/>
            <ac:spMk id="13" creationId="{3F3C6E55-10D6-4295-C672-926A09563818}"/>
          </ac:spMkLst>
        </pc:spChg>
        <pc:spChg chg="add del mod">
          <ac:chgData name="S Vignesh" userId="4cdfbe3e-ecf0-4e37-8a2e-2e2c44064d45" providerId="ADAL" clId="{9BDFAE3E-529F-42D6-8B65-25B5E3EA0121}" dt="2024-07-23T09:12:31.510" v="327" actId="478"/>
          <ac:spMkLst>
            <pc:docMk/>
            <pc:sldMk cId="3511841896" sldId="2147482718"/>
            <ac:spMk id="15" creationId="{78D894F6-4F52-BDE7-772F-74E2EC3ACF94}"/>
          </ac:spMkLst>
        </pc:spChg>
        <pc:spChg chg="add mod">
          <ac:chgData name="S Vignesh" userId="4cdfbe3e-ecf0-4e37-8a2e-2e2c44064d45" providerId="ADAL" clId="{9BDFAE3E-529F-42D6-8B65-25B5E3EA0121}" dt="2024-07-23T09:14:51.289" v="376"/>
          <ac:spMkLst>
            <pc:docMk/>
            <pc:sldMk cId="3511841896" sldId="2147482718"/>
            <ac:spMk id="16" creationId="{33011701-BF3E-9CEC-6789-AC8BE0255BFE}"/>
          </ac:spMkLst>
        </pc:spChg>
        <pc:spChg chg="add mod">
          <ac:chgData name="S Vignesh" userId="4cdfbe3e-ecf0-4e37-8a2e-2e2c44064d45" providerId="ADAL" clId="{9BDFAE3E-529F-42D6-8B65-25B5E3EA0121}" dt="2024-07-26T09:54:26.828" v="1105" actId="242"/>
          <ac:spMkLst>
            <pc:docMk/>
            <pc:sldMk cId="3511841896" sldId="2147482718"/>
            <ac:spMk id="17" creationId="{4FA1136F-F800-93E6-5039-D3FC8EE47B31}"/>
          </ac:spMkLst>
        </pc:spChg>
        <pc:spChg chg="add mod">
          <ac:chgData name="S Vignesh" userId="4cdfbe3e-ecf0-4e37-8a2e-2e2c44064d45" providerId="ADAL" clId="{9BDFAE3E-529F-42D6-8B65-25B5E3EA0121}" dt="2024-07-23T09:15:04.154" v="381"/>
          <ac:spMkLst>
            <pc:docMk/>
            <pc:sldMk cId="3511841896" sldId="2147482718"/>
            <ac:spMk id="18" creationId="{88BA4325-E395-0B61-92A4-5A78082C7205}"/>
          </ac:spMkLst>
        </pc:spChg>
        <pc:spChg chg="add mod">
          <ac:chgData name="S Vignesh" userId="4cdfbe3e-ecf0-4e37-8a2e-2e2c44064d45" providerId="ADAL" clId="{9BDFAE3E-529F-42D6-8B65-25B5E3EA0121}" dt="2024-07-23T09:14:51.289" v="376"/>
          <ac:spMkLst>
            <pc:docMk/>
            <pc:sldMk cId="3511841896" sldId="2147482718"/>
            <ac:spMk id="19" creationId="{40FDCADC-8F9F-5A37-8323-25F434F63036}"/>
          </ac:spMkLst>
        </pc:spChg>
        <pc:spChg chg="add mod">
          <ac:chgData name="S Vignesh" userId="4cdfbe3e-ecf0-4e37-8a2e-2e2c44064d45" providerId="ADAL" clId="{9BDFAE3E-529F-42D6-8B65-25B5E3EA0121}" dt="2024-07-26T09:54:26.828" v="1105" actId="242"/>
          <ac:spMkLst>
            <pc:docMk/>
            <pc:sldMk cId="3511841896" sldId="2147482718"/>
            <ac:spMk id="20" creationId="{474B838F-AB10-933A-EB50-6F3790089778}"/>
          </ac:spMkLst>
        </pc:spChg>
        <pc:spChg chg="add mod">
          <ac:chgData name="S Vignesh" userId="4cdfbe3e-ecf0-4e37-8a2e-2e2c44064d45" providerId="ADAL" clId="{9BDFAE3E-529F-42D6-8B65-25B5E3EA0121}" dt="2024-07-23T09:14:58.214" v="380" actId="139"/>
          <ac:spMkLst>
            <pc:docMk/>
            <pc:sldMk cId="3511841896" sldId="2147482718"/>
            <ac:spMk id="21" creationId="{489D66E0-C8C1-CEAA-4095-1377BF4EAA17}"/>
          </ac:spMkLst>
        </pc:spChg>
        <pc:grpChg chg="add del mod">
          <ac:chgData name="S Vignesh" userId="4cdfbe3e-ecf0-4e37-8a2e-2e2c44064d45" providerId="ADAL" clId="{9BDFAE3E-529F-42D6-8B65-25B5E3EA0121}" dt="2024-07-23T09:16:09.959" v="409" actId="165"/>
          <ac:grpSpMkLst>
            <pc:docMk/>
            <pc:sldMk cId="3511841896" sldId="2147482718"/>
            <ac:grpSpMk id="6" creationId="{0B0EA170-DBDE-20F5-433C-40AA8321831C}"/>
          </ac:grpSpMkLst>
        </pc:grpChg>
        <pc:picChg chg="add mod topLvl">
          <ac:chgData name="S Vignesh" userId="4cdfbe3e-ecf0-4e37-8a2e-2e2c44064d45" providerId="ADAL" clId="{9BDFAE3E-529F-42D6-8B65-25B5E3EA0121}" dt="2024-07-23T10:37:30.819" v="1022" actId="1076"/>
          <ac:picMkLst>
            <pc:docMk/>
            <pc:sldMk cId="3511841896" sldId="2147482718"/>
            <ac:picMk id="5" creationId="{F03F505D-962D-CEB7-E4E2-AC8EF42A917D}"/>
          </ac:picMkLst>
        </pc:picChg>
        <pc:picChg chg="mod ord topLvl">
          <ac:chgData name="S Vignesh" userId="4cdfbe3e-ecf0-4e37-8a2e-2e2c44064d45" providerId="ADAL" clId="{9BDFAE3E-529F-42D6-8B65-25B5E3EA0121}" dt="2024-07-23T09:16:09.959" v="409" actId="165"/>
          <ac:picMkLst>
            <pc:docMk/>
            <pc:sldMk cId="3511841896" sldId="2147482718"/>
            <ac:picMk id="7" creationId="{45D4D0E7-37FC-15F9-1FD3-A301EE224A4C}"/>
          </ac:picMkLst>
        </pc:picChg>
      </pc:sldChg>
      <pc:sldChg chg="addSp delSp modSp mod">
        <pc:chgData name="S Vignesh" userId="4cdfbe3e-ecf0-4e37-8a2e-2e2c44064d45" providerId="ADAL" clId="{9BDFAE3E-529F-42D6-8B65-25B5E3EA0121}" dt="2024-07-26T09:54:20.855" v="1104" actId="242"/>
        <pc:sldMkLst>
          <pc:docMk/>
          <pc:sldMk cId="514153652" sldId="2147482719"/>
        </pc:sldMkLst>
        <pc:spChg chg="del">
          <ac:chgData name="S Vignesh" userId="4cdfbe3e-ecf0-4e37-8a2e-2e2c44064d45" providerId="ADAL" clId="{9BDFAE3E-529F-42D6-8B65-25B5E3EA0121}" dt="2024-07-23T09:12:51.810" v="329" actId="478"/>
          <ac:spMkLst>
            <pc:docMk/>
            <pc:sldMk cId="514153652" sldId="2147482719"/>
            <ac:spMk id="3" creationId="{7F4B2562-9224-AF5E-339A-6EE18F43D4E4}"/>
          </ac:spMkLst>
        </pc:spChg>
        <pc:spChg chg="add mod">
          <ac:chgData name="S Vignesh" userId="4cdfbe3e-ecf0-4e37-8a2e-2e2c44064d45" providerId="ADAL" clId="{9BDFAE3E-529F-42D6-8B65-25B5E3EA0121}" dt="2024-07-23T12:11:46.830" v="1086"/>
          <ac:spMkLst>
            <pc:docMk/>
            <pc:sldMk cId="514153652" sldId="2147482719"/>
            <ac:spMk id="3" creationId="{95246656-3AAA-D904-0E70-1EA92209A9EA}"/>
          </ac:spMkLst>
        </pc:spChg>
        <pc:spChg chg="del mod">
          <ac:chgData name="S Vignesh" userId="4cdfbe3e-ecf0-4e37-8a2e-2e2c44064d45" providerId="ADAL" clId="{9BDFAE3E-529F-42D6-8B65-25B5E3EA0121}" dt="2024-07-23T09:13:36.263" v="339" actId="478"/>
          <ac:spMkLst>
            <pc:docMk/>
            <pc:sldMk cId="514153652" sldId="2147482719"/>
            <ac:spMk id="4" creationId="{2BAB6622-2E13-C9E9-894A-79155C63BEDC}"/>
          </ac:spMkLst>
        </pc:spChg>
        <pc:spChg chg="add del mod">
          <ac:chgData name="S Vignesh" userId="4cdfbe3e-ecf0-4e37-8a2e-2e2c44064d45" providerId="ADAL" clId="{9BDFAE3E-529F-42D6-8B65-25B5E3EA0121}" dt="2024-07-23T10:37:23.506" v="1020" actId="478"/>
          <ac:spMkLst>
            <pc:docMk/>
            <pc:sldMk cId="514153652" sldId="2147482719"/>
            <ac:spMk id="4" creationId="{F8D4DE95-0035-CD1E-B1C5-B91DED58F7AA}"/>
          </ac:spMkLst>
        </pc:spChg>
        <pc:spChg chg="add del mod">
          <ac:chgData name="S Vignesh" userId="4cdfbe3e-ecf0-4e37-8a2e-2e2c44064d45" providerId="ADAL" clId="{9BDFAE3E-529F-42D6-8B65-25B5E3EA0121}" dt="2024-07-23T12:11:48.772" v="1087" actId="478"/>
          <ac:spMkLst>
            <pc:docMk/>
            <pc:sldMk cId="514153652" sldId="2147482719"/>
            <ac:spMk id="6" creationId="{719021B7-3B35-7B56-66EE-6CD61CC715A4}"/>
          </ac:spMkLst>
        </pc:spChg>
        <pc:spChg chg="add mod">
          <ac:chgData name="S Vignesh" userId="4cdfbe3e-ecf0-4e37-8a2e-2e2c44064d45" providerId="ADAL" clId="{9BDFAE3E-529F-42D6-8B65-25B5E3EA0121}" dt="2024-07-23T09:12:52.209" v="330"/>
          <ac:spMkLst>
            <pc:docMk/>
            <pc:sldMk cId="514153652" sldId="2147482719"/>
            <ac:spMk id="9" creationId="{043A14DA-CA39-7230-86EA-20816607E7E0}"/>
          </ac:spMkLst>
        </pc:spChg>
        <pc:spChg chg="add mod">
          <ac:chgData name="S Vignesh" userId="4cdfbe3e-ecf0-4e37-8a2e-2e2c44064d45" providerId="ADAL" clId="{9BDFAE3E-529F-42D6-8B65-25B5E3EA0121}" dt="2024-07-26T09:54:20.855" v="1104" actId="242"/>
          <ac:spMkLst>
            <pc:docMk/>
            <pc:sldMk cId="514153652" sldId="2147482719"/>
            <ac:spMk id="10" creationId="{A45269D5-A14A-E0C1-4E00-680E260BA11A}"/>
          </ac:spMkLst>
        </pc:spChg>
        <pc:spChg chg="add mod">
          <ac:chgData name="S Vignesh" userId="4cdfbe3e-ecf0-4e37-8a2e-2e2c44064d45" providerId="ADAL" clId="{9BDFAE3E-529F-42D6-8B65-25B5E3EA0121}" dt="2024-07-23T09:12:59.106" v="331"/>
          <ac:spMkLst>
            <pc:docMk/>
            <pc:sldMk cId="514153652" sldId="2147482719"/>
            <ac:spMk id="11" creationId="{2FC9D37D-D228-5208-76A4-AB0224B376AA}"/>
          </ac:spMkLst>
        </pc:spChg>
        <pc:spChg chg="add mod">
          <ac:chgData name="S Vignesh" userId="4cdfbe3e-ecf0-4e37-8a2e-2e2c44064d45" providerId="ADAL" clId="{9BDFAE3E-529F-42D6-8B65-25B5E3EA0121}" dt="2024-07-23T09:13:33.283" v="338" actId="1076"/>
          <ac:spMkLst>
            <pc:docMk/>
            <pc:sldMk cId="514153652" sldId="2147482719"/>
            <ac:spMk id="12" creationId="{F624FB92-BA93-144D-15BF-7B5B718F0C25}"/>
          </ac:spMkLst>
        </pc:spChg>
        <pc:spChg chg="add mod">
          <ac:chgData name="S Vignesh" userId="4cdfbe3e-ecf0-4e37-8a2e-2e2c44064d45" providerId="ADAL" clId="{9BDFAE3E-529F-42D6-8B65-25B5E3EA0121}" dt="2024-07-26T09:54:20.855" v="1104" actId="242"/>
          <ac:spMkLst>
            <pc:docMk/>
            <pc:sldMk cId="514153652" sldId="2147482719"/>
            <ac:spMk id="13" creationId="{1F19B808-FD99-7EC5-9E6F-CA6607B71916}"/>
          </ac:spMkLst>
        </pc:spChg>
        <pc:spChg chg="add mod">
          <ac:chgData name="S Vignesh" userId="4cdfbe3e-ecf0-4e37-8a2e-2e2c44064d45" providerId="ADAL" clId="{9BDFAE3E-529F-42D6-8B65-25B5E3EA0121}" dt="2024-07-23T09:13:33.283" v="338" actId="1076"/>
          <ac:spMkLst>
            <pc:docMk/>
            <pc:sldMk cId="514153652" sldId="2147482719"/>
            <ac:spMk id="14" creationId="{FDC99662-A3EA-020B-0C07-5E0437692BA4}"/>
          </ac:spMkLst>
        </pc:spChg>
        <pc:spChg chg="add del mod">
          <ac:chgData name="S Vignesh" userId="4cdfbe3e-ecf0-4e37-8a2e-2e2c44064d45" providerId="ADAL" clId="{9BDFAE3E-529F-42D6-8B65-25B5E3EA0121}" dt="2024-07-23T09:13:38.422" v="340" actId="478"/>
          <ac:spMkLst>
            <pc:docMk/>
            <pc:sldMk cId="514153652" sldId="2147482719"/>
            <ac:spMk id="16" creationId="{6678187A-4234-557D-83F9-50DAA659FFA9}"/>
          </ac:spMkLst>
        </pc:spChg>
        <pc:grpChg chg="add del mod">
          <ac:chgData name="S Vignesh" userId="4cdfbe3e-ecf0-4e37-8a2e-2e2c44064d45" providerId="ADAL" clId="{9BDFAE3E-529F-42D6-8B65-25B5E3EA0121}" dt="2024-07-23T09:14:09.416" v="341" actId="165"/>
          <ac:grpSpMkLst>
            <pc:docMk/>
            <pc:sldMk cId="514153652" sldId="2147482719"/>
            <ac:grpSpMk id="6" creationId="{896BC482-7739-BA1A-A155-3BC28219F82A}"/>
          </ac:grpSpMkLst>
        </pc:grpChg>
        <pc:picChg chg="mod">
          <ac:chgData name="S Vignesh" userId="4cdfbe3e-ecf0-4e37-8a2e-2e2c44064d45" providerId="ADAL" clId="{9BDFAE3E-529F-42D6-8B65-25B5E3EA0121}" dt="2024-07-23T09:16:19.889" v="414" actId="18653"/>
          <ac:picMkLst>
            <pc:docMk/>
            <pc:sldMk cId="514153652" sldId="2147482719"/>
            <ac:picMk id="5" creationId="{C21C5009-DC44-AD7F-F94A-8F3D97E7F01A}"/>
          </ac:picMkLst>
        </pc:picChg>
        <pc:picChg chg="mod topLvl">
          <ac:chgData name="S Vignesh" userId="4cdfbe3e-ecf0-4e37-8a2e-2e2c44064d45" providerId="ADAL" clId="{9BDFAE3E-529F-42D6-8B65-25B5E3EA0121}" dt="2024-07-23T09:14:09.416" v="341" actId="165"/>
          <ac:picMkLst>
            <pc:docMk/>
            <pc:sldMk cId="514153652" sldId="2147482719"/>
            <ac:picMk id="7" creationId="{2D3B0431-38D8-CAE7-9256-65F6E4D5648A}"/>
          </ac:picMkLst>
        </pc:picChg>
        <pc:picChg chg="del mod topLvl">
          <ac:chgData name="S Vignesh" userId="4cdfbe3e-ecf0-4e37-8a2e-2e2c44064d45" providerId="ADAL" clId="{9BDFAE3E-529F-42D6-8B65-25B5E3EA0121}" dt="2024-07-23T09:14:20.275" v="352" actId="478"/>
          <ac:picMkLst>
            <pc:docMk/>
            <pc:sldMk cId="514153652" sldId="2147482719"/>
            <ac:picMk id="8" creationId="{51E7435B-B82E-8334-A67F-27C1A878CEA6}"/>
          </ac:picMkLst>
        </pc:picChg>
        <pc:picChg chg="add del mod">
          <ac:chgData name="S Vignesh" userId="4cdfbe3e-ecf0-4e37-8a2e-2e2c44064d45" providerId="ADAL" clId="{9BDFAE3E-529F-42D6-8B65-25B5E3EA0121}" dt="2024-07-23T09:16:22.900" v="415" actId="478"/>
          <ac:picMkLst>
            <pc:docMk/>
            <pc:sldMk cId="514153652" sldId="2147482719"/>
            <ac:picMk id="17" creationId="{6581ED9D-7879-DE93-6B1D-54C43B7A2224}"/>
          </ac:picMkLst>
        </pc:picChg>
      </pc:sldChg>
      <pc:sldChg chg="add del">
        <pc:chgData name="S Vignesh" userId="4cdfbe3e-ecf0-4e37-8a2e-2e2c44064d45" providerId="ADAL" clId="{9BDFAE3E-529F-42D6-8B65-25B5E3EA0121}" dt="2024-07-22T18:31:38.264" v="20"/>
        <pc:sldMkLst>
          <pc:docMk/>
          <pc:sldMk cId="2826623219" sldId="2147482719"/>
        </pc:sldMkLst>
      </pc:sldChg>
      <pc:sldChg chg="add del">
        <pc:chgData name="S Vignesh" userId="4cdfbe3e-ecf0-4e37-8a2e-2e2c44064d45" providerId="ADAL" clId="{9BDFAE3E-529F-42D6-8B65-25B5E3EA0121}" dt="2024-07-22T18:31:38.264" v="20"/>
        <pc:sldMkLst>
          <pc:docMk/>
          <pc:sldMk cId="500724125" sldId="2147482720"/>
        </pc:sldMkLst>
      </pc:sldChg>
      <pc:sldChg chg="addSp delSp modSp mod modClrScheme modCm chgLayout">
        <pc:chgData name="S Vignesh" userId="4cdfbe3e-ecf0-4e37-8a2e-2e2c44064d45" providerId="ADAL" clId="{9BDFAE3E-529F-42D6-8B65-25B5E3EA0121}" dt="2024-07-23T10:38:52.685" v="1062" actId="18653"/>
        <pc:sldMkLst>
          <pc:docMk/>
          <pc:sldMk cId="769217906" sldId="2147482720"/>
        </pc:sldMkLst>
        <pc:spChg chg="del mod ord">
          <ac:chgData name="S Vignesh" userId="4cdfbe3e-ecf0-4e37-8a2e-2e2c44064d45" providerId="ADAL" clId="{9BDFAE3E-529F-42D6-8B65-25B5E3EA0121}" dt="2024-07-23T10:10:15.014" v="1006" actId="700"/>
          <ac:spMkLst>
            <pc:docMk/>
            <pc:sldMk cId="769217906" sldId="2147482720"/>
            <ac:spMk id="2" creationId="{E23FF904-5603-5E1F-69C9-73BDCD7FB8EE}"/>
          </ac:spMkLst>
        </pc:spChg>
        <pc:spChg chg="del mod ord">
          <ac:chgData name="S Vignesh" userId="4cdfbe3e-ecf0-4e37-8a2e-2e2c44064d45" providerId="ADAL" clId="{9BDFAE3E-529F-42D6-8B65-25B5E3EA0121}" dt="2024-07-23T10:10:15.014" v="1006" actId="700"/>
          <ac:spMkLst>
            <pc:docMk/>
            <pc:sldMk cId="769217906" sldId="2147482720"/>
            <ac:spMk id="3" creationId="{895BFBB7-8A74-5727-5A30-22868C8EA07E}"/>
          </ac:spMkLst>
        </pc:spChg>
        <pc:spChg chg="del mod ord">
          <ac:chgData name="S Vignesh" userId="4cdfbe3e-ecf0-4e37-8a2e-2e2c44064d45" providerId="ADAL" clId="{9BDFAE3E-529F-42D6-8B65-25B5E3EA0121}" dt="2024-07-23T10:10:15.014" v="1006" actId="700"/>
          <ac:spMkLst>
            <pc:docMk/>
            <pc:sldMk cId="769217906" sldId="2147482720"/>
            <ac:spMk id="4" creationId="{1AAEBAC4-7809-1CDE-09C0-5F867493E8CF}"/>
          </ac:spMkLst>
        </pc:spChg>
        <pc:spChg chg="add mod">
          <ac:chgData name="S Vignesh" userId="4cdfbe3e-ecf0-4e37-8a2e-2e2c44064d45" providerId="ADAL" clId="{9BDFAE3E-529F-42D6-8B65-25B5E3EA0121}" dt="2024-07-23T10:10:28.946" v="1009"/>
          <ac:spMkLst>
            <pc:docMk/>
            <pc:sldMk cId="769217906" sldId="2147482720"/>
            <ac:spMk id="5" creationId="{C806914B-69EC-B10C-3D04-7DFD40E75D17}"/>
          </ac:spMkLst>
        </pc:spChg>
        <pc:spChg chg="add del mod ord">
          <ac:chgData name="S Vignesh" userId="4cdfbe3e-ecf0-4e37-8a2e-2e2c44064d45" providerId="ADAL" clId="{9BDFAE3E-529F-42D6-8B65-25B5E3EA0121}" dt="2024-07-23T10:37:45.249" v="1027" actId="478"/>
          <ac:spMkLst>
            <pc:docMk/>
            <pc:sldMk cId="769217906" sldId="2147482720"/>
            <ac:spMk id="6" creationId="{F92C5898-2F3D-1AE5-84C2-6BA08CEF3C0F}"/>
          </ac:spMkLst>
        </pc:spChg>
        <pc:spChg chg="add del mod ord">
          <ac:chgData name="S Vignesh" userId="4cdfbe3e-ecf0-4e37-8a2e-2e2c44064d45" providerId="ADAL" clId="{9BDFAE3E-529F-42D6-8B65-25B5E3EA0121}" dt="2024-07-23T10:37:45.249" v="1027" actId="478"/>
          <ac:spMkLst>
            <pc:docMk/>
            <pc:sldMk cId="769217906" sldId="2147482720"/>
            <ac:spMk id="7" creationId="{5C36DE53-600F-C5C5-4C41-4693532E45DD}"/>
          </ac:spMkLst>
        </pc:spChg>
        <pc:spChg chg="add del mod ord">
          <ac:chgData name="S Vignesh" userId="4cdfbe3e-ecf0-4e37-8a2e-2e2c44064d45" providerId="ADAL" clId="{9BDFAE3E-529F-42D6-8B65-25B5E3EA0121}" dt="2024-07-23T10:37:45.249" v="1027" actId="478"/>
          <ac:spMkLst>
            <pc:docMk/>
            <pc:sldMk cId="769217906" sldId="2147482720"/>
            <ac:spMk id="8" creationId="{7E73B554-5166-5ECC-8446-97415744001D}"/>
          </ac:spMkLst>
        </pc:spChg>
        <pc:spChg chg="mod topLvl">
          <ac:chgData name="S Vignesh" userId="4cdfbe3e-ecf0-4e37-8a2e-2e2c44064d45" providerId="ADAL" clId="{9BDFAE3E-529F-42D6-8B65-25B5E3EA0121}" dt="2024-07-23T10:38:44.871" v="1060" actId="14100"/>
          <ac:spMkLst>
            <pc:docMk/>
            <pc:sldMk cId="769217906" sldId="2147482720"/>
            <ac:spMk id="11" creationId="{B1B58254-0849-5E1B-A1D4-D4DF9A751654}"/>
          </ac:spMkLst>
        </pc:spChg>
        <pc:grpChg chg="add del mod ord">
          <ac:chgData name="S Vignesh" userId="4cdfbe3e-ecf0-4e37-8a2e-2e2c44064d45" providerId="ADAL" clId="{9BDFAE3E-529F-42D6-8B65-25B5E3EA0121}" dt="2024-07-23T10:38:23.540" v="1057" actId="165"/>
          <ac:grpSpMkLst>
            <pc:docMk/>
            <pc:sldMk cId="769217906" sldId="2147482720"/>
            <ac:grpSpMk id="12" creationId="{1E197DDE-545E-B44A-7447-E0EC40AB055D}"/>
          </ac:grpSpMkLst>
        </pc:grpChg>
        <pc:picChg chg="mod topLvl">
          <ac:chgData name="S Vignesh" userId="4cdfbe3e-ecf0-4e37-8a2e-2e2c44064d45" providerId="ADAL" clId="{9BDFAE3E-529F-42D6-8B65-25B5E3EA0121}" dt="2024-07-23T10:38:52.685" v="1062" actId="18653"/>
          <ac:picMkLst>
            <pc:docMk/>
            <pc:sldMk cId="769217906" sldId="2147482720"/>
            <ac:picMk id="9" creationId="{D3059771-BBF2-CA4F-C50D-84F37258B5CE}"/>
          </ac:picMkLst>
        </pc:picChg>
        <pc:picChg chg="add mod">
          <ac:chgData name="S Vignesh" userId="4cdfbe3e-ecf0-4e37-8a2e-2e2c44064d45" providerId="ADAL" clId="{9BDFAE3E-529F-42D6-8B65-25B5E3EA0121}" dt="2024-07-23T10:38:03.571" v="1039" actId="1076"/>
          <ac:picMkLst>
            <pc:docMk/>
            <pc:sldMk cId="769217906" sldId="2147482720"/>
            <ac:picMk id="10" creationId="{0A9FB6D1-A959-244E-85F6-5C6861F61027}"/>
          </ac:picMkLst>
        </pc:picChg>
        <pc:extLst>
          <p:ext xmlns:p="http://schemas.openxmlformats.org/presentationml/2006/main" uri="{D6D511B9-2390-475A-947B-AFAB55BFBCF1}">
            <pc226:cmChg xmlns:pc226="http://schemas.microsoft.com/office/powerpoint/2022/06/main/command" chg="mod">
              <pc226:chgData name="S Vignesh" userId="4cdfbe3e-ecf0-4e37-8a2e-2e2c44064d45" providerId="ADAL" clId="{9BDFAE3E-529F-42D6-8B65-25B5E3EA0121}" dt="2024-07-23T10:10:15.037" v="1007" actId="2056"/>
              <pc2:cmMkLst xmlns:pc2="http://schemas.microsoft.com/office/powerpoint/2019/9/main/command">
                <pc:docMk/>
                <pc:sldMk cId="769217906" sldId="2147482720"/>
                <pc2:cmMk id="{999AB37E-4C4F-4019-9488-C494DDA3FE63}"/>
              </pc2:cmMkLst>
            </pc226:cmChg>
          </p:ext>
        </pc:extLst>
      </pc:sldChg>
      <pc:sldChg chg="add del">
        <pc:chgData name="S Vignesh" userId="4cdfbe3e-ecf0-4e37-8a2e-2e2c44064d45" providerId="ADAL" clId="{9BDFAE3E-529F-42D6-8B65-25B5E3EA0121}" dt="2024-07-22T18:31:38.264" v="20"/>
        <pc:sldMkLst>
          <pc:docMk/>
          <pc:sldMk cId="119025300" sldId="2147482721"/>
        </pc:sldMkLst>
      </pc:sldChg>
      <pc:sldChg chg="addSp delSp modSp mod modClrScheme chgLayout">
        <pc:chgData name="S Vignesh" userId="4cdfbe3e-ecf0-4e37-8a2e-2e2c44064d45" providerId="ADAL" clId="{9BDFAE3E-529F-42D6-8B65-25B5E3EA0121}" dt="2024-07-23T10:39:16.599" v="1080" actId="18653"/>
        <pc:sldMkLst>
          <pc:docMk/>
          <pc:sldMk cId="3231079088" sldId="2147482721"/>
        </pc:sldMkLst>
        <pc:spChg chg="del mod ord">
          <ac:chgData name="S Vignesh" userId="4cdfbe3e-ecf0-4e37-8a2e-2e2c44064d45" providerId="ADAL" clId="{9BDFAE3E-529F-42D6-8B65-25B5E3EA0121}" dt="2024-07-23T10:10:15.014" v="1006" actId="700"/>
          <ac:spMkLst>
            <pc:docMk/>
            <pc:sldMk cId="3231079088" sldId="2147482721"/>
            <ac:spMk id="2" creationId="{FA9EFA4A-28E0-D508-CB08-F7D6C918F79C}"/>
          </ac:spMkLst>
        </pc:spChg>
        <pc:spChg chg="del mod ord">
          <ac:chgData name="S Vignesh" userId="4cdfbe3e-ecf0-4e37-8a2e-2e2c44064d45" providerId="ADAL" clId="{9BDFAE3E-529F-42D6-8B65-25B5E3EA0121}" dt="2024-07-23T10:10:15.014" v="1006" actId="700"/>
          <ac:spMkLst>
            <pc:docMk/>
            <pc:sldMk cId="3231079088" sldId="2147482721"/>
            <ac:spMk id="3" creationId="{69EFD81B-E256-1482-8D0E-4E656626817F}"/>
          </ac:spMkLst>
        </pc:spChg>
        <pc:spChg chg="del mod ord">
          <ac:chgData name="S Vignesh" userId="4cdfbe3e-ecf0-4e37-8a2e-2e2c44064d45" providerId="ADAL" clId="{9BDFAE3E-529F-42D6-8B65-25B5E3EA0121}" dt="2024-07-23T10:10:15.014" v="1006" actId="700"/>
          <ac:spMkLst>
            <pc:docMk/>
            <pc:sldMk cId="3231079088" sldId="2147482721"/>
            <ac:spMk id="4" creationId="{D47C60C8-08E0-3272-7802-7EB1A1D5BC84}"/>
          </ac:spMkLst>
        </pc:spChg>
        <pc:spChg chg="add del mod ord">
          <ac:chgData name="S Vignesh" userId="4cdfbe3e-ecf0-4e37-8a2e-2e2c44064d45" providerId="ADAL" clId="{9BDFAE3E-529F-42D6-8B65-25B5E3EA0121}" dt="2024-07-23T10:37:50.899" v="1028" actId="478"/>
          <ac:spMkLst>
            <pc:docMk/>
            <pc:sldMk cId="3231079088" sldId="2147482721"/>
            <ac:spMk id="5" creationId="{409A73E5-A119-88B0-547E-1539CD255981}"/>
          </ac:spMkLst>
        </pc:spChg>
        <pc:spChg chg="add del mod ord">
          <ac:chgData name="S Vignesh" userId="4cdfbe3e-ecf0-4e37-8a2e-2e2c44064d45" providerId="ADAL" clId="{9BDFAE3E-529F-42D6-8B65-25B5E3EA0121}" dt="2024-07-23T10:37:50.899" v="1028" actId="478"/>
          <ac:spMkLst>
            <pc:docMk/>
            <pc:sldMk cId="3231079088" sldId="2147482721"/>
            <ac:spMk id="6" creationId="{E5B2627C-6795-CDFA-4C47-B64673D527AD}"/>
          </ac:spMkLst>
        </pc:spChg>
        <pc:spChg chg="add del mod ord">
          <ac:chgData name="S Vignesh" userId="4cdfbe3e-ecf0-4e37-8a2e-2e2c44064d45" providerId="ADAL" clId="{9BDFAE3E-529F-42D6-8B65-25B5E3EA0121}" dt="2024-07-23T10:37:50.899" v="1028" actId="478"/>
          <ac:spMkLst>
            <pc:docMk/>
            <pc:sldMk cId="3231079088" sldId="2147482721"/>
            <ac:spMk id="7" creationId="{56E05B79-1C4A-1FDD-D454-17DC17AD2A3C}"/>
          </ac:spMkLst>
        </pc:spChg>
        <pc:spChg chg="add mod">
          <ac:chgData name="S Vignesh" userId="4cdfbe3e-ecf0-4e37-8a2e-2e2c44064d45" providerId="ADAL" clId="{9BDFAE3E-529F-42D6-8B65-25B5E3EA0121}" dt="2024-07-23T10:10:42.195" v="1012"/>
          <ac:spMkLst>
            <pc:docMk/>
            <pc:sldMk cId="3231079088" sldId="2147482721"/>
            <ac:spMk id="8" creationId="{6D1E13B5-133F-6028-AF8B-8828605A75F0}"/>
          </ac:spMkLst>
        </pc:spChg>
        <pc:picChg chg="mod">
          <ac:chgData name="S Vignesh" userId="4cdfbe3e-ecf0-4e37-8a2e-2e2c44064d45" providerId="ADAL" clId="{9BDFAE3E-529F-42D6-8B65-25B5E3EA0121}" dt="2024-07-23T10:39:16.599" v="1080" actId="18653"/>
          <ac:picMkLst>
            <pc:docMk/>
            <pc:sldMk cId="3231079088" sldId="2147482721"/>
            <ac:picMk id="9" creationId="{136B5544-9735-5A3A-B2DB-C7F5DAFCB015}"/>
          </ac:picMkLst>
        </pc:picChg>
        <pc:picChg chg="add mod">
          <ac:chgData name="S Vignesh" userId="4cdfbe3e-ecf0-4e37-8a2e-2e2c44064d45" providerId="ADAL" clId="{9BDFAE3E-529F-42D6-8B65-25B5E3EA0121}" dt="2024-07-23T10:38:58.842" v="1064"/>
          <ac:picMkLst>
            <pc:docMk/>
            <pc:sldMk cId="3231079088" sldId="2147482721"/>
            <ac:picMk id="10" creationId="{ADA4A6D5-D04E-CE07-FCB4-6E156F586F7D}"/>
          </ac:picMkLst>
        </pc:picChg>
        <pc:picChg chg="add del mod">
          <ac:chgData name="S Vignesh" userId="4cdfbe3e-ecf0-4e37-8a2e-2e2c44064d45" providerId="ADAL" clId="{9BDFAE3E-529F-42D6-8B65-25B5E3EA0121}" dt="2024-07-23T10:39:12.706" v="1075" actId="478"/>
          <ac:picMkLst>
            <pc:docMk/>
            <pc:sldMk cId="3231079088" sldId="2147482721"/>
            <ac:picMk id="11" creationId="{2B346F78-D982-E63F-D664-33B6068DD838}"/>
          </ac:picMkLst>
        </pc:picChg>
      </pc:sldChg>
      <pc:sldChg chg="add del">
        <pc:chgData name="S Vignesh" userId="4cdfbe3e-ecf0-4e37-8a2e-2e2c44064d45" providerId="ADAL" clId="{9BDFAE3E-529F-42D6-8B65-25B5E3EA0121}" dt="2024-07-22T18:31:38.264" v="20"/>
        <pc:sldMkLst>
          <pc:docMk/>
          <pc:sldMk cId="1083578317" sldId="2147482722"/>
        </pc:sldMkLst>
      </pc:sldChg>
      <pc:sldChg chg="modSp mod">
        <pc:chgData name="S Vignesh" userId="4cdfbe3e-ecf0-4e37-8a2e-2e2c44064d45" providerId="ADAL" clId="{9BDFAE3E-529F-42D6-8B65-25B5E3EA0121}" dt="2024-07-23T12:12:49.145" v="1089" actId="113"/>
        <pc:sldMkLst>
          <pc:docMk/>
          <pc:sldMk cId="2337706030" sldId="2147482722"/>
        </pc:sldMkLst>
        <pc:spChg chg="mod">
          <ac:chgData name="S Vignesh" userId="4cdfbe3e-ecf0-4e37-8a2e-2e2c44064d45" providerId="ADAL" clId="{9BDFAE3E-529F-42D6-8B65-25B5E3EA0121}" dt="2024-07-23T12:12:49.145" v="1089" actId="113"/>
          <ac:spMkLst>
            <pc:docMk/>
            <pc:sldMk cId="2337706030" sldId="2147482722"/>
            <ac:spMk id="6" creationId="{818AC00A-33C4-E921-1EF5-87E47002F290}"/>
          </ac:spMkLst>
        </pc:spChg>
      </pc:sldChg>
      <pc:sldChg chg="modSp mod">
        <pc:chgData name="S Vignesh" userId="4cdfbe3e-ecf0-4e37-8a2e-2e2c44064d45" providerId="ADAL" clId="{9BDFAE3E-529F-42D6-8B65-25B5E3EA0121}" dt="2024-07-23T12:12:53.116" v="1090" actId="113"/>
        <pc:sldMkLst>
          <pc:docMk/>
          <pc:sldMk cId="360145393" sldId="2147482723"/>
        </pc:sldMkLst>
        <pc:spChg chg="mod">
          <ac:chgData name="S Vignesh" userId="4cdfbe3e-ecf0-4e37-8a2e-2e2c44064d45" providerId="ADAL" clId="{9BDFAE3E-529F-42D6-8B65-25B5E3EA0121}" dt="2024-07-23T12:12:53.116" v="1090" actId="113"/>
          <ac:spMkLst>
            <pc:docMk/>
            <pc:sldMk cId="360145393" sldId="2147482723"/>
            <ac:spMk id="6" creationId="{818AC00A-33C4-E921-1EF5-87E47002F290}"/>
          </ac:spMkLst>
        </pc:spChg>
      </pc:sldChg>
      <pc:sldChg chg="add del">
        <pc:chgData name="S Vignesh" userId="4cdfbe3e-ecf0-4e37-8a2e-2e2c44064d45" providerId="ADAL" clId="{9BDFAE3E-529F-42D6-8B65-25B5E3EA0121}" dt="2024-07-22T18:31:38.264" v="20"/>
        <pc:sldMkLst>
          <pc:docMk/>
          <pc:sldMk cId="1135354903" sldId="2147482723"/>
        </pc:sldMkLst>
      </pc:sldChg>
      <pc:sldChg chg="modSp mod">
        <pc:chgData name="S Vignesh" userId="4cdfbe3e-ecf0-4e37-8a2e-2e2c44064d45" providerId="ADAL" clId="{9BDFAE3E-529F-42D6-8B65-25B5E3EA0121}" dt="2024-07-23T12:12:57.076" v="1091" actId="113"/>
        <pc:sldMkLst>
          <pc:docMk/>
          <pc:sldMk cId="1059015893" sldId="2147482724"/>
        </pc:sldMkLst>
        <pc:spChg chg="mod">
          <ac:chgData name="S Vignesh" userId="4cdfbe3e-ecf0-4e37-8a2e-2e2c44064d45" providerId="ADAL" clId="{9BDFAE3E-529F-42D6-8B65-25B5E3EA0121}" dt="2024-07-23T12:12:57.076" v="1091" actId="113"/>
          <ac:spMkLst>
            <pc:docMk/>
            <pc:sldMk cId="1059015893" sldId="2147482724"/>
            <ac:spMk id="6" creationId="{818AC00A-33C4-E921-1EF5-87E47002F290}"/>
          </ac:spMkLst>
        </pc:spChg>
      </pc:sldChg>
      <pc:sldChg chg="add del">
        <pc:chgData name="S Vignesh" userId="4cdfbe3e-ecf0-4e37-8a2e-2e2c44064d45" providerId="ADAL" clId="{9BDFAE3E-529F-42D6-8B65-25B5E3EA0121}" dt="2024-07-22T18:31:38.264" v="20"/>
        <pc:sldMkLst>
          <pc:docMk/>
          <pc:sldMk cId="1305436682" sldId="2147482724"/>
        </pc:sldMkLst>
      </pc:sldChg>
      <pc:sldChg chg="add del">
        <pc:chgData name="S Vignesh" userId="4cdfbe3e-ecf0-4e37-8a2e-2e2c44064d45" providerId="ADAL" clId="{9BDFAE3E-529F-42D6-8B65-25B5E3EA0121}" dt="2024-07-22T18:31:38.264" v="20"/>
        <pc:sldMkLst>
          <pc:docMk/>
          <pc:sldMk cId="2764229896" sldId="2147482725"/>
        </pc:sldMkLst>
      </pc:sldChg>
      <pc:sldChg chg="add del">
        <pc:chgData name="S Vignesh" userId="4cdfbe3e-ecf0-4e37-8a2e-2e2c44064d45" providerId="ADAL" clId="{9BDFAE3E-529F-42D6-8B65-25B5E3EA0121}" dt="2024-07-22T18:31:38.264" v="20"/>
        <pc:sldMkLst>
          <pc:docMk/>
          <pc:sldMk cId="1298164805" sldId="2147482726"/>
        </pc:sldMkLst>
      </pc:sldChg>
    </pc:docChg>
  </pc:docChgLst>
</pc:chgInfo>
</file>

<file path=ppt/comments/modernComment_7FFFFC56_C480AEE0.xml><?xml version="1.0" encoding="utf-8"?>
<p188:cmLst xmlns:a="http://schemas.openxmlformats.org/drawingml/2006/main" xmlns:r="http://schemas.openxmlformats.org/officeDocument/2006/relationships" xmlns:p188="http://schemas.microsoft.com/office/powerpoint/2018/8/main">
  <p188:cm id="{94F96CC4-27AD-4CF0-AB41-8B1C3DF9D4FD}" authorId="{4A22EFCE-90EF-63F6-E01F-012D4BE4B005}" status="resolved" created="2024-07-23T06:58:16.950" complete="100000">
    <ac:deMkLst xmlns:ac="http://schemas.microsoft.com/office/drawing/2013/main/command">
      <pc:docMk xmlns:pc="http://schemas.microsoft.com/office/powerpoint/2013/main/command"/>
      <pc:sldMk xmlns:pc="http://schemas.microsoft.com/office/powerpoint/2013/main/command" cId="3296767712" sldId="2147482710"/>
      <ac:spMk id="3" creationId="{26E2620F-796F-C388-5199-5C7D72353B2E}"/>
    </ac:deMkLst>
    <p188:txBody>
      <a:bodyPr/>
      <a:lstStyle/>
      <a:p>
        <a:r>
          <a:rPr lang="en-US"/>
          <a:t>Add example of resolved/partially resolved example
</a:t>
        </a:r>
      </a:p>
    </p188:txBody>
    <p188:extLst>
      <p:ext xmlns:p="http://schemas.openxmlformats.org/presentationml/2006/main" uri="{57CB4572-C831-44C2-8A1C-0ADB6CCDFE69}">
        <p223:reactions xmlns:p223="http://schemas.microsoft.com/office/powerpoint/2022/03/main">
          <p223:rxn type="👍">
            <p223:instance time="2024-07-23T09:23:09.102" authorId="{4A22EFCE-90EF-63F6-E01F-012D4BE4B005}"/>
          </p223:rxn>
        </p223:reactions>
      </p:ext>
    </p188:extLst>
  </p188:cm>
  <p188:cm id="{D351FBDF-7F4D-4F98-A582-EC9AF66DA921}" authorId="{4A22EFCE-90EF-63F6-E01F-012D4BE4B005}" status="resolved" created="2024-07-23T06:59:13.135" complete="100000">
    <ac:deMkLst xmlns:ac="http://schemas.microsoft.com/office/drawing/2013/main/command">
      <pc:docMk xmlns:pc="http://schemas.microsoft.com/office/powerpoint/2013/main/command"/>
      <pc:sldMk xmlns:pc="http://schemas.microsoft.com/office/powerpoint/2013/main/command" cId="3296767712" sldId="2147482710"/>
      <ac:spMk id="3" creationId="{26E2620F-796F-C388-5199-5C7D72353B2E}"/>
    </ac:deMkLst>
    <p188:txBody>
      <a:bodyPr/>
      <a:lstStyle/>
      <a:p>
        <a:r>
          <a:rPr lang="en-US"/>
          <a:t>Add example of unresolved issue</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BAC797-0065-49A2-89AE-5EB93BBB47DE}" type="datetimeFigureOut">
              <a:rPr lang="en-US" smtClean="0"/>
              <a:t>7/3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5DE11D-72D1-4641-A345-6AB91E05E969}" type="slidenum">
              <a:rPr lang="en-US" smtClean="0"/>
              <a:t>‹#›</a:t>
            </a:fld>
            <a:endParaRPr lang="en-US"/>
          </a:p>
        </p:txBody>
      </p:sp>
    </p:spTree>
    <p:extLst>
      <p:ext uri="{BB962C8B-B14F-4D97-AF65-F5344CB8AC3E}">
        <p14:creationId xmlns:p14="http://schemas.microsoft.com/office/powerpoint/2010/main" val="28450498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5DE11D-72D1-4641-A345-6AB91E05E96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966105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5DE11D-72D1-4641-A345-6AB91E05E96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51773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5DE11D-72D1-4641-A345-6AB91E05E96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338717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hyperlink" Target="https://www.facebook.com/TrinityLifeSciences" TargetMode="External"/><Relationship Id="rId3" Type="http://schemas.openxmlformats.org/officeDocument/2006/relationships/oleObject" Target="../embeddings/oleObject21.bin"/><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slideMaster" Target="../slideMasters/slideMaster2.xml"/><Relationship Id="rId16" Type="http://schemas.openxmlformats.org/officeDocument/2006/relationships/image" Target="../media/image4.svg"/><Relationship Id="rId1" Type="http://schemas.openxmlformats.org/officeDocument/2006/relationships/tags" Target="../tags/tag23.xml"/><Relationship Id="rId6" Type="http://schemas.openxmlformats.org/officeDocument/2006/relationships/hyperlink" Target="http://www.trinitypartners.com/" TargetMode="External"/><Relationship Id="rId11" Type="http://schemas.openxmlformats.org/officeDocument/2006/relationships/hyperlink" Target="https://www.linkedin.com/company/trinitylifesciences/" TargetMode="External"/><Relationship Id="rId5" Type="http://schemas.openxmlformats.org/officeDocument/2006/relationships/image" Target="../media/image6.jpeg"/><Relationship Id="rId15" Type="http://schemas.openxmlformats.org/officeDocument/2006/relationships/image" Target="../media/image3.png"/><Relationship Id="rId10" Type="http://schemas.openxmlformats.org/officeDocument/2006/relationships/image" Target="../media/image9.png"/><Relationship Id="rId4" Type="http://schemas.openxmlformats.org/officeDocument/2006/relationships/image" Target="../media/image5.emf"/><Relationship Id="rId9" Type="http://schemas.openxmlformats.org/officeDocument/2006/relationships/hyperlink" Target="https://twitter.com/trinitylifesci" TargetMode="External"/><Relationship Id="rId14" Type="http://schemas.openxmlformats.org/officeDocument/2006/relationships/image" Target="../media/image11.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hyperlink" Target="https://www.facebook.com/TrinityLifeSciences" TargetMode="External"/><Relationship Id="rId3" Type="http://schemas.openxmlformats.org/officeDocument/2006/relationships/oleObject" Target="../embeddings/oleObject10.bin"/><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slideMaster" Target="../slideMasters/slideMaster1.xml"/><Relationship Id="rId16" Type="http://schemas.openxmlformats.org/officeDocument/2006/relationships/image" Target="../media/image4.svg"/><Relationship Id="rId1" Type="http://schemas.openxmlformats.org/officeDocument/2006/relationships/tags" Target="../tags/tag11.xml"/><Relationship Id="rId6" Type="http://schemas.openxmlformats.org/officeDocument/2006/relationships/hyperlink" Target="http://www.trinitypartners.com/" TargetMode="External"/><Relationship Id="rId11" Type="http://schemas.openxmlformats.org/officeDocument/2006/relationships/hyperlink" Target="https://www.linkedin.com/company/trinitylifesciences/" TargetMode="External"/><Relationship Id="rId5" Type="http://schemas.openxmlformats.org/officeDocument/2006/relationships/image" Target="../media/image6.jpeg"/><Relationship Id="rId15" Type="http://schemas.openxmlformats.org/officeDocument/2006/relationships/image" Target="../media/image3.png"/><Relationship Id="rId10" Type="http://schemas.openxmlformats.org/officeDocument/2006/relationships/image" Target="../media/image9.png"/><Relationship Id="rId4" Type="http://schemas.openxmlformats.org/officeDocument/2006/relationships/image" Target="../media/image5.emf"/><Relationship Id="rId9" Type="http://schemas.openxmlformats.org/officeDocument/2006/relationships/hyperlink" Target="https://twitter.com/trinitylifesci" TargetMode="External"/><Relationship Id="rId1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4267200"/>
          </a:xfrm>
          <a:prstGeom prst="rect">
            <a:avLst/>
          </a:prstGeom>
        </p:spPr>
      </p:pic>
      <p:sp>
        <p:nvSpPr>
          <p:cNvPr id="12" name="Isosceles Triangle 31">
            <a:extLst>
              <a:ext uri="{FF2B5EF4-FFF2-40B4-BE49-F238E27FC236}">
                <a16:creationId xmlns:a16="http://schemas.microsoft.com/office/drawing/2014/main" id="{8A734E0B-92B4-9A4D-A119-A33601223E92}"/>
              </a:ext>
            </a:extLst>
          </p:cNvPr>
          <p:cNvSpPr/>
          <p:nvPr userDrawn="1"/>
        </p:nvSpPr>
        <p:spPr>
          <a:xfrm>
            <a:off x="0" y="-7023"/>
            <a:ext cx="12192003" cy="4274224"/>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11" name="Object 10" hidden="1"/>
          <p:cNvGraphicFramePr>
            <a:graphicFrameLocks noChangeAspect="1"/>
          </p:cNvGraphicFramePr>
          <p:nvPr userDrawn="1">
            <p:custDataLst>
              <p:tags r:id="rId1"/>
            </p:custDataLst>
            <p:extLst>
              <p:ext uri="{D42A27DB-BD31-4B8C-83A1-F6EECF244321}">
                <p14:modId xmlns:p14="http://schemas.microsoft.com/office/powerpoint/2010/main" val="1238974696"/>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1" name="Object 10"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2" name="Title 1"/>
          <p:cNvSpPr>
            <a:spLocks noGrp="1"/>
          </p:cNvSpPr>
          <p:nvPr>
            <p:ph type="ctrTitle"/>
          </p:nvPr>
        </p:nvSpPr>
        <p:spPr>
          <a:xfrm>
            <a:off x="1993392" y="4288211"/>
            <a:ext cx="8165592" cy="582356"/>
          </a:xfrm>
        </p:spPr>
        <p:txBody>
          <a:bodyPr vert="horz" anchor="b" anchorCtr="0"/>
          <a:lstStyle>
            <a:lvl1pPr>
              <a:defRPr sz="2800" b="0" spc="120" baseline="0">
                <a:solidFill>
                  <a:schemeClr val="tx1"/>
                </a:solidFill>
              </a:defRPr>
            </a:lvl1pPr>
          </a:lstStyle>
          <a:p>
            <a:r>
              <a:rPr lang="en-US"/>
              <a:t>Click to edit Master title style</a:t>
            </a:r>
          </a:p>
        </p:txBody>
      </p:sp>
      <p:sp>
        <p:nvSpPr>
          <p:cNvPr id="3" name="Subtitle 2"/>
          <p:cNvSpPr>
            <a:spLocks noGrp="1"/>
          </p:cNvSpPr>
          <p:nvPr>
            <p:ph type="subTitle" idx="1"/>
          </p:nvPr>
        </p:nvSpPr>
        <p:spPr>
          <a:xfrm>
            <a:off x="1993392" y="4971085"/>
            <a:ext cx="8165592" cy="335280"/>
          </a:xfrm>
        </p:spPr>
        <p:txBody>
          <a:bodyPr anchor="b" anchorCtr="0">
            <a:noAutofit/>
          </a:bodyPr>
          <a:lstStyle>
            <a:lvl1pPr marL="0" indent="0" algn="l">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9" name="Text Placeholder 8"/>
          <p:cNvSpPr>
            <a:spLocks noGrp="1"/>
          </p:cNvSpPr>
          <p:nvPr>
            <p:ph type="body" sz="quarter" idx="13" hasCustomPrompt="1"/>
          </p:nvPr>
        </p:nvSpPr>
        <p:spPr>
          <a:xfrm>
            <a:off x="1993392" y="5406888"/>
            <a:ext cx="4876800" cy="304800"/>
          </a:xfrm>
        </p:spPr>
        <p:txBody>
          <a:bodyPr anchor="b" anchorCtr="0">
            <a:noAutofit/>
          </a:bodyPr>
          <a:lstStyle>
            <a:lvl1pPr>
              <a:buFontTx/>
              <a:buNone/>
              <a:defRPr sz="1400" baseline="0">
                <a:solidFill>
                  <a:schemeClr val="tx1"/>
                </a:solidFill>
              </a:defRPr>
            </a:lvl1pPr>
          </a:lstStyle>
          <a:p>
            <a:pPr lvl="0"/>
            <a:r>
              <a:rPr lang="en-US"/>
              <a:t>Month Day, Year</a:t>
            </a:r>
          </a:p>
        </p:txBody>
      </p:sp>
      <p:sp>
        <p:nvSpPr>
          <p:cNvPr id="8" name="TextBox 7"/>
          <p:cNvSpPr txBox="1"/>
          <p:nvPr/>
        </p:nvSpPr>
        <p:spPr>
          <a:xfrm>
            <a:off x="2011684" y="6461285"/>
            <a:ext cx="8165593" cy="307777"/>
          </a:xfrm>
          <a:prstGeom prst="rect">
            <a:avLst/>
          </a:prstGeom>
          <a:noFill/>
        </p:spPr>
        <p:txBody>
          <a:bodyPr wrap="square" rtlCol="0">
            <a:spAutoFit/>
          </a:bodyPr>
          <a:lstStyle/>
          <a:p>
            <a:r>
              <a:rPr lang="en-US" sz="700">
                <a:solidFill>
                  <a:schemeClr val="bg2">
                    <a:lumMod val="50000"/>
                  </a:schemeClr>
                </a:solidFill>
              </a:rPr>
              <a:t>This presentation is provided to you by Trinity,</a:t>
            </a:r>
            <a:r>
              <a:rPr lang="en-US" sz="700" baseline="0">
                <a:solidFill>
                  <a:schemeClr val="bg2">
                    <a:lumMod val="50000"/>
                  </a:schemeClr>
                </a:solidFill>
              </a:rPr>
              <a:t> LLC. The presentation is meant to enhance discussions between your organization and Trinity, LLC. The substance of this presentation is confidential and may be legally privileged.  This presentation is intended only for those in attendance.</a:t>
            </a:r>
            <a:endParaRPr lang="en-US" sz="700">
              <a:solidFill>
                <a:schemeClr val="bg2">
                  <a:lumMod val="50000"/>
                </a:schemeClr>
              </a:solidFill>
            </a:endParaRPr>
          </a:p>
        </p:txBody>
      </p:sp>
      <p:sp>
        <p:nvSpPr>
          <p:cNvPr id="17" name="Picture Placeholder 16"/>
          <p:cNvSpPr>
            <a:spLocks noGrp="1"/>
          </p:cNvSpPr>
          <p:nvPr>
            <p:ph type="pic" sz="quarter" idx="14" hasCustomPrompt="1"/>
          </p:nvPr>
        </p:nvSpPr>
        <p:spPr>
          <a:xfrm>
            <a:off x="1993392" y="2511287"/>
            <a:ext cx="5181600" cy="1676400"/>
          </a:xfrm>
        </p:spPr>
        <p:txBody>
          <a:bodyPr anchor="ctr"/>
          <a:lstStyle>
            <a:lvl1pPr marL="3175" indent="0" algn="ctr">
              <a:buNone/>
              <a:defRPr baseline="0"/>
            </a:lvl1pPr>
          </a:lstStyle>
          <a:p>
            <a:r>
              <a:rPr lang="en-US"/>
              <a:t>Placeholder for Client / Trinity Logo</a:t>
            </a:r>
          </a:p>
        </p:txBody>
      </p:sp>
      <p:sp>
        <p:nvSpPr>
          <p:cNvPr id="7" name="Rectangle 6"/>
          <p:cNvSpPr/>
          <p:nvPr userDrawn="1"/>
        </p:nvSpPr>
        <p:spPr>
          <a:xfrm>
            <a:off x="1" y="6620980"/>
            <a:ext cx="404748" cy="237021"/>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10" name="Right Triangle 9">
            <a:extLst>
              <a:ext uri="{FF2B5EF4-FFF2-40B4-BE49-F238E27FC236}">
                <a16:creationId xmlns:a16="http://schemas.microsoft.com/office/drawing/2014/main" id="{3C052C4C-2B0B-B443-AC75-D1D8B338F21F}"/>
              </a:ext>
            </a:extLst>
          </p:cNvPr>
          <p:cNvSpPr/>
          <p:nvPr userDrawn="1"/>
        </p:nvSpPr>
        <p:spPr>
          <a:xfrm rot="5400000">
            <a:off x="-300822" y="300821"/>
            <a:ext cx="4259238" cy="3657604"/>
          </a:xfrm>
          <a:prstGeom prst="rtTriangle">
            <a:avLst/>
          </a:prstGeom>
          <a:gradFill flip="none" rotWithShape="1">
            <a:gsLst>
              <a:gs pos="0">
                <a:srgbClr val="3A4254"/>
              </a:gs>
              <a:gs pos="82000">
                <a:srgbClr val="789ABD">
                  <a:alpha val="75000"/>
                </a:srgbClr>
              </a:gs>
              <a:gs pos="53000">
                <a:srgbClr val="6287B3"/>
              </a:gs>
              <a:gs pos="100000">
                <a:srgbClr val="ABC3D6">
                  <a:alpha val="60000"/>
                </a:srgbClr>
              </a:gs>
            </a:gsLst>
            <a:lin ang="126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9978453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4267200"/>
          </a:xfrm>
          <a:prstGeom prst="rect">
            <a:avLst/>
          </a:prstGeom>
        </p:spPr>
      </p:pic>
      <p:sp>
        <p:nvSpPr>
          <p:cNvPr id="12" name="Isosceles Triangle 31">
            <a:extLst>
              <a:ext uri="{FF2B5EF4-FFF2-40B4-BE49-F238E27FC236}">
                <a16:creationId xmlns:a16="http://schemas.microsoft.com/office/drawing/2014/main" id="{8A734E0B-92B4-9A4D-A119-A33601223E92}"/>
              </a:ext>
            </a:extLst>
          </p:cNvPr>
          <p:cNvSpPr/>
          <p:nvPr userDrawn="1"/>
        </p:nvSpPr>
        <p:spPr>
          <a:xfrm>
            <a:off x="0" y="-7023"/>
            <a:ext cx="12192003" cy="4274224"/>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11" name="Object 10" hidden="1"/>
          <p:cNvGraphicFramePr>
            <a:graphicFrameLocks noChangeAspect="1"/>
          </p:cNvGraphicFramePr>
          <p:nvPr userDrawn="1">
            <p:custDataLst>
              <p:tags r:id="rId1"/>
            </p:custDataLst>
            <p:extLst>
              <p:ext uri="{D42A27DB-BD31-4B8C-83A1-F6EECF244321}">
                <p14:modId xmlns:p14="http://schemas.microsoft.com/office/powerpoint/2010/main" val="1238974696"/>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1" name="Object 10"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2" name="Title 1"/>
          <p:cNvSpPr>
            <a:spLocks noGrp="1"/>
          </p:cNvSpPr>
          <p:nvPr>
            <p:ph type="ctrTitle"/>
          </p:nvPr>
        </p:nvSpPr>
        <p:spPr>
          <a:xfrm>
            <a:off x="1993392" y="4288211"/>
            <a:ext cx="8165592" cy="582356"/>
          </a:xfrm>
        </p:spPr>
        <p:txBody>
          <a:bodyPr vert="horz" anchor="b" anchorCtr="0"/>
          <a:lstStyle>
            <a:lvl1pPr>
              <a:defRPr sz="2800" b="0" spc="120" baseline="0">
                <a:solidFill>
                  <a:schemeClr val="tx1"/>
                </a:solidFill>
              </a:defRPr>
            </a:lvl1pPr>
          </a:lstStyle>
          <a:p>
            <a:r>
              <a:rPr lang="en-US"/>
              <a:t>Click to edit Master title style</a:t>
            </a:r>
          </a:p>
        </p:txBody>
      </p:sp>
      <p:sp>
        <p:nvSpPr>
          <p:cNvPr id="3" name="Subtitle 2"/>
          <p:cNvSpPr>
            <a:spLocks noGrp="1"/>
          </p:cNvSpPr>
          <p:nvPr>
            <p:ph type="subTitle" idx="1"/>
          </p:nvPr>
        </p:nvSpPr>
        <p:spPr>
          <a:xfrm>
            <a:off x="1993392" y="4971085"/>
            <a:ext cx="8165592" cy="335280"/>
          </a:xfrm>
        </p:spPr>
        <p:txBody>
          <a:bodyPr anchor="b" anchorCtr="0">
            <a:noAutofit/>
          </a:bodyPr>
          <a:lstStyle>
            <a:lvl1pPr marL="0" indent="0" algn="l">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9" name="Text Placeholder 8"/>
          <p:cNvSpPr>
            <a:spLocks noGrp="1"/>
          </p:cNvSpPr>
          <p:nvPr>
            <p:ph type="body" sz="quarter" idx="13" hasCustomPrompt="1"/>
          </p:nvPr>
        </p:nvSpPr>
        <p:spPr>
          <a:xfrm>
            <a:off x="1993392" y="5406888"/>
            <a:ext cx="4876800" cy="304800"/>
          </a:xfrm>
        </p:spPr>
        <p:txBody>
          <a:bodyPr anchor="b" anchorCtr="0">
            <a:noAutofit/>
          </a:bodyPr>
          <a:lstStyle>
            <a:lvl1pPr>
              <a:buFontTx/>
              <a:buNone/>
              <a:defRPr sz="1400" baseline="0">
                <a:solidFill>
                  <a:schemeClr val="tx1"/>
                </a:solidFill>
              </a:defRPr>
            </a:lvl1pPr>
          </a:lstStyle>
          <a:p>
            <a:pPr lvl="0"/>
            <a:r>
              <a:rPr lang="en-US"/>
              <a:t>Month Day, Year</a:t>
            </a:r>
          </a:p>
        </p:txBody>
      </p:sp>
      <p:sp>
        <p:nvSpPr>
          <p:cNvPr id="8" name="TextBox 7"/>
          <p:cNvSpPr txBox="1"/>
          <p:nvPr/>
        </p:nvSpPr>
        <p:spPr>
          <a:xfrm>
            <a:off x="2011684" y="6461285"/>
            <a:ext cx="8165593" cy="307777"/>
          </a:xfrm>
          <a:prstGeom prst="rect">
            <a:avLst/>
          </a:prstGeom>
          <a:noFill/>
        </p:spPr>
        <p:txBody>
          <a:bodyPr wrap="square" rtlCol="0">
            <a:spAutoFit/>
          </a:bodyPr>
          <a:lstStyle/>
          <a:p>
            <a:r>
              <a:rPr lang="en-US" sz="700">
                <a:solidFill>
                  <a:schemeClr val="bg2">
                    <a:lumMod val="50000"/>
                  </a:schemeClr>
                </a:solidFill>
              </a:rPr>
              <a:t>This presentation is provided to you by Trinity,</a:t>
            </a:r>
            <a:r>
              <a:rPr lang="en-US" sz="700" baseline="0">
                <a:solidFill>
                  <a:schemeClr val="bg2">
                    <a:lumMod val="50000"/>
                  </a:schemeClr>
                </a:solidFill>
              </a:rPr>
              <a:t> LLC. The presentation is meant to enhance discussions between your organization and Trinity, LLC. The substance of this presentation is confidential and may be legally privileged.  This presentation is intended only for those in attendance.</a:t>
            </a:r>
            <a:endParaRPr lang="en-US" sz="700">
              <a:solidFill>
                <a:schemeClr val="bg2">
                  <a:lumMod val="50000"/>
                </a:schemeClr>
              </a:solidFill>
            </a:endParaRPr>
          </a:p>
        </p:txBody>
      </p:sp>
      <p:sp>
        <p:nvSpPr>
          <p:cNvPr id="17" name="Picture Placeholder 16"/>
          <p:cNvSpPr>
            <a:spLocks noGrp="1"/>
          </p:cNvSpPr>
          <p:nvPr>
            <p:ph type="pic" sz="quarter" idx="14" hasCustomPrompt="1"/>
          </p:nvPr>
        </p:nvSpPr>
        <p:spPr>
          <a:xfrm>
            <a:off x="1993392" y="2511287"/>
            <a:ext cx="5181600" cy="1676400"/>
          </a:xfrm>
        </p:spPr>
        <p:txBody>
          <a:bodyPr anchor="ctr"/>
          <a:lstStyle>
            <a:lvl1pPr marL="3175" indent="0" algn="ctr">
              <a:buNone/>
              <a:defRPr baseline="0"/>
            </a:lvl1pPr>
          </a:lstStyle>
          <a:p>
            <a:r>
              <a:rPr lang="en-US"/>
              <a:t>Placeholder for Client / Trinity Logo</a:t>
            </a:r>
          </a:p>
        </p:txBody>
      </p:sp>
      <p:sp>
        <p:nvSpPr>
          <p:cNvPr id="7" name="Rectangle 6"/>
          <p:cNvSpPr/>
          <p:nvPr userDrawn="1"/>
        </p:nvSpPr>
        <p:spPr>
          <a:xfrm>
            <a:off x="1" y="6620980"/>
            <a:ext cx="404748" cy="237021"/>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10" name="Right Triangle 9">
            <a:extLst>
              <a:ext uri="{FF2B5EF4-FFF2-40B4-BE49-F238E27FC236}">
                <a16:creationId xmlns:a16="http://schemas.microsoft.com/office/drawing/2014/main" id="{3C052C4C-2B0B-B443-AC75-D1D8B338F21F}"/>
              </a:ext>
            </a:extLst>
          </p:cNvPr>
          <p:cNvSpPr/>
          <p:nvPr userDrawn="1"/>
        </p:nvSpPr>
        <p:spPr>
          <a:xfrm rot="5400000">
            <a:off x="-300822" y="300821"/>
            <a:ext cx="4259238" cy="3657604"/>
          </a:xfrm>
          <a:prstGeom prst="rtTriangle">
            <a:avLst/>
          </a:prstGeom>
          <a:gradFill flip="none" rotWithShape="1">
            <a:gsLst>
              <a:gs pos="0">
                <a:srgbClr val="3A4254"/>
              </a:gs>
              <a:gs pos="82000">
                <a:srgbClr val="789ABD">
                  <a:alpha val="75000"/>
                </a:srgbClr>
              </a:gs>
              <a:gs pos="53000">
                <a:srgbClr val="6287B3"/>
              </a:gs>
              <a:gs pos="100000">
                <a:srgbClr val="ABC3D6">
                  <a:alpha val="60000"/>
                </a:srgbClr>
              </a:gs>
            </a:gsLst>
            <a:lin ang="126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935417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genda Slide">
    <p:spTree>
      <p:nvGrpSpPr>
        <p:cNvPr id="1" name=""/>
        <p:cNvGrpSpPr/>
        <p:nvPr/>
      </p:nvGrpSpPr>
      <p:grpSpPr>
        <a:xfrm>
          <a:off x="0" y="0"/>
          <a:ext cx="0" cy="0"/>
          <a:chOff x="0" y="0"/>
          <a:chExt cx="0" cy="0"/>
        </a:xfrm>
      </p:grpSpPr>
      <p:sp>
        <p:nvSpPr>
          <p:cNvPr id="12" name="Right Triangle 11">
            <a:extLst>
              <a:ext uri="{FF2B5EF4-FFF2-40B4-BE49-F238E27FC236}">
                <a16:creationId xmlns:a16="http://schemas.microsoft.com/office/drawing/2014/main" id="{F74925F4-E2FE-404F-8F2C-10661440AAFC}"/>
              </a:ext>
            </a:extLst>
          </p:cNvPr>
          <p:cNvSpPr/>
          <p:nvPr userDrawn="1"/>
        </p:nvSpPr>
        <p:spPr>
          <a:xfrm rot="16200000">
            <a:off x="7354548" y="2020544"/>
            <a:ext cx="5223296" cy="4451617"/>
          </a:xfrm>
          <a:prstGeom prst="rtTriangle">
            <a:avLst/>
          </a:prstGeom>
          <a:gradFill flip="none" rotWithShape="1">
            <a:gsLst>
              <a:gs pos="100000">
                <a:srgbClr val="7993BA"/>
              </a:gs>
              <a:gs pos="0">
                <a:srgbClr val="8FACCC">
                  <a:alpha val="64706"/>
                </a:srgb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6" name="Right Triangle 5"/>
          <p:cNvSpPr/>
          <p:nvPr userDrawn="1"/>
        </p:nvSpPr>
        <p:spPr>
          <a:xfrm flipH="1">
            <a:off x="7251191" y="1634704"/>
            <a:ext cx="4940806" cy="5223296"/>
          </a:xfrm>
          <a:prstGeom prst="rtTriangle">
            <a:avLst/>
          </a:prstGeom>
          <a:gradFill flip="none" rotWithShape="1">
            <a:gsLst>
              <a:gs pos="0">
                <a:schemeClr val="bg1"/>
              </a:gs>
              <a:gs pos="100000">
                <a:schemeClr val="bg1">
                  <a:alpha val="20000"/>
                </a:schemeClr>
              </a:gs>
            </a:gsLst>
            <a:lin ang="108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11" name="Right Triangle 10">
            <a:extLst>
              <a:ext uri="{FF2B5EF4-FFF2-40B4-BE49-F238E27FC236}">
                <a16:creationId xmlns:a16="http://schemas.microsoft.com/office/drawing/2014/main" id="{857CE522-ADB6-E645-8450-7D1EADF70370}"/>
              </a:ext>
            </a:extLst>
          </p:cNvPr>
          <p:cNvSpPr/>
          <p:nvPr userDrawn="1"/>
        </p:nvSpPr>
        <p:spPr>
          <a:xfrm rot="10800000">
            <a:off x="10183654" y="0"/>
            <a:ext cx="2008345" cy="4495803"/>
          </a:xfrm>
          <a:prstGeom prst="rtTriangle">
            <a:avLst/>
          </a:prstGeom>
          <a:gradFill flip="none" rotWithShape="1">
            <a:gsLst>
              <a:gs pos="39000">
                <a:srgbClr val="88ABCC">
                  <a:alpha val="90000"/>
                </a:srgbClr>
              </a:gs>
              <a:gs pos="97000">
                <a:srgbClr val="394F73"/>
              </a:gs>
            </a:gsLst>
            <a:lin ang="9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29277489"/>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5" name="Text Placeholder 4"/>
          <p:cNvSpPr>
            <a:spLocks noGrp="1"/>
          </p:cNvSpPr>
          <p:nvPr>
            <p:ph type="body" sz="quarter" idx="10"/>
          </p:nvPr>
        </p:nvSpPr>
        <p:spPr>
          <a:xfrm>
            <a:off x="609600" y="1371600"/>
            <a:ext cx="10972800" cy="4953000"/>
          </a:xfrm>
        </p:spPr>
        <p:txBody>
          <a:bodyPr/>
          <a:lstStyle>
            <a:lvl1pPr marL="190500" indent="-187325">
              <a:spcBef>
                <a:spcPts val="1200"/>
              </a:spcBef>
              <a:spcAft>
                <a:spcPts val="1200"/>
              </a:spcAft>
              <a:buClr>
                <a:schemeClr val="bg2">
                  <a:lumMod val="50000"/>
                </a:schemeClr>
              </a:buClr>
              <a:buSzPct val="100000"/>
              <a:buFont typeface="Arial" charset="0"/>
              <a:buChar char="•"/>
              <a:defRPr sz="2000">
                <a:solidFill>
                  <a:schemeClr val="tx1"/>
                </a:solidFill>
              </a:defRPr>
            </a:lvl1pPr>
            <a:lvl2pPr>
              <a:spcBef>
                <a:spcPts val="600"/>
              </a:spcBef>
              <a:spcAft>
                <a:spcPts val="600"/>
              </a:spcAft>
              <a:defRPr sz="1800">
                <a:solidFill>
                  <a:schemeClr val="accent1"/>
                </a:solidFill>
              </a:defRPr>
            </a:lvl2pPr>
            <a:lvl3pPr>
              <a:spcBef>
                <a:spcPts val="600"/>
              </a:spcBef>
              <a:spcAft>
                <a:spcPts val="600"/>
              </a:spcAft>
              <a:defRPr sz="1600">
                <a:solidFill>
                  <a:schemeClr val="bg2">
                    <a:lumMod val="50000"/>
                  </a:schemeClr>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5"/>
          <p:cNvSpPr txBox="1">
            <a:spLocks/>
          </p:cNvSpPr>
          <p:nvPr userDrawn="1"/>
        </p:nvSpPr>
        <p:spPr>
          <a:xfrm>
            <a:off x="11672713" y="6626675"/>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bg1"/>
                </a:solidFill>
              </a:rPr>
              <a:pPr algn="ctr"/>
              <a:t>‹#›</a:t>
            </a:fld>
            <a:endParaRPr lang="en-US" sz="900">
              <a:solidFill>
                <a:schemeClr val="bg1"/>
              </a:solidFill>
            </a:endParaRPr>
          </a:p>
        </p:txBody>
      </p:sp>
      <p:pic>
        <p:nvPicPr>
          <p:cNvPr id="13" name="Graphic 12">
            <a:extLst>
              <a:ext uri="{FF2B5EF4-FFF2-40B4-BE49-F238E27FC236}">
                <a16:creationId xmlns:a16="http://schemas.microsoft.com/office/drawing/2014/main" id="{2EDE4865-A18F-4B66-B53A-9DE63DD8A8FE}"/>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
        <p:nvSpPr>
          <p:cNvPr id="15" name="Text Placeholder 25">
            <a:extLst>
              <a:ext uri="{FF2B5EF4-FFF2-40B4-BE49-F238E27FC236}">
                <a16:creationId xmlns:a16="http://schemas.microsoft.com/office/drawing/2014/main" id="{47E044E3-5C8C-4466-B83E-A87A08E92E30}"/>
              </a:ext>
            </a:extLst>
          </p:cNvPr>
          <p:cNvSpPr>
            <a:spLocks noGrp="1"/>
          </p:cNvSpPr>
          <p:nvPr>
            <p:ph type="body" sz="quarter" idx="12" hasCustomPrompt="1"/>
          </p:nvPr>
        </p:nvSpPr>
        <p:spPr>
          <a:xfrm rot="10800000">
            <a:off x="483951" y="1458962"/>
            <a:ext cx="329184" cy="329184"/>
          </a:xfrm>
          <a:prstGeom prst="rtTriangle">
            <a:avLst/>
          </a:prstGeom>
          <a:gradFill>
            <a:gsLst>
              <a:gs pos="0">
                <a:srgbClr val="7FAFDE"/>
              </a:gs>
              <a:gs pos="80000">
                <a:srgbClr val="3A5580"/>
              </a:gs>
            </a:gsLst>
            <a:lin ang="19800000" scaled="0"/>
          </a:gradFill>
          <a:ln>
            <a:noFill/>
          </a:ln>
        </p:spPr>
        <p:style>
          <a:lnRef idx="0">
            <a:scrgbClr r="0" g="0" b="0"/>
          </a:lnRef>
          <a:fillRef idx="0">
            <a:scrgbClr r="0" g="0" b="0"/>
          </a:fillRef>
          <a:effectRef idx="0">
            <a:scrgbClr r="0" g="0" b="0"/>
          </a:effectRef>
          <a:fontRef idx="minor">
            <a:schemeClr val="lt1"/>
          </a:fontRef>
        </p:style>
        <p:txBody>
          <a:bodyPr vert="horz" lIns="91440" tIns="45720" rIns="91440" bIns="45720" rtlCol="0" anchor="ctr">
            <a:noAutofit/>
          </a:bodyPr>
          <a:lstStyle>
            <a:lvl1pPr algn="l">
              <a:buFontTx/>
              <a:buNone/>
              <a:defRPr lang="en-US" dirty="0" smtClean="0">
                <a:ln>
                  <a:noFill/>
                </a:ln>
                <a:no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US" dirty="0">
                <a:solidFill>
                  <a:schemeClr val="lt1"/>
                </a:solidFill>
              </a:defRPr>
            </a:lvl5pPr>
          </a:lstStyle>
          <a:p>
            <a:pPr marL="0" lvl="0" indent="0" algn="ctr">
              <a:buFontTx/>
              <a:buNone/>
            </a:pPr>
            <a:r>
              <a:rPr lang="en-US"/>
              <a:t> </a:t>
            </a:r>
          </a:p>
        </p:txBody>
      </p:sp>
      <p:sp>
        <p:nvSpPr>
          <p:cNvPr id="2" name="Title 1"/>
          <p:cNvSpPr>
            <a:spLocks noGrp="1"/>
          </p:cNvSpPr>
          <p:nvPr>
            <p:ph type="title" hasCustomPrompt="1"/>
          </p:nvPr>
        </p:nvSpPr>
        <p:spPr>
          <a:xfrm>
            <a:off x="609600" y="104415"/>
            <a:ext cx="10972800" cy="906738"/>
          </a:xfrm>
          <a:noFill/>
        </p:spPr>
        <p:txBody>
          <a:bodyPr vert="horz" lIns="91440" tIns="45720" rIns="91440" bIns="45720" rtlCol="0" anchor="ctr">
            <a:noAutofit/>
          </a:bodyPr>
          <a:lstStyle>
            <a:lvl1pPr>
              <a:defRPr lang="en-US" i="0" dirty="0">
                <a:solidFill>
                  <a:schemeClr val="tx1"/>
                </a:solidFill>
              </a:defRPr>
            </a:lvl1pPr>
          </a:lstStyle>
          <a:p>
            <a:pPr lvl="0"/>
            <a:r>
              <a:rPr lang="en-US"/>
              <a:t>Agenda Slide</a:t>
            </a:r>
          </a:p>
        </p:txBody>
      </p:sp>
    </p:spTree>
    <p:extLst>
      <p:ext uri="{BB962C8B-B14F-4D97-AF65-F5344CB8AC3E}">
        <p14:creationId xmlns:p14="http://schemas.microsoft.com/office/powerpoint/2010/main" val="12195956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Slide with Tex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788819446"/>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nchor="ctr"/>
          <a:lstStyle>
            <a:lvl1pPr>
              <a:defRPr b="0" i="0" baseline="0">
                <a:solidFill>
                  <a:schemeClr val="tx1"/>
                </a:solidFill>
              </a:defRPr>
            </a:lvl1pPr>
          </a:lstStyle>
          <a:p>
            <a:r>
              <a:rPr lang="en-US"/>
              <a:t>Title Line 1</a:t>
            </a:r>
            <a:br>
              <a:rPr lang="en-US"/>
            </a:br>
            <a:r>
              <a:rPr lang="en-US"/>
              <a:t>Title Line Continued</a:t>
            </a:r>
          </a:p>
        </p:txBody>
      </p:sp>
      <p:sp>
        <p:nvSpPr>
          <p:cNvPr id="5"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12" name="Text Placeholder 11"/>
          <p:cNvSpPr>
            <a:spLocks noGrp="1"/>
          </p:cNvSpPr>
          <p:nvPr>
            <p:ph type="body" sz="quarter" idx="14"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1">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14" name="Text Placeholder 13"/>
          <p:cNvSpPr>
            <a:spLocks noGrp="1"/>
          </p:cNvSpPr>
          <p:nvPr>
            <p:ph type="body" sz="quarter" idx="15"/>
          </p:nvPr>
        </p:nvSpPr>
        <p:spPr>
          <a:xfrm>
            <a:off x="609600" y="1276709"/>
            <a:ext cx="10972800" cy="5098692"/>
          </a:xfrm>
        </p:spPr>
        <p:txBody>
          <a:bodyPr/>
          <a:lstStyle>
            <a:lvl1pPr marL="190500" indent="-187325">
              <a:defRPr>
                <a:solidFill>
                  <a:schemeClr val="tx1"/>
                </a:solidFill>
              </a:defRPr>
            </a:lvl1pPr>
            <a:lvl2pPr marL="439738" indent="-250825">
              <a:defRPr>
                <a:solidFill>
                  <a:schemeClr val="accent1"/>
                </a:solidFill>
              </a:defRPr>
            </a:lvl2pPr>
            <a:lvl3pPr marL="652463" indent="-217488">
              <a:defRPr>
                <a:solidFill>
                  <a:schemeClr val="bg2">
                    <a:lumMod val="50000"/>
                  </a:schemeClr>
                </a:solidFill>
              </a:defRPr>
            </a:lvl3pPr>
            <a:lvl4pPr marL="833438" indent="-173038">
              <a:defRPr>
                <a:solidFill>
                  <a:schemeClr val="bg2">
                    <a:lumMod val="50000"/>
                  </a:schemeClr>
                </a:solidFill>
              </a:defRPr>
            </a:lvl4pPr>
            <a:lvl5pPr marL="1004888" indent="-169863">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9" name="Graphic 8">
            <a:extLst>
              <a:ext uri="{FF2B5EF4-FFF2-40B4-BE49-F238E27FC236}">
                <a16:creationId xmlns:a16="http://schemas.microsoft.com/office/drawing/2014/main" id="{36B9E241-CFFF-466B-8BCC-C37A427FEE9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155022691"/>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572258052"/>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nchor="ctr"/>
          <a:lstStyle>
            <a:lvl1pPr>
              <a:defRPr b="0" i="0" baseline="0">
                <a:solidFill>
                  <a:schemeClr val="tx1"/>
                </a:solidFill>
              </a:defRPr>
            </a:lvl1pPr>
          </a:lstStyle>
          <a:p>
            <a:r>
              <a:rPr lang="en-US"/>
              <a:t>Title Line 1</a:t>
            </a:r>
            <a:br>
              <a:rPr lang="en-US"/>
            </a:br>
            <a:r>
              <a:rPr lang="en-US"/>
              <a:t>Title Line Continued</a:t>
            </a:r>
          </a:p>
        </p:txBody>
      </p:sp>
      <p:sp>
        <p:nvSpPr>
          <p:cNvPr id="5"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12" name="Text Placeholder 11"/>
          <p:cNvSpPr>
            <a:spLocks noGrp="1"/>
          </p:cNvSpPr>
          <p:nvPr>
            <p:ph type="body" sz="quarter" idx="14"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1">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11"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9" name="Graphic 8">
            <a:extLst>
              <a:ext uri="{FF2B5EF4-FFF2-40B4-BE49-F238E27FC236}">
                <a16:creationId xmlns:a16="http://schemas.microsoft.com/office/drawing/2014/main" id="{36B9E241-CFFF-466B-8BCC-C37A427FEE9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1656692409"/>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ent &amp;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3062585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Content Placeholder 4"/>
          <p:cNvSpPr>
            <a:spLocks noGrp="1"/>
          </p:cNvSpPr>
          <p:nvPr>
            <p:ph sz="quarter" idx="15" hasCustomPrompt="1"/>
          </p:nvPr>
        </p:nvSpPr>
        <p:spPr>
          <a:xfrm>
            <a:off x="609600" y="1295400"/>
            <a:ext cx="10972800" cy="3657600"/>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vert="horz" anchor="ctr"/>
          <a:lstStyle>
            <a:lvl1pPr>
              <a:defRPr b="0" baseline="0">
                <a:solidFill>
                  <a:schemeClr val="tx1"/>
                </a:solidFill>
              </a:defRPr>
            </a:lvl1pPr>
          </a:lstStyle>
          <a:p>
            <a:r>
              <a:rPr lang="en-US"/>
              <a:t>Chart Title Line 1</a:t>
            </a:r>
            <a:br>
              <a:rPr lang="en-US"/>
            </a:br>
            <a:r>
              <a:rPr lang="en-US"/>
              <a:t>Chart Title Line Continued</a:t>
            </a:r>
          </a:p>
        </p:txBody>
      </p:sp>
      <p:sp>
        <p:nvSpPr>
          <p:cNvPr id="13"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4" name="Content Placeholder 3"/>
          <p:cNvSpPr>
            <a:spLocks noGrp="1"/>
          </p:cNvSpPr>
          <p:nvPr>
            <p:ph sz="quarter" idx="16"/>
          </p:nvPr>
        </p:nvSpPr>
        <p:spPr>
          <a:xfrm>
            <a:off x="609600" y="4953000"/>
            <a:ext cx="10972800" cy="1524000"/>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1"/>
          <p:cNvSpPr>
            <a:spLocks noGrp="1"/>
          </p:cNvSpPr>
          <p:nvPr>
            <p:ph type="body" sz="quarter" idx="14"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2">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12"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11" name="Graphic 10">
            <a:extLst>
              <a:ext uri="{FF2B5EF4-FFF2-40B4-BE49-F238E27FC236}">
                <a16:creationId xmlns:a16="http://schemas.microsoft.com/office/drawing/2014/main" id="{96F4AB1D-9480-49B7-B3FE-27C8B6D5CF4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39728221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wo Content &amp;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3585731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nchor="ctr"/>
          <a:lstStyle>
            <a:lvl1pPr>
              <a:defRPr b="0" baseline="0">
                <a:solidFill>
                  <a:schemeClr val="tx1"/>
                </a:solidFill>
              </a:defRPr>
            </a:lvl1pPr>
          </a:lstStyle>
          <a:p>
            <a:r>
              <a:rPr lang="en-US"/>
              <a:t>Content Title Line 1</a:t>
            </a:r>
            <a:br>
              <a:rPr lang="en-US"/>
            </a:br>
            <a:r>
              <a:rPr lang="en-US"/>
              <a:t>Content Title Line Continued</a:t>
            </a:r>
          </a:p>
        </p:txBody>
      </p:sp>
      <p:sp>
        <p:nvSpPr>
          <p:cNvPr id="12" name="Content Placeholder 11"/>
          <p:cNvSpPr>
            <a:spLocks noGrp="1"/>
          </p:cNvSpPr>
          <p:nvPr>
            <p:ph sz="quarter" idx="12"/>
          </p:nvPr>
        </p:nvSpPr>
        <p:spPr>
          <a:xfrm>
            <a:off x="609600" y="1285337"/>
            <a:ext cx="5485291" cy="3452004"/>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9" name="Content Placeholder 11"/>
          <p:cNvSpPr>
            <a:spLocks noGrp="1"/>
          </p:cNvSpPr>
          <p:nvPr>
            <p:ph sz="quarter" idx="14"/>
          </p:nvPr>
        </p:nvSpPr>
        <p:spPr>
          <a:xfrm>
            <a:off x="6097109" y="1285337"/>
            <a:ext cx="5485291" cy="3452004"/>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17"/>
          </p:nvPr>
        </p:nvSpPr>
        <p:spPr>
          <a:xfrm>
            <a:off x="609600" y="4754352"/>
            <a:ext cx="11063113" cy="1739900"/>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p:cNvSpPr>
            <a:spLocks noGrp="1"/>
          </p:cNvSpPr>
          <p:nvPr>
            <p:ph type="body" sz="quarter" idx="18"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2">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11"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15" name="Graphic 14">
            <a:extLst>
              <a:ext uri="{FF2B5EF4-FFF2-40B4-BE49-F238E27FC236}">
                <a16:creationId xmlns:a16="http://schemas.microsoft.com/office/drawing/2014/main" id="{6CB4149F-01E9-40A8-AF6C-99D38407C9F0}"/>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32737781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56161927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7" name="Text Placeholder 19"/>
          <p:cNvSpPr>
            <a:spLocks noGrp="1"/>
          </p:cNvSpPr>
          <p:nvPr>
            <p:ph type="body" sz="quarter" idx="26" hasCustomPrompt="1"/>
          </p:nvPr>
        </p:nvSpPr>
        <p:spPr>
          <a:xfrm>
            <a:off x="601132" y="1376604"/>
            <a:ext cx="813600" cy="1468679"/>
          </a:xfrm>
          <a:noFill/>
          <a:ln>
            <a:noFill/>
          </a:ln>
        </p:spPr>
        <p:txBody>
          <a:bodyPr anchor="ctr">
            <a:normAutofit/>
          </a:bodyPr>
          <a:lstStyle>
            <a:lvl1pPr marL="3175" indent="0" algn="ctr">
              <a:buNone/>
              <a:defRPr sz="800" b="0" i="1" baseline="0">
                <a:solidFill>
                  <a:schemeClr val="bg2">
                    <a:lumMod val="75000"/>
                  </a:schemeClr>
                </a:solidFill>
              </a:defRPr>
            </a:lvl1pPr>
          </a:lstStyle>
          <a:p>
            <a:pPr lvl="0"/>
            <a:r>
              <a:rPr lang="en-US"/>
              <a:t>Icon</a:t>
            </a:r>
          </a:p>
          <a:p>
            <a:pPr lvl="0"/>
            <a:r>
              <a:rPr lang="en-US"/>
              <a:t>Remove Once Icon is Added</a:t>
            </a:r>
          </a:p>
        </p:txBody>
      </p:sp>
      <p:sp>
        <p:nvSpPr>
          <p:cNvPr id="17" name="Text Placeholder 19"/>
          <p:cNvSpPr>
            <a:spLocks noGrp="1"/>
          </p:cNvSpPr>
          <p:nvPr>
            <p:ph type="body" sz="quarter" idx="30" hasCustomPrompt="1"/>
          </p:nvPr>
        </p:nvSpPr>
        <p:spPr>
          <a:xfrm>
            <a:off x="609601" y="3194302"/>
            <a:ext cx="805131" cy="1463675"/>
          </a:xfrm>
          <a:noFill/>
          <a:ln>
            <a:noFill/>
          </a:ln>
        </p:spPr>
        <p:txBody>
          <a:bodyPr anchor="ctr">
            <a:normAutofit/>
          </a:bodyPr>
          <a:lstStyle>
            <a:lvl1pPr marL="3175" marR="0" indent="0" algn="ctr" defTabSz="914400" rtl="0" eaLnBrk="1" fontAlgn="auto" latinLnBrk="0" hangingPunct="1">
              <a:lnSpc>
                <a:spcPct val="100000"/>
              </a:lnSpc>
              <a:spcBef>
                <a:spcPts val="600"/>
              </a:spcBef>
              <a:spcAft>
                <a:spcPts val="0"/>
              </a:spcAft>
              <a:buClr>
                <a:schemeClr val="tx1">
                  <a:lumMod val="50000"/>
                  <a:lumOff val="50000"/>
                </a:schemeClr>
              </a:buClr>
              <a:buSzTx/>
              <a:buFont typeface="Arial" panose="020B0604020202020204" pitchFamily="34" charset="0"/>
              <a:buNone/>
              <a:tabLst/>
              <a:defRPr sz="800" b="0" i="1" baseline="0">
                <a:solidFill>
                  <a:schemeClr val="bg2">
                    <a:lumMod val="75000"/>
                  </a:schemeClr>
                </a:solidFill>
              </a:defRPr>
            </a:lvl1pPr>
          </a:lstStyle>
          <a:p>
            <a:pPr lvl="0"/>
            <a:r>
              <a:rPr lang="en-US"/>
              <a:t>Icon</a:t>
            </a:r>
          </a:p>
          <a:p>
            <a:pPr marL="3175" marR="0" lvl="0" indent="0" algn="ctr" defTabSz="914400" rtl="0" eaLnBrk="1" fontAlgn="auto" latinLnBrk="0" hangingPunct="1">
              <a:lnSpc>
                <a:spcPct val="100000"/>
              </a:lnSpc>
              <a:spcBef>
                <a:spcPts val="600"/>
              </a:spcBef>
              <a:spcAft>
                <a:spcPts val="0"/>
              </a:spcAft>
              <a:buClr>
                <a:schemeClr val="tx1">
                  <a:lumMod val="50000"/>
                  <a:lumOff val="50000"/>
                </a:schemeClr>
              </a:buClr>
              <a:buSzTx/>
              <a:buFont typeface="Arial" panose="020B0604020202020204" pitchFamily="34" charset="0"/>
              <a:buNone/>
              <a:tabLst/>
              <a:defRPr/>
            </a:pPr>
            <a:r>
              <a:rPr lang="en-US"/>
              <a:t>Remove Once Icon is Added</a:t>
            </a:r>
          </a:p>
        </p:txBody>
      </p:sp>
      <p:sp>
        <p:nvSpPr>
          <p:cNvPr id="19" name="Text Placeholder 19"/>
          <p:cNvSpPr>
            <a:spLocks noGrp="1"/>
          </p:cNvSpPr>
          <p:nvPr>
            <p:ph type="body" sz="quarter" idx="32" hasCustomPrompt="1"/>
          </p:nvPr>
        </p:nvSpPr>
        <p:spPr>
          <a:xfrm>
            <a:off x="601132" y="4984742"/>
            <a:ext cx="813600" cy="1463675"/>
          </a:xfrm>
          <a:noFill/>
          <a:ln>
            <a:noFill/>
          </a:ln>
        </p:spPr>
        <p:txBody>
          <a:bodyPr anchor="ctr">
            <a:normAutofit/>
          </a:bodyPr>
          <a:lstStyle>
            <a:lvl1pPr marL="3175" marR="0" indent="0" algn="ctr" defTabSz="914400" rtl="0" eaLnBrk="1" fontAlgn="auto" latinLnBrk="0" hangingPunct="1">
              <a:lnSpc>
                <a:spcPct val="100000"/>
              </a:lnSpc>
              <a:spcBef>
                <a:spcPts val="600"/>
              </a:spcBef>
              <a:spcAft>
                <a:spcPts val="0"/>
              </a:spcAft>
              <a:buClr>
                <a:schemeClr val="tx1">
                  <a:lumMod val="50000"/>
                  <a:lumOff val="50000"/>
                </a:schemeClr>
              </a:buClr>
              <a:buSzTx/>
              <a:buFont typeface="Arial" panose="020B0604020202020204" pitchFamily="34" charset="0"/>
              <a:buNone/>
              <a:tabLst/>
              <a:defRPr sz="800" b="0" i="1" baseline="0">
                <a:solidFill>
                  <a:schemeClr val="bg2">
                    <a:lumMod val="75000"/>
                  </a:schemeClr>
                </a:solidFill>
              </a:defRPr>
            </a:lvl1pPr>
          </a:lstStyle>
          <a:p>
            <a:pPr lvl="0"/>
            <a:r>
              <a:rPr lang="en-US"/>
              <a:t>Icon</a:t>
            </a:r>
          </a:p>
          <a:p>
            <a:pPr marL="3175" marR="0" lvl="0" indent="0" algn="ctr" defTabSz="914400" rtl="0" eaLnBrk="1" fontAlgn="auto" latinLnBrk="0" hangingPunct="1">
              <a:lnSpc>
                <a:spcPct val="100000"/>
              </a:lnSpc>
              <a:spcBef>
                <a:spcPts val="600"/>
              </a:spcBef>
              <a:spcAft>
                <a:spcPts val="0"/>
              </a:spcAft>
              <a:buClr>
                <a:schemeClr val="tx1">
                  <a:lumMod val="50000"/>
                  <a:lumOff val="50000"/>
                </a:schemeClr>
              </a:buClr>
              <a:buSzTx/>
              <a:buFont typeface="Arial" panose="020B0604020202020204" pitchFamily="34" charset="0"/>
              <a:buNone/>
              <a:tabLst/>
              <a:defRPr/>
            </a:pPr>
            <a:r>
              <a:rPr lang="en-US"/>
              <a:t>Remove Once Icon is Added</a:t>
            </a:r>
          </a:p>
        </p:txBody>
      </p:sp>
      <p:sp>
        <p:nvSpPr>
          <p:cNvPr id="4" name="Text Placeholder 3"/>
          <p:cNvSpPr>
            <a:spLocks noGrp="1"/>
          </p:cNvSpPr>
          <p:nvPr>
            <p:ph type="body" sz="quarter" idx="29" hasCustomPrompt="1"/>
          </p:nvPr>
        </p:nvSpPr>
        <p:spPr>
          <a:xfrm>
            <a:off x="1414732" y="1376605"/>
            <a:ext cx="1737696" cy="1463675"/>
          </a:xfrm>
        </p:spPr>
        <p:txBody>
          <a:bodyPr anchor="ctr">
            <a:noAutofit/>
          </a:bodyPr>
          <a:lstStyle>
            <a:lvl1pPr marL="3175" indent="0" algn="l">
              <a:buFontTx/>
              <a:buNone/>
              <a:defRPr sz="2000" i="1" baseline="0">
                <a:solidFill>
                  <a:schemeClr val="tx1"/>
                </a:solidFill>
              </a:defRPr>
            </a:lvl1pPr>
          </a:lstStyle>
          <a:p>
            <a:pPr lvl="0"/>
            <a:r>
              <a:rPr lang="en-US"/>
              <a:t>Content Header</a:t>
            </a:r>
          </a:p>
        </p:txBody>
      </p:sp>
      <p:sp>
        <p:nvSpPr>
          <p:cNvPr id="18" name="Text Placeholder 3"/>
          <p:cNvSpPr>
            <a:spLocks noGrp="1"/>
          </p:cNvSpPr>
          <p:nvPr>
            <p:ph type="body" sz="quarter" idx="31" hasCustomPrompt="1"/>
          </p:nvPr>
        </p:nvSpPr>
        <p:spPr>
          <a:xfrm>
            <a:off x="1414732" y="3194303"/>
            <a:ext cx="1737696" cy="1463675"/>
          </a:xfrm>
        </p:spPr>
        <p:txBody>
          <a:bodyPr anchor="ctr">
            <a:noAutofit/>
          </a:bodyPr>
          <a:lstStyle>
            <a:lvl1pPr marL="3175" indent="0" algn="l">
              <a:buFontTx/>
              <a:buNone/>
              <a:defRPr sz="2000" i="1" baseline="0">
                <a:solidFill>
                  <a:schemeClr val="tx1"/>
                </a:solidFill>
              </a:defRPr>
            </a:lvl1pPr>
          </a:lstStyle>
          <a:p>
            <a:pPr lvl="0"/>
            <a:r>
              <a:rPr lang="en-US"/>
              <a:t>Content Header</a:t>
            </a:r>
          </a:p>
        </p:txBody>
      </p:sp>
      <p:sp>
        <p:nvSpPr>
          <p:cNvPr id="20" name="Text Placeholder 3"/>
          <p:cNvSpPr>
            <a:spLocks noGrp="1"/>
          </p:cNvSpPr>
          <p:nvPr>
            <p:ph type="body" sz="quarter" idx="33" hasCustomPrompt="1"/>
          </p:nvPr>
        </p:nvSpPr>
        <p:spPr>
          <a:xfrm>
            <a:off x="1414732" y="4984743"/>
            <a:ext cx="1737696" cy="1463675"/>
          </a:xfrm>
        </p:spPr>
        <p:txBody>
          <a:bodyPr anchor="ctr">
            <a:noAutofit/>
          </a:bodyPr>
          <a:lstStyle>
            <a:lvl1pPr marL="3175" indent="0" algn="l">
              <a:buFontTx/>
              <a:buNone/>
              <a:defRPr sz="2000" i="1" baseline="0">
                <a:solidFill>
                  <a:schemeClr val="tx1"/>
                </a:solidFill>
              </a:defRPr>
            </a:lvl1pPr>
          </a:lstStyle>
          <a:p>
            <a:pPr lvl="0"/>
            <a:r>
              <a:rPr lang="en-US"/>
              <a:t>Content Header</a:t>
            </a:r>
          </a:p>
        </p:txBody>
      </p:sp>
      <p:sp>
        <p:nvSpPr>
          <p:cNvPr id="2" name="Title 1"/>
          <p:cNvSpPr>
            <a:spLocks noGrp="1"/>
          </p:cNvSpPr>
          <p:nvPr>
            <p:ph type="title" hasCustomPrompt="1"/>
          </p:nvPr>
        </p:nvSpPr>
        <p:spPr/>
        <p:txBody>
          <a:bodyPr vert="horz" anchor="ctr"/>
          <a:lstStyle>
            <a:lvl1pPr>
              <a:defRPr b="0">
                <a:solidFill>
                  <a:schemeClr val="tx1"/>
                </a:solidFill>
              </a:defRPr>
            </a:lvl1pPr>
          </a:lstStyle>
          <a:p>
            <a:r>
              <a:rPr lang="en-US"/>
              <a:t>Content Title Line 1</a:t>
            </a:r>
            <a:br>
              <a:rPr lang="en-US"/>
            </a:br>
            <a:r>
              <a:rPr lang="en-US"/>
              <a:t>Content Title Line Continued</a:t>
            </a:r>
          </a:p>
        </p:txBody>
      </p:sp>
      <p:sp>
        <p:nvSpPr>
          <p:cNvPr id="13"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14" name="Text Placeholder 10"/>
          <p:cNvSpPr>
            <a:spLocks noGrp="1"/>
          </p:cNvSpPr>
          <p:nvPr>
            <p:ph type="body" sz="quarter" idx="17"/>
          </p:nvPr>
        </p:nvSpPr>
        <p:spPr>
          <a:xfrm>
            <a:off x="3151517" y="1371600"/>
            <a:ext cx="8430883" cy="1465052"/>
          </a:xfrm>
          <a:ln>
            <a:noFill/>
          </a:ln>
        </p:spPr>
        <p:txBody>
          <a:bodyPr anchor="ctr">
            <a:noAutofit/>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0"/>
          <p:cNvSpPr>
            <a:spLocks noGrp="1"/>
          </p:cNvSpPr>
          <p:nvPr>
            <p:ph type="body" sz="quarter" idx="18"/>
          </p:nvPr>
        </p:nvSpPr>
        <p:spPr>
          <a:xfrm>
            <a:off x="3151517" y="3194938"/>
            <a:ext cx="8430883" cy="1463040"/>
          </a:xfrm>
          <a:ln>
            <a:noFill/>
          </a:ln>
        </p:spPr>
        <p:txBody>
          <a:bodyPr anchor="ctr">
            <a:noAutofit/>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0"/>
          <p:cNvSpPr>
            <a:spLocks noGrp="1"/>
          </p:cNvSpPr>
          <p:nvPr>
            <p:ph type="body" sz="quarter" idx="19"/>
          </p:nvPr>
        </p:nvSpPr>
        <p:spPr>
          <a:xfrm>
            <a:off x="3151517" y="4990381"/>
            <a:ext cx="8430883" cy="1463040"/>
          </a:xfrm>
          <a:ln>
            <a:noFill/>
          </a:ln>
        </p:spPr>
        <p:txBody>
          <a:bodyPr anchor="ctr">
            <a:noAutofit/>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p:cNvSpPr>
            <a:spLocks noGrp="1"/>
          </p:cNvSpPr>
          <p:nvPr>
            <p:ph type="body" sz="quarter" idx="14"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2">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22"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24" name="Graphic 23">
            <a:extLst>
              <a:ext uri="{FF2B5EF4-FFF2-40B4-BE49-F238E27FC236}">
                <a16:creationId xmlns:a16="http://schemas.microsoft.com/office/drawing/2014/main" id="{649DDDAE-420B-49B1-A0A6-E18343F11A0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20080841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192929100"/>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5"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pic>
        <p:nvPicPr>
          <p:cNvPr id="7" name="Graphic 6">
            <a:extLst>
              <a:ext uri="{FF2B5EF4-FFF2-40B4-BE49-F238E27FC236}">
                <a16:creationId xmlns:a16="http://schemas.microsoft.com/office/drawing/2014/main" id="{5DD8CBB5-720A-4D3E-9302-3581E36DBE0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
        <p:nvSpPr>
          <p:cNvPr id="8" name="Isosceles Triangle 7">
            <a:extLst>
              <a:ext uri="{FF2B5EF4-FFF2-40B4-BE49-F238E27FC236}">
                <a16:creationId xmlns:a16="http://schemas.microsoft.com/office/drawing/2014/main" id="{DD36AA67-2249-4498-A83A-109C81843B94}"/>
              </a:ext>
            </a:extLst>
          </p:cNvPr>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603749945"/>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Blank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192929100"/>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2119" y="1593"/>
                        <a:ext cx="2116" cy="1587"/>
                      </a:xfrm>
                      <a:prstGeom prst="rect">
                        <a:avLst/>
                      </a:prstGeom>
                    </p:spPr>
                  </p:pic>
                </p:oleObj>
              </mc:Fallback>
            </mc:AlternateContent>
          </a:graphicData>
        </a:graphic>
      </p:graphicFrame>
    </p:spTree>
    <p:extLst>
      <p:ext uri="{BB962C8B-B14F-4D97-AF65-F5344CB8AC3E}">
        <p14:creationId xmlns:p14="http://schemas.microsoft.com/office/powerpoint/2010/main" val="1911981504"/>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1761140143"/>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9" name="Object 8" hidden="1"/>
                      <p:cNvPicPr/>
                      <p:nvPr/>
                    </p:nvPicPr>
                    <p:blipFill>
                      <a:blip r:embed="rId4"/>
                      <a:stretch>
                        <a:fillRect/>
                      </a:stretch>
                    </p:blipFill>
                    <p:spPr>
                      <a:xfrm>
                        <a:off x="2119" y="1591"/>
                        <a:ext cx="2116" cy="1587"/>
                      </a:xfrm>
                      <a:prstGeom prst="rect">
                        <a:avLst/>
                      </a:prstGeom>
                    </p:spPr>
                  </p:pic>
                </p:oleObj>
              </mc:Fallback>
            </mc:AlternateContent>
          </a:graphicData>
        </a:graphic>
      </p:graphicFrame>
      <p:pic>
        <p:nvPicPr>
          <p:cNvPr id="31" name="Picture 30"/>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4358338" y="0"/>
            <a:ext cx="7833663" cy="1479691"/>
          </a:xfrm>
          <a:prstGeom prst="rect">
            <a:avLst/>
          </a:prstGeom>
        </p:spPr>
      </p:pic>
      <p:sp>
        <p:nvSpPr>
          <p:cNvPr id="55" name="Isosceles Triangle 34">
            <a:extLst>
              <a:ext uri="{FF2B5EF4-FFF2-40B4-BE49-F238E27FC236}">
                <a16:creationId xmlns:a16="http://schemas.microsoft.com/office/drawing/2014/main" id="{E94C9310-F41D-E14E-BD00-755814005A74}"/>
              </a:ext>
            </a:extLst>
          </p:cNvPr>
          <p:cNvSpPr/>
          <p:nvPr userDrawn="1"/>
        </p:nvSpPr>
        <p:spPr>
          <a:xfrm>
            <a:off x="4267200" y="0"/>
            <a:ext cx="7924800" cy="1481584"/>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3" name="Right Triangle 52">
            <a:extLst>
              <a:ext uri="{FF2B5EF4-FFF2-40B4-BE49-F238E27FC236}">
                <a16:creationId xmlns:a16="http://schemas.microsoft.com/office/drawing/2014/main" id="{FB6E33E6-376A-0341-BD75-69AEF908BC54}"/>
              </a:ext>
            </a:extLst>
          </p:cNvPr>
          <p:cNvSpPr/>
          <p:nvPr userDrawn="1"/>
        </p:nvSpPr>
        <p:spPr>
          <a:xfrm rot="5400000">
            <a:off x="3228839" y="-3228841"/>
            <a:ext cx="1479688" cy="7937376"/>
          </a:xfrm>
          <a:prstGeom prst="rtTriangle">
            <a:avLst/>
          </a:prstGeom>
          <a:gradFill flip="none" rotWithShape="1">
            <a:gsLst>
              <a:gs pos="0">
                <a:srgbClr val="3A4254"/>
              </a:gs>
              <a:gs pos="82000">
                <a:srgbClr val="789ABD">
                  <a:alpha val="75000"/>
                </a:srgbClr>
              </a:gs>
              <a:gs pos="53000">
                <a:srgbClr val="6287B3"/>
              </a:gs>
              <a:gs pos="100000">
                <a:srgbClr val="ABC3D6">
                  <a:alpha val="60000"/>
                </a:srgbClr>
              </a:gs>
            </a:gsLst>
            <a:lin ang="126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7" name="Rectangle 6">
            <a:hlinkClick r:id="rId6"/>
          </p:cNvPr>
          <p:cNvSpPr/>
          <p:nvPr userDrawn="1"/>
        </p:nvSpPr>
        <p:spPr>
          <a:xfrm>
            <a:off x="9373415" y="6568882"/>
            <a:ext cx="1307285" cy="194733"/>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r>
              <a:rPr lang="en-US" sz="1000" b="0" i="0">
                <a:solidFill>
                  <a:schemeClr val="bg2">
                    <a:lumMod val="65000"/>
                  </a:schemeClr>
                </a:solidFill>
              </a:rPr>
              <a:t>TRINITY</a:t>
            </a:r>
            <a:r>
              <a:rPr lang="en-US" sz="1000" b="0" i="0" baseline="0">
                <a:solidFill>
                  <a:schemeClr val="bg2">
                    <a:lumMod val="65000"/>
                  </a:schemeClr>
                </a:solidFill>
              </a:rPr>
              <a:t>, LLC</a:t>
            </a:r>
            <a:endParaRPr lang="en-US" sz="1000" b="0" i="0">
              <a:solidFill>
                <a:schemeClr val="bg2">
                  <a:lumMod val="65000"/>
                </a:schemeClr>
              </a:solidFill>
            </a:endParaRPr>
          </a:p>
        </p:txBody>
      </p:sp>
      <p:sp>
        <p:nvSpPr>
          <p:cNvPr id="51" name="Rectangle 50">
            <a:hlinkClick r:id="rId6"/>
          </p:cNvPr>
          <p:cNvSpPr/>
          <p:nvPr userDrawn="1"/>
        </p:nvSpPr>
        <p:spPr>
          <a:xfrm>
            <a:off x="1101343" y="6568881"/>
            <a:ext cx="2414291" cy="194734"/>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l"/>
            <a:r>
              <a:rPr lang="en-US" sz="900" b="0" i="0">
                <a:solidFill>
                  <a:schemeClr val="bg1">
                    <a:lumMod val="65000"/>
                  </a:schemeClr>
                </a:solidFill>
              </a:rPr>
              <a:t>TRINITYLIFESCIENCES.COM</a:t>
            </a:r>
          </a:p>
        </p:txBody>
      </p:sp>
      <p:pic>
        <p:nvPicPr>
          <p:cNvPr id="64" name="Graphic 63">
            <a:extLst>
              <a:ext uri="{FF2B5EF4-FFF2-40B4-BE49-F238E27FC236}">
                <a16:creationId xmlns:a16="http://schemas.microsoft.com/office/drawing/2014/main" id="{4771A41E-A1E1-4434-B8EA-22E5F4F82DDD}"/>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81372" y="788108"/>
            <a:ext cx="3229256" cy="777414"/>
          </a:xfrm>
          <a:prstGeom prst="rect">
            <a:avLst/>
          </a:prstGeom>
        </p:spPr>
      </p:pic>
      <p:pic>
        <p:nvPicPr>
          <p:cNvPr id="87" name="Picture 2" descr="https://blog.twitter.com/sites/all/themes/gazebo/img/twitter-bird-white-on-blue.png">
            <a:hlinkClick r:id="rId9"/>
            <a:extLst>
              <a:ext uri="{FF2B5EF4-FFF2-40B4-BE49-F238E27FC236}">
                <a16:creationId xmlns:a16="http://schemas.microsoft.com/office/drawing/2014/main" id="{49ABFB95-7990-B649-B98E-EBC44641BD1F}"/>
              </a:ext>
            </a:extLst>
          </p:cNvPr>
          <p:cNvPicPr>
            <a:picLocks noChangeAspect="1" noChangeArrowheads="1"/>
          </p:cNvPicPr>
          <p:nvPr userDrawn="1"/>
        </p:nvPicPr>
        <p:blipFill>
          <a:blip r:embed="rId10" cstate="print">
            <a:grayscl/>
            <a:extLst>
              <a:ext uri="{28A0092B-C50C-407E-A947-70E740481C1C}">
                <a14:useLocalDpi xmlns:a14="http://schemas.microsoft.com/office/drawing/2010/main" val="0"/>
              </a:ext>
            </a:extLst>
          </a:blip>
          <a:srcRect/>
          <a:stretch>
            <a:fillRect/>
          </a:stretch>
        </p:blipFill>
        <p:spPr bwMode="auto">
          <a:xfrm>
            <a:off x="10740702" y="6591397"/>
            <a:ext cx="163759" cy="163759"/>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4" descr="Image result for linkedin official logo">
            <a:hlinkClick r:id="rId11"/>
            <a:extLst>
              <a:ext uri="{FF2B5EF4-FFF2-40B4-BE49-F238E27FC236}">
                <a16:creationId xmlns:a16="http://schemas.microsoft.com/office/drawing/2014/main" id="{88CD604B-7B15-B746-9DD6-2FA0BDC908C9}"/>
              </a:ext>
            </a:extLst>
          </p:cNvPr>
          <p:cNvPicPr>
            <a:picLocks noChangeAspect="1" noChangeArrowheads="1"/>
          </p:cNvPicPr>
          <p:nvPr userDrawn="1"/>
        </p:nvPicPr>
        <p:blipFill rotWithShape="1">
          <a:blip r:embed="rId12" cstate="print">
            <a:grayscl/>
            <a:extLst>
              <a:ext uri="{28A0092B-C50C-407E-A947-70E740481C1C}">
                <a14:useLocalDpi xmlns:a14="http://schemas.microsoft.com/office/drawing/2010/main" val="0"/>
              </a:ext>
            </a:extLst>
          </a:blip>
          <a:srcRect l="8067" t="10407" r="10599" b="6547"/>
          <a:stretch/>
        </p:blipFill>
        <p:spPr bwMode="auto">
          <a:xfrm>
            <a:off x="10979559" y="6590564"/>
            <a:ext cx="161198" cy="16459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9" name="Picture 8" descr="https://facebookbrand.com/wp-content/themes/fb-branding/prj-fb-branding/assets/images/fb-art.png">
            <a:hlinkClick r:id="rId13"/>
            <a:extLst>
              <a:ext uri="{FF2B5EF4-FFF2-40B4-BE49-F238E27FC236}">
                <a16:creationId xmlns:a16="http://schemas.microsoft.com/office/drawing/2014/main" id="{50D77134-1206-824B-82B7-5F60A9FD0F17}"/>
              </a:ext>
            </a:extLst>
          </p:cNvPr>
          <p:cNvPicPr>
            <a:picLocks noChangeAspect="1" noChangeArrowheads="1"/>
          </p:cNvPicPr>
          <p:nvPr userDrawn="1"/>
        </p:nvPicPr>
        <p:blipFill rotWithShape="1">
          <a:blip r:embed="rId14" cstate="print">
            <a:grayscl/>
            <a:extLst>
              <a:ext uri="{28A0092B-C50C-407E-A947-70E740481C1C}">
                <a14:useLocalDpi xmlns:a14="http://schemas.microsoft.com/office/drawing/2010/main" val="0"/>
              </a:ext>
            </a:extLst>
          </a:blip>
          <a:srcRect l="7708" t="3031" r="8742" b="7720"/>
          <a:stretch/>
        </p:blipFill>
        <p:spPr bwMode="auto">
          <a:xfrm>
            <a:off x="11215854" y="6590564"/>
            <a:ext cx="154082" cy="164592"/>
          </a:xfrm>
          <a:prstGeom prst="rect">
            <a:avLst/>
          </a:prstGeom>
          <a:noFill/>
          <a:extLst>
            <a:ext uri="{909E8E84-426E-40DD-AFC4-6F175D3DCCD1}">
              <a14:hiddenFill xmlns:a14="http://schemas.microsoft.com/office/drawing/2010/main">
                <a:solidFill>
                  <a:srgbClr val="FFFFFF"/>
                </a:solidFill>
              </a14:hiddenFill>
            </a:ext>
          </a:extLst>
        </p:spPr>
      </p:pic>
      <p:pic>
        <p:nvPicPr>
          <p:cNvPr id="49" name="Graphic 48">
            <a:extLst>
              <a:ext uri="{FF2B5EF4-FFF2-40B4-BE49-F238E27FC236}">
                <a16:creationId xmlns:a16="http://schemas.microsoft.com/office/drawing/2014/main" id="{C1BC4DAE-D695-4420-A09D-C8F6E03B9779}"/>
              </a:ext>
            </a:extLst>
          </p:cNvPr>
          <p:cNvPicPr>
            <a:picLocks noChangeAspect="1"/>
          </p:cNvPicPr>
          <p:nvPr userDrawn="1"/>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51496" y="6405894"/>
            <a:ext cx="152400" cy="330200"/>
          </a:xfrm>
          <a:prstGeom prst="rect">
            <a:avLst/>
          </a:prstGeom>
        </p:spPr>
      </p:pic>
      <p:grpSp>
        <p:nvGrpSpPr>
          <p:cNvPr id="66" name="Group 65">
            <a:extLst>
              <a:ext uri="{FF2B5EF4-FFF2-40B4-BE49-F238E27FC236}">
                <a16:creationId xmlns:a16="http://schemas.microsoft.com/office/drawing/2014/main" id="{76EAD314-1FBB-4CB5-9A1D-83E6CA099C47}"/>
              </a:ext>
            </a:extLst>
          </p:cNvPr>
          <p:cNvGrpSpPr>
            <a:grpSpLocks/>
          </p:cNvGrpSpPr>
          <p:nvPr userDrawn="1"/>
        </p:nvGrpSpPr>
        <p:grpSpPr>
          <a:xfrm>
            <a:off x="2999292" y="3815825"/>
            <a:ext cx="6193416" cy="3042175"/>
            <a:chOff x="571501" y="1987465"/>
            <a:chExt cx="8000999" cy="3891134"/>
          </a:xfrm>
          <a:solidFill>
            <a:srgbClr val="F3F2F2"/>
          </a:solidFill>
        </p:grpSpPr>
        <p:sp>
          <p:nvSpPr>
            <p:cNvPr id="74" name="Freeform 7">
              <a:extLst>
                <a:ext uri="{FF2B5EF4-FFF2-40B4-BE49-F238E27FC236}">
                  <a16:creationId xmlns:a16="http://schemas.microsoft.com/office/drawing/2014/main" id="{663254B2-23E7-4281-A9DE-24C49895315B}"/>
                </a:ext>
              </a:extLst>
            </p:cNvPr>
            <p:cNvSpPr>
              <a:spLocks/>
            </p:cNvSpPr>
            <p:nvPr/>
          </p:nvSpPr>
          <p:spPr bwMode="auto">
            <a:xfrm>
              <a:off x="2714626" y="5784894"/>
              <a:ext cx="214313" cy="93705"/>
            </a:xfrm>
            <a:custGeom>
              <a:avLst/>
              <a:gdLst>
                <a:gd name="T0" fmla="*/ 75 w 135"/>
                <a:gd name="T1" fmla="*/ 0 h 59"/>
                <a:gd name="T2" fmla="*/ 85 w 135"/>
                <a:gd name="T3" fmla="*/ 2 h 59"/>
                <a:gd name="T4" fmla="*/ 91 w 135"/>
                <a:gd name="T5" fmla="*/ 11 h 59"/>
                <a:gd name="T6" fmla="*/ 96 w 135"/>
                <a:gd name="T7" fmla="*/ 25 h 59"/>
                <a:gd name="T8" fmla="*/ 116 w 135"/>
                <a:gd name="T9" fmla="*/ 36 h 59"/>
                <a:gd name="T10" fmla="*/ 135 w 135"/>
                <a:gd name="T11" fmla="*/ 40 h 59"/>
                <a:gd name="T12" fmla="*/ 131 w 135"/>
                <a:gd name="T13" fmla="*/ 52 h 59"/>
                <a:gd name="T14" fmla="*/ 116 w 135"/>
                <a:gd name="T15" fmla="*/ 52 h 59"/>
                <a:gd name="T16" fmla="*/ 110 w 135"/>
                <a:gd name="T17" fmla="*/ 46 h 59"/>
                <a:gd name="T18" fmla="*/ 104 w 135"/>
                <a:gd name="T19" fmla="*/ 52 h 59"/>
                <a:gd name="T20" fmla="*/ 93 w 135"/>
                <a:gd name="T21" fmla="*/ 59 h 59"/>
                <a:gd name="T22" fmla="*/ 85 w 135"/>
                <a:gd name="T23" fmla="*/ 59 h 59"/>
                <a:gd name="T24" fmla="*/ 77 w 135"/>
                <a:gd name="T25" fmla="*/ 57 h 59"/>
                <a:gd name="T26" fmla="*/ 68 w 135"/>
                <a:gd name="T27" fmla="*/ 52 h 59"/>
                <a:gd name="T28" fmla="*/ 52 w 135"/>
                <a:gd name="T29" fmla="*/ 50 h 59"/>
                <a:gd name="T30" fmla="*/ 33 w 135"/>
                <a:gd name="T31" fmla="*/ 36 h 59"/>
                <a:gd name="T32" fmla="*/ 20 w 135"/>
                <a:gd name="T33" fmla="*/ 27 h 59"/>
                <a:gd name="T34" fmla="*/ 0 w 135"/>
                <a:gd name="T35" fmla="*/ 6 h 59"/>
                <a:gd name="T36" fmla="*/ 12 w 135"/>
                <a:gd name="T37" fmla="*/ 11 h 59"/>
                <a:gd name="T38" fmla="*/ 33 w 135"/>
                <a:gd name="T39" fmla="*/ 23 h 59"/>
                <a:gd name="T40" fmla="*/ 50 w 135"/>
                <a:gd name="T41" fmla="*/ 29 h 59"/>
                <a:gd name="T42" fmla="*/ 56 w 135"/>
                <a:gd name="T43" fmla="*/ 21 h 59"/>
                <a:gd name="T44" fmla="*/ 62 w 135"/>
                <a:gd name="T45" fmla="*/ 8 h 59"/>
                <a:gd name="T46" fmla="*/ 75 w 135"/>
                <a:gd name="T4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59">
                  <a:moveTo>
                    <a:pt x="75" y="0"/>
                  </a:moveTo>
                  <a:lnTo>
                    <a:pt x="85" y="2"/>
                  </a:lnTo>
                  <a:lnTo>
                    <a:pt x="91" y="11"/>
                  </a:lnTo>
                  <a:lnTo>
                    <a:pt x="96" y="25"/>
                  </a:lnTo>
                  <a:lnTo>
                    <a:pt x="116" y="36"/>
                  </a:lnTo>
                  <a:lnTo>
                    <a:pt x="135" y="40"/>
                  </a:lnTo>
                  <a:lnTo>
                    <a:pt x="131" y="52"/>
                  </a:lnTo>
                  <a:lnTo>
                    <a:pt x="116" y="52"/>
                  </a:lnTo>
                  <a:lnTo>
                    <a:pt x="110" y="46"/>
                  </a:lnTo>
                  <a:lnTo>
                    <a:pt x="104" y="52"/>
                  </a:lnTo>
                  <a:lnTo>
                    <a:pt x="93" y="59"/>
                  </a:lnTo>
                  <a:lnTo>
                    <a:pt x="85" y="59"/>
                  </a:lnTo>
                  <a:lnTo>
                    <a:pt x="77" y="57"/>
                  </a:lnTo>
                  <a:lnTo>
                    <a:pt x="68" y="52"/>
                  </a:lnTo>
                  <a:lnTo>
                    <a:pt x="52" y="50"/>
                  </a:lnTo>
                  <a:lnTo>
                    <a:pt x="33" y="36"/>
                  </a:lnTo>
                  <a:lnTo>
                    <a:pt x="20" y="27"/>
                  </a:lnTo>
                  <a:lnTo>
                    <a:pt x="0" y="6"/>
                  </a:lnTo>
                  <a:lnTo>
                    <a:pt x="12" y="11"/>
                  </a:lnTo>
                  <a:lnTo>
                    <a:pt x="33" y="23"/>
                  </a:lnTo>
                  <a:lnTo>
                    <a:pt x="50" y="29"/>
                  </a:lnTo>
                  <a:lnTo>
                    <a:pt x="56" y="21"/>
                  </a:lnTo>
                  <a:lnTo>
                    <a:pt x="62" y="8"/>
                  </a:lnTo>
                  <a:lnTo>
                    <a:pt x="7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9">
              <a:extLst>
                <a:ext uri="{FF2B5EF4-FFF2-40B4-BE49-F238E27FC236}">
                  <a16:creationId xmlns:a16="http://schemas.microsoft.com/office/drawing/2014/main" id="{E056408E-CA85-488F-898C-A12AB071CB31}"/>
                </a:ext>
              </a:extLst>
            </p:cNvPr>
            <p:cNvSpPr>
              <a:spLocks/>
            </p:cNvSpPr>
            <p:nvPr/>
          </p:nvSpPr>
          <p:spPr bwMode="auto">
            <a:xfrm>
              <a:off x="3014663" y="5745189"/>
              <a:ext cx="74613" cy="30177"/>
            </a:xfrm>
            <a:custGeom>
              <a:avLst/>
              <a:gdLst>
                <a:gd name="T0" fmla="*/ 38 w 47"/>
                <a:gd name="T1" fmla="*/ 0 h 19"/>
                <a:gd name="T2" fmla="*/ 47 w 47"/>
                <a:gd name="T3" fmla="*/ 8 h 19"/>
                <a:gd name="T4" fmla="*/ 46 w 47"/>
                <a:gd name="T5" fmla="*/ 13 h 19"/>
                <a:gd name="T6" fmla="*/ 24 w 47"/>
                <a:gd name="T7" fmla="*/ 19 h 19"/>
                <a:gd name="T8" fmla="*/ 21 w 47"/>
                <a:gd name="T9" fmla="*/ 11 h 19"/>
                <a:gd name="T10" fmla="*/ 9 w 47"/>
                <a:gd name="T11" fmla="*/ 19 h 19"/>
                <a:gd name="T12" fmla="*/ 0 w 47"/>
                <a:gd name="T13" fmla="*/ 11 h 19"/>
                <a:gd name="T14" fmla="*/ 17 w 47"/>
                <a:gd name="T15" fmla="*/ 2 h 19"/>
                <a:gd name="T16" fmla="*/ 30 w 47"/>
                <a:gd name="T17" fmla="*/ 6 h 19"/>
                <a:gd name="T18" fmla="*/ 38 w 47"/>
                <a:gd name="T1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19">
                  <a:moveTo>
                    <a:pt x="38" y="0"/>
                  </a:moveTo>
                  <a:lnTo>
                    <a:pt x="47" y="8"/>
                  </a:lnTo>
                  <a:lnTo>
                    <a:pt x="46" y="13"/>
                  </a:lnTo>
                  <a:lnTo>
                    <a:pt x="24" y="19"/>
                  </a:lnTo>
                  <a:lnTo>
                    <a:pt x="21" y="11"/>
                  </a:lnTo>
                  <a:lnTo>
                    <a:pt x="9" y="19"/>
                  </a:lnTo>
                  <a:lnTo>
                    <a:pt x="0" y="11"/>
                  </a:lnTo>
                  <a:lnTo>
                    <a:pt x="17" y="2"/>
                  </a:lnTo>
                  <a:lnTo>
                    <a:pt x="30" y="6"/>
                  </a:lnTo>
                  <a:lnTo>
                    <a:pt x="38"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11">
              <a:extLst>
                <a:ext uri="{FF2B5EF4-FFF2-40B4-BE49-F238E27FC236}">
                  <a16:creationId xmlns:a16="http://schemas.microsoft.com/office/drawing/2014/main" id="{5F6A418A-F690-4341-9EB8-44857EF0D0FF}"/>
                </a:ext>
              </a:extLst>
            </p:cNvPr>
            <p:cNvSpPr>
              <a:spLocks/>
            </p:cNvSpPr>
            <p:nvPr/>
          </p:nvSpPr>
          <p:spPr bwMode="auto">
            <a:xfrm>
              <a:off x="5886451" y="5672131"/>
              <a:ext cx="42863" cy="30177"/>
            </a:xfrm>
            <a:custGeom>
              <a:avLst/>
              <a:gdLst>
                <a:gd name="T0" fmla="*/ 4 w 27"/>
                <a:gd name="T1" fmla="*/ 0 h 19"/>
                <a:gd name="T2" fmla="*/ 13 w 27"/>
                <a:gd name="T3" fmla="*/ 6 h 19"/>
                <a:gd name="T4" fmla="*/ 25 w 27"/>
                <a:gd name="T5" fmla="*/ 8 h 19"/>
                <a:gd name="T6" fmla="*/ 27 w 27"/>
                <a:gd name="T7" fmla="*/ 11 h 19"/>
                <a:gd name="T8" fmla="*/ 23 w 27"/>
                <a:gd name="T9" fmla="*/ 19 h 19"/>
                <a:gd name="T10" fmla="*/ 2 w 27"/>
                <a:gd name="T11" fmla="*/ 19 h 19"/>
                <a:gd name="T12" fmla="*/ 0 w 27"/>
                <a:gd name="T13" fmla="*/ 11 h 19"/>
                <a:gd name="T14" fmla="*/ 4 w 27"/>
                <a:gd name="T15" fmla="*/ 4 h 19"/>
                <a:gd name="T16" fmla="*/ 4 w 27"/>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19">
                  <a:moveTo>
                    <a:pt x="4" y="0"/>
                  </a:moveTo>
                  <a:lnTo>
                    <a:pt x="13" y="6"/>
                  </a:lnTo>
                  <a:lnTo>
                    <a:pt x="25" y="8"/>
                  </a:lnTo>
                  <a:lnTo>
                    <a:pt x="27" y="11"/>
                  </a:lnTo>
                  <a:lnTo>
                    <a:pt x="23" y="19"/>
                  </a:lnTo>
                  <a:lnTo>
                    <a:pt x="2" y="19"/>
                  </a:lnTo>
                  <a:lnTo>
                    <a:pt x="0" y="11"/>
                  </a:lnTo>
                  <a:lnTo>
                    <a:pt x="4" y="4"/>
                  </a:lnTo>
                  <a:lnTo>
                    <a:pt x="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13">
              <a:extLst>
                <a:ext uri="{FF2B5EF4-FFF2-40B4-BE49-F238E27FC236}">
                  <a16:creationId xmlns:a16="http://schemas.microsoft.com/office/drawing/2014/main" id="{02A29AC2-6A93-4F91-8909-0BD8FA55F2D8}"/>
                </a:ext>
              </a:extLst>
            </p:cNvPr>
            <p:cNvSpPr>
              <a:spLocks/>
            </p:cNvSpPr>
            <p:nvPr/>
          </p:nvSpPr>
          <p:spPr bwMode="auto">
            <a:xfrm>
              <a:off x="7567612" y="5452957"/>
              <a:ext cx="82550" cy="82587"/>
            </a:xfrm>
            <a:custGeom>
              <a:avLst/>
              <a:gdLst>
                <a:gd name="T0" fmla="*/ 0 w 52"/>
                <a:gd name="T1" fmla="*/ 0 h 52"/>
                <a:gd name="T2" fmla="*/ 10 w 52"/>
                <a:gd name="T3" fmla="*/ 2 h 52"/>
                <a:gd name="T4" fmla="*/ 23 w 52"/>
                <a:gd name="T5" fmla="*/ 9 h 52"/>
                <a:gd name="T6" fmla="*/ 31 w 52"/>
                <a:gd name="T7" fmla="*/ 5 h 52"/>
                <a:gd name="T8" fmla="*/ 42 w 52"/>
                <a:gd name="T9" fmla="*/ 2 h 52"/>
                <a:gd name="T10" fmla="*/ 52 w 52"/>
                <a:gd name="T11" fmla="*/ 4 h 52"/>
                <a:gd name="T12" fmla="*/ 52 w 52"/>
                <a:gd name="T13" fmla="*/ 25 h 52"/>
                <a:gd name="T14" fmla="*/ 48 w 52"/>
                <a:gd name="T15" fmla="*/ 29 h 52"/>
                <a:gd name="T16" fmla="*/ 46 w 52"/>
                <a:gd name="T17" fmla="*/ 42 h 52"/>
                <a:gd name="T18" fmla="*/ 40 w 52"/>
                <a:gd name="T19" fmla="*/ 40 h 52"/>
                <a:gd name="T20" fmla="*/ 31 w 52"/>
                <a:gd name="T21" fmla="*/ 52 h 52"/>
                <a:gd name="T22" fmla="*/ 27 w 52"/>
                <a:gd name="T23" fmla="*/ 50 h 52"/>
                <a:gd name="T24" fmla="*/ 17 w 52"/>
                <a:gd name="T25" fmla="*/ 50 h 52"/>
                <a:gd name="T26" fmla="*/ 10 w 52"/>
                <a:gd name="T27" fmla="*/ 34 h 52"/>
                <a:gd name="T28" fmla="*/ 8 w 52"/>
                <a:gd name="T29" fmla="*/ 23 h 52"/>
                <a:gd name="T30" fmla="*/ 0 w 52"/>
                <a:gd name="T31" fmla="*/ 9 h 52"/>
                <a:gd name="T32" fmla="*/ 0 w 52"/>
                <a:gd name="T3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52">
                  <a:moveTo>
                    <a:pt x="0" y="0"/>
                  </a:moveTo>
                  <a:lnTo>
                    <a:pt x="10" y="2"/>
                  </a:lnTo>
                  <a:lnTo>
                    <a:pt x="23" y="9"/>
                  </a:lnTo>
                  <a:lnTo>
                    <a:pt x="31" y="5"/>
                  </a:lnTo>
                  <a:lnTo>
                    <a:pt x="42" y="2"/>
                  </a:lnTo>
                  <a:lnTo>
                    <a:pt x="52" y="4"/>
                  </a:lnTo>
                  <a:lnTo>
                    <a:pt x="52" y="25"/>
                  </a:lnTo>
                  <a:lnTo>
                    <a:pt x="48" y="29"/>
                  </a:lnTo>
                  <a:lnTo>
                    <a:pt x="46" y="42"/>
                  </a:lnTo>
                  <a:lnTo>
                    <a:pt x="40" y="40"/>
                  </a:lnTo>
                  <a:lnTo>
                    <a:pt x="31" y="52"/>
                  </a:lnTo>
                  <a:lnTo>
                    <a:pt x="27" y="50"/>
                  </a:lnTo>
                  <a:lnTo>
                    <a:pt x="17" y="50"/>
                  </a:lnTo>
                  <a:lnTo>
                    <a:pt x="10" y="34"/>
                  </a:lnTo>
                  <a:lnTo>
                    <a:pt x="8" y="23"/>
                  </a:lnTo>
                  <a:lnTo>
                    <a:pt x="0" y="9"/>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15">
              <a:extLst>
                <a:ext uri="{FF2B5EF4-FFF2-40B4-BE49-F238E27FC236}">
                  <a16:creationId xmlns:a16="http://schemas.microsoft.com/office/drawing/2014/main" id="{44F9E3A7-EF85-49B5-A382-86A8A45B30F2}"/>
                </a:ext>
              </a:extLst>
            </p:cNvPr>
            <p:cNvSpPr>
              <a:spLocks/>
            </p:cNvSpPr>
            <p:nvPr/>
          </p:nvSpPr>
          <p:spPr bwMode="auto">
            <a:xfrm>
              <a:off x="8051800" y="5449780"/>
              <a:ext cx="171450" cy="163587"/>
            </a:xfrm>
            <a:custGeom>
              <a:avLst/>
              <a:gdLst>
                <a:gd name="T0" fmla="*/ 87 w 108"/>
                <a:gd name="T1" fmla="*/ 0 h 103"/>
                <a:gd name="T2" fmla="*/ 90 w 108"/>
                <a:gd name="T3" fmla="*/ 6 h 103"/>
                <a:gd name="T4" fmla="*/ 94 w 108"/>
                <a:gd name="T5" fmla="*/ 13 h 103"/>
                <a:gd name="T6" fmla="*/ 104 w 108"/>
                <a:gd name="T7" fmla="*/ 6 h 103"/>
                <a:gd name="T8" fmla="*/ 108 w 108"/>
                <a:gd name="T9" fmla="*/ 15 h 103"/>
                <a:gd name="T10" fmla="*/ 108 w 108"/>
                <a:gd name="T11" fmla="*/ 21 h 103"/>
                <a:gd name="T12" fmla="*/ 102 w 108"/>
                <a:gd name="T13" fmla="*/ 27 h 103"/>
                <a:gd name="T14" fmla="*/ 92 w 108"/>
                <a:gd name="T15" fmla="*/ 42 h 103"/>
                <a:gd name="T16" fmla="*/ 85 w 108"/>
                <a:gd name="T17" fmla="*/ 48 h 103"/>
                <a:gd name="T18" fmla="*/ 90 w 108"/>
                <a:gd name="T19" fmla="*/ 55 h 103"/>
                <a:gd name="T20" fmla="*/ 81 w 108"/>
                <a:gd name="T21" fmla="*/ 55 h 103"/>
                <a:gd name="T22" fmla="*/ 69 w 108"/>
                <a:gd name="T23" fmla="*/ 63 h 103"/>
                <a:gd name="T24" fmla="*/ 64 w 108"/>
                <a:gd name="T25" fmla="*/ 73 h 103"/>
                <a:gd name="T26" fmla="*/ 58 w 108"/>
                <a:gd name="T27" fmla="*/ 92 h 103"/>
                <a:gd name="T28" fmla="*/ 46 w 108"/>
                <a:gd name="T29" fmla="*/ 100 h 103"/>
                <a:gd name="T30" fmla="*/ 39 w 108"/>
                <a:gd name="T31" fmla="*/ 103 h 103"/>
                <a:gd name="T32" fmla="*/ 25 w 108"/>
                <a:gd name="T33" fmla="*/ 103 h 103"/>
                <a:gd name="T34" fmla="*/ 18 w 108"/>
                <a:gd name="T35" fmla="*/ 98 h 103"/>
                <a:gd name="T36" fmla="*/ 2 w 108"/>
                <a:gd name="T37" fmla="*/ 96 h 103"/>
                <a:gd name="T38" fmla="*/ 0 w 108"/>
                <a:gd name="T39" fmla="*/ 90 h 103"/>
                <a:gd name="T40" fmla="*/ 8 w 108"/>
                <a:gd name="T41" fmla="*/ 78 h 103"/>
                <a:gd name="T42" fmla="*/ 23 w 108"/>
                <a:gd name="T43" fmla="*/ 61 h 103"/>
                <a:gd name="T44" fmla="*/ 35 w 108"/>
                <a:gd name="T45" fmla="*/ 57 h 103"/>
                <a:gd name="T46" fmla="*/ 44 w 108"/>
                <a:gd name="T47" fmla="*/ 52 h 103"/>
                <a:gd name="T48" fmla="*/ 56 w 108"/>
                <a:gd name="T49" fmla="*/ 42 h 103"/>
                <a:gd name="T50" fmla="*/ 64 w 108"/>
                <a:gd name="T51" fmla="*/ 32 h 103"/>
                <a:gd name="T52" fmla="*/ 71 w 108"/>
                <a:gd name="T53" fmla="*/ 21 h 103"/>
                <a:gd name="T54" fmla="*/ 75 w 108"/>
                <a:gd name="T55" fmla="*/ 17 h 103"/>
                <a:gd name="T56" fmla="*/ 77 w 108"/>
                <a:gd name="T57" fmla="*/ 7 h 103"/>
                <a:gd name="T58" fmla="*/ 87 w 108"/>
                <a:gd name="T5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103">
                  <a:moveTo>
                    <a:pt x="87" y="0"/>
                  </a:moveTo>
                  <a:lnTo>
                    <a:pt x="90" y="6"/>
                  </a:lnTo>
                  <a:lnTo>
                    <a:pt x="94" y="13"/>
                  </a:lnTo>
                  <a:lnTo>
                    <a:pt x="104" y="6"/>
                  </a:lnTo>
                  <a:lnTo>
                    <a:pt x="108" y="15"/>
                  </a:lnTo>
                  <a:lnTo>
                    <a:pt x="108" y="21"/>
                  </a:lnTo>
                  <a:lnTo>
                    <a:pt x="102" y="27"/>
                  </a:lnTo>
                  <a:lnTo>
                    <a:pt x="92" y="42"/>
                  </a:lnTo>
                  <a:lnTo>
                    <a:pt x="85" y="48"/>
                  </a:lnTo>
                  <a:lnTo>
                    <a:pt x="90" y="55"/>
                  </a:lnTo>
                  <a:lnTo>
                    <a:pt x="81" y="55"/>
                  </a:lnTo>
                  <a:lnTo>
                    <a:pt x="69" y="63"/>
                  </a:lnTo>
                  <a:lnTo>
                    <a:pt x="64" y="73"/>
                  </a:lnTo>
                  <a:lnTo>
                    <a:pt x="58" y="92"/>
                  </a:lnTo>
                  <a:lnTo>
                    <a:pt x="46" y="100"/>
                  </a:lnTo>
                  <a:lnTo>
                    <a:pt x="39" y="103"/>
                  </a:lnTo>
                  <a:lnTo>
                    <a:pt x="25" y="103"/>
                  </a:lnTo>
                  <a:lnTo>
                    <a:pt x="18" y="98"/>
                  </a:lnTo>
                  <a:lnTo>
                    <a:pt x="2" y="96"/>
                  </a:lnTo>
                  <a:lnTo>
                    <a:pt x="0" y="90"/>
                  </a:lnTo>
                  <a:lnTo>
                    <a:pt x="8" y="78"/>
                  </a:lnTo>
                  <a:lnTo>
                    <a:pt x="23" y="61"/>
                  </a:lnTo>
                  <a:lnTo>
                    <a:pt x="35" y="57"/>
                  </a:lnTo>
                  <a:lnTo>
                    <a:pt x="44" y="52"/>
                  </a:lnTo>
                  <a:lnTo>
                    <a:pt x="56" y="42"/>
                  </a:lnTo>
                  <a:lnTo>
                    <a:pt x="64" y="32"/>
                  </a:lnTo>
                  <a:lnTo>
                    <a:pt x="71" y="21"/>
                  </a:lnTo>
                  <a:lnTo>
                    <a:pt x="75" y="17"/>
                  </a:lnTo>
                  <a:lnTo>
                    <a:pt x="77" y="7"/>
                  </a:lnTo>
                  <a:lnTo>
                    <a:pt x="8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17">
              <a:extLst>
                <a:ext uri="{FF2B5EF4-FFF2-40B4-BE49-F238E27FC236}">
                  <a16:creationId xmlns:a16="http://schemas.microsoft.com/office/drawing/2014/main" id="{67D40441-2608-44DC-A4EB-A4ACF587E895}"/>
                </a:ext>
              </a:extLst>
            </p:cNvPr>
            <p:cNvSpPr>
              <a:spLocks/>
            </p:cNvSpPr>
            <p:nvPr/>
          </p:nvSpPr>
          <p:spPr bwMode="auto">
            <a:xfrm>
              <a:off x="8186737" y="5294135"/>
              <a:ext cx="127000" cy="185822"/>
            </a:xfrm>
            <a:custGeom>
              <a:avLst/>
              <a:gdLst>
                <a:gd name="T0" fmla="*/ 5 w 80"/>
                <a:gd name="T1" fmla="*/ 0 h 117"/>
                <a:gd name="T2" fmla="*/ 13 w 80"/>
                <a:gd name="T3" fmla="*/ 10 h 117"/>
                <a:gd name="T4" fmla="*/ 25 w 80"/>
                <a:gd name="T5" fmla="*/ 13 h 117"/>
                <a:gd name="T6" fmla="*/ 27 w 80"/>
                <a:gd name="T7" fmla="*/ 27 h 117"/>
                <a:gd name="T8" fmla="*/ 36 w 80"/>
                <a:gd name="T9" fmla="*/ 44 h 117"/>
                <a:gd name="T10" fmla="*/ 36 w 80"/>
                <a:gd name="T11" fmla="*/ 34 h 117"/>
                <a:gd name="T12" fmla="*/ 44 w 80"/>
                <a:gd name="T13" fmla="*/ 38 h 117"/>
                <a:gd name="T14" fmla="*/ 46 w 80"/>
                <a:gd name="T15" fmla="*/ 50 h 117"/>
                <a:gd name="T16" fmla="*/ 57 w 80"/>
                <a:gd name="T17" fmla="*/ 56 h 117"/>
                <a:gd name="T18" fmla="*/ 67 w 80"/>
                <a:gd name="T19" fmla="*/ 56 h 117"/>
                <a:gd name="T20" fmla="*/ 75 w 80"/>
                <a:gd name="T21" fmla="*/ 50 h 117"/>
                <a:gd name="T22" fmla="*/ 80 w 80"/>
                <a:gd name="T23" fmla="*/ 52 h 117"/>
                <a:gd name="T24" fmla="*/ 76 w 80"/>
                <a:gd name="T25" fmla="*/ 65 h 117"/>
                <a:gd name="T26" fmla="*/ 75 w 80"/>
                <a:gd name="T27" fmla="*/ 77 h 117"/>
                <a:gd name="T28" fmla="*/ 65 w 80"/>
                <a:gd name="T29" fmla="*/ 77 h 117"/>
                <a:gd name="T30" fmla="*/ 59 w 80"/>
                <a:gd name="T31" fmla="*/ 81 h 117"/>
                <a:gd name="T32" fmla="*/ 61 w 80"/>
                <a:gd name="T33" fmla="*/ 86 h 117"/>
                <a:gd name="T34" fmla="*/ 59 w 80"/>
                <a:gd name="T35" fmla="*/ 90 h 117"/>
                <a:gd name="T36" fmla="*/ 55 w 80"/>
                <a:gd name="T37" fmla="*/ 98 h 117"/>
                <a:gd name="T38" fmla="*/ 48 w 80"/>
                <a:gd name="T39" fmla="*/ 111 h 117"/>
                <a:gd name="T40" fmla="*/ 36 w 80"/>
                <a:gd name="T41" fmla="*/ 117 h 117"/>
                <a:gd name="T42" fmla="*/ 34 w 80"/>
                <a:gd name="T43" fmla="*/ 113 h 117"/>
                <a:gd name="T44" fmla="*/ 27 w 80"/>
                <a:gd name="T45" fmla="*/ 111 h 117"/>
                <a:gd name="T46" fmla="*/ 36 w 80"/>
                <a:gd name="T47" fmla="*/ 98 h 117"/>
                <a:gd name="T48" fmla="*/ 30 w 80"/>
                <a:gd name="T49" fmla="*/ 86 h 117"/>
                <a:gd name="T50" fmla="*/ 15 w 80"/>
                <a:gd name="T51" fmla="*/ 82 h 117"/>
                <a:gd name="T52" fmla="*/ 17 w 80"/>
                <a:gd name="T53" fmla="*/ 77 h 117"/>
                <a:gd name="T54" fmla="*/ 27 w 80"/>
                <a:gd name="T55" fmla="*/ 71 h 117"/>
                <a:gd name="T56" fmla="*/ 28 w 80"/>
                <a:gd name="T57" fmla="*/ 57 h 117"/>
                <a:gd name="T58" fmla="*/ 28 w 80"/>
                <a:gd name="T59" fmla="*/ 48 h 117"/>
                <a:gd name="T60" fmla="*/ 23 w 80"/>
                <a:gd name="T61" fmla="*/ 36 h 117"/>
                <a:gd name="T62" fmla="*/ 25 w 80"/>
                <a:gd name="T63" fmla="*/ 34 h 117"/>
                <a:gd name="T64" fmla="*/ 17 w 80"/>
                <a:gd name="T65" fmla="*/ 27 h 117"/>
                <a:gd name="T66" fmla="*/ 5 w 80"/>
                <a:gd name="T67" fmla="*/ 11 h 117"/>
                <a:gd name="T68" fmla="*/ 0 w 80"/>
                <a:gd name="T69" fmla="*/ 2 h 117"/>
                <a:gd name="T70" fmla="*/ 5 w 80"/>
                <a:gd name="T7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117">
                  <a:moveTo>
                    <a:pt x="5" y="0"/>
                  </a:moveTo>
                  <a:lnTo>
                    <a:pt x="13" y="10"/>
                  </a:lnTo>
                  <a:lnTo>
                    <a:pt x="25" y="13"/>
                  </a:lnTo>
                  <a:lnTo>
                    <a:pt x="27" y="27"/>
                  </a:lnTo>
                  <a:lnTo>
                    <a:pt x="36" y="44"/>
                  </a:lnTo>
                  <a:lnTo>
                    <a:pt x="36" y="34"/>
                  </a:lnTo>
                  <a:lnTo>
                    <a:pt x="44" y="38"/>
                  </a:lnTo>
                  <a:lnTo>
                    <a:pt x="46" y="50"/>
                  </a:lnTo>
                  <a:lnTo>
                    <a:pt x="57" y="56"/>
                  </a:lnTo>
                  <a:lnTo>
                    <a:pt x="67" y="56"/>
                  </a:lnTo>
                  <a:lnTo>
                    <a:pt x="75" y="50"/>
                  </a:lnTo>
                  <a:lnTo>
                    <a:pt x="80" y="52"/>
                  </a:lnTo>
                  <a:lnTo>
                    <a:pt x="76" y="65"/>
                  </a:lnTo>
                  <a:lnTo>
                    <a:pt x="75" y="77"/>
                  </a:lnTo>
                  <a:lnTo>
                    <a:pt x="65" y="77"/>
                  </a:lnTo>
                  <a:lnTo>
                    <a:pt x="59" y="81"/>
                  </a:lnTo>
                  <a:lnTo>
                    <a:pt x="61" y="86"/>
                  </a:lnTo>
                  <a:lnTo>
                    <a:pt x="59" y="90"/>
                  </a:lnTo>
                  <a:lnTo>
                    <a:pt x="55" y="98"/>
                  </a:lnTo>
                  <a:lnTo>
                    <a:pt x="48" y="111"/>
                  </a:lnTo>
                  <a:lnTo>
                    <a:pt x="36" y="117"/>
                  </a:lnTo>
                  <a:lnTo>
                    <a:pt x="34" y="113"/>
                  </a:lnTo>
                  <a:lnTo>
                    <a:pt x="27" y="111"/>
                  </a:lnTo>
                  <a:lnTo>
                    <a:pt x="36" y="98"/>
                  </a:lnTo>
                  <a:lnTo>
                    <a:pt x="30" y="86"/>
                  </a:lnTo>
                  <a:lnTo>
                    <a:pt x="15" y="82"/>
                  </a:lnTo>
                  <a:lnTo>
                    <a:pt x="17" y="77"/>
                  </a:lnTo>
                  <a:lnTo>
                    <a:pt x="27" y="71"/>
                  </a:lnTo>
                  <a:lnTo>
                    <a:pt x="28" y="57"/>
                  </a:lnTo>
                  <a:lnTo>
                    <a:pt x="28" y="48"/>
                  </a:lnTo>
                  <a:lnTo>
                    <a:pt x="23" y="36"/>
                  </a:lnTo>
                  <a:lnTo>
                    <a:pt x="25" y="34"/>
                  </a:lnTo>
                  <a:lnTo>
                    <a:pt x="17" y="27"/>
                  </a:lnTo>
                  <a:lnTo>
                    <a:pt x="5" y="11"/>
                  </a:lnTo>
                  <a:lnTo>
                    <a:pt x="0" y="2"/>
                  </a:lnTo>
                  <a:lnTo>
                    <a:pt x="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19">
              <a:extLst>
                <a:ext uri="{FF2B5EF4-FFF2-40B4-BE49-F238E27FC236}">
                  <a16:creationId xmlns:a16="http://schemas.microsoft.com/office/drawing/2014/main" id="{9D5E61F1-EA51-49AA-9530-15917BC2D744}"/>
                </a:ext>
              </a:extLst>
            </p:cNvPr>
            <p:cNvSpPr>
              <a:spLocks/>
            </p:cNvSpPr>
            <p:nvPr/>
          </p:nvSpPr>
          <p:spPr bwMode="auto">
            <a:xfrm>
              <a:off x="7997825" y="4952668"/>
              <a:ext cx="66675" cy="52412"/>
            </a:xfrm>
            <a:custGeom>
              <a:avLst/>
              <a:gdLst>
                <a:gd name="T0" fmla="*/ 0 w 42"/>
                <a:gd name="T1" fmla="*/ 0 h 33"/>
                <a:gd name="T2" fmla="*/ 4 w 42"/>
                <a:gd name="T3" fmla="*/ 0 h 33"/>
                <a:gd name="T4" fmla="*/ 13 w 42"/>
                <a:gd name="T5" fmla="*/ 6 h 33"/>
                <a:gd name="T6" fmla="*/ 19 w 42"/>
                <a:gd name="T7" fmla="*/ 10 h 33"/>
                <a:gd name="T8" fmla="*/ 23 w 42"/>
                <a:gd name="T9" fmla="*/ 15 h 33"/>
                <a:gd name="T10" fmla="*/ 34 w 42"/>
                <a:gd name="T11" fmla="*/ 23 h 33"/>
                <a:gd name="T12" fmla="*/ 42 w 42"/>
                <a:gd name="T13" fmla="*/ 29 h 33"/>
                <a:gd name="T14" fmla="*/ 36 w 42"/>
                <a:gd name="T15" fmla="*/ 33 h 33"/>
                <a:gd name="T16" fmla="*/ 30 w 42"/>
                <a:gd name="T17" fmla="*/ 29 h 33"/>
                <a:gd name="T18" fmla="*/ 19 w 42"/>
                <a:gd name="T19" fmla="*/ 23 h 33"/>
                <a:gd name="T20" fmla="*/ 11 w 42"/>
                <a:gd name="T21" fmla="*/ 15 h 33"/>
                <a:gd name="T22" fmla="*/ 2 w 42"/>
                <a:gd name="T23" fmla="*/ 6 h 33"/>
                <a:gd name="T24" fmla="*/ 0 w 42"/>
                <a:gd name="T2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33">
                  <a:moveTo>
                    <a:pt x="0" y="0"/>
                  </a:moveTo>
                  <a:lnTo>
                    <a:pt x="4" y="0"/>
                  </a:lnTo>
                  <a:lnTo>
                    <a:pt x="13" y="6"/>
                  </a:lnTo>
                  <a:lnTo>
                    <a:pt x="19" y="10"/>
                  </a:lnTo>
                  <a:lnTo>
                    <a:pt x="23" y="15"/>
                  </a:lnTo>
                  <a:lnTo>
                    <a:pt x="34" y="23"/>
                  </a:lnTo>
                  <a:lnTo>
                    <a:pt x="42" y="29"/>
                  </a:lnTo>
                  <a:lnTo>
                    <a:pt x="36" y="33"/>
                  </a:lnTo>
                  <a:lnTo>
                    <a:pt x="30" y="29"/>
                  </a:lnTo>
                  <a:lnTo>
                    <a:pt x="19" y="23"/>
                  </a:lnTo>
                  <a:lnTo>
                    <a:pt x="11" y="15"/>
                  </a:lnTo>
                  <a:lnTo>
                    <a:pt x="2" y="6"/>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1">
              <a:extLst>
                <a:ext uri="{FF2B5EF4-FFF2-40B4-BE49-F238E27FC236}">
                  <a16:creationId xmlns:a16="http://schemas.microsoft.com/office/drawing/2014/main" id="{AD8B6016-B835-426F-8C95-20FDF7487ED4}"/>
                </a:ext>
              </a:extLst>
            </p:cNvPr>
            <p:cNvSpPr>
              <a:spLocks/>
            </p:cNvSpPr>
            <p:nvPr/>
          </p:nvSpPr>
          <p:spPr bwMode="auto">
            <a:xfrm>
              <a:off x="8289925" y="4889139"/>
              <a:ext cx="30163" cy="20647"/>
            </a:xfrm>
            <a:custGeom>
              <a:avLst/>
              <a:gdLst>
                <a:gd name="T0" fmla="*/ 13 w 19"/>
                <a:gd name="T1" fmla="*/ 0 h 13"/>
                <a:gd name="T2" fmla="*/ 19 w 19"/>
                <a:gd name="T3" fmla="*/ 4 h 13"/>
                <a:gd name="T4" fmla="*/ 17 w 19"/>
                <a:gd name="T5" fmla="*/ 11 h 13"/>
                <a:gd name="T6" fmla="*/ 10 w 19"/>
                <a:gd name="T7" fmla="*/ 13 h 13"/>
                <a:gd name="T8" fmla="*/ 0 w 19"/>
                <a:gd name="T9" fmla="*/ 11 h 13"/>
                <a:gd name="T10" fmla="*/ 0 w 19"/>
                <a:gd name="T11" fmla="*/ 5 h 13"/>
                <a:gd name="T12" fmla="*/ 4 w 19"/>
                <a:gd name="T13" fmla="*/ 2 h 13"/>
                <a:gd name="T14" fmla="*/ 11 w 19"/>
                <a:gd name="T15" fmla="*/ 4 h 13"/>
                <a:gd name="T16" fmla="*/ 13 w 19"/>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3">
                  <a:moveTo>
                    <a:pt x="13" y="0"/>
                  </a:moveTo>
                  <a:lnTo>
                    <a:pt x="19" y="4"/>
                  </a:lnTo>
                  <a:lnTo>
                    <a:pt x="17" y="11"/>
                  </a:lnTo>
                  <a:lnTo>
                    <a:pt x="10" y="13"/>
                  </a:lnTo>
                  <a:lnTo>
                    <a:pt x="0" y="11"/>
                  </a:lnTo>
                  <a:lnTo>
                    <a:pt x="0" y="5"/>
                  </a:lnTo>
                  <a:lnTo>
                    <a:pt x="4" y="2"/>
                  </a:lnTo>
                  <a:lnTo>
                    <a:pt x="11" y="4"/>
                  </a:lnTo>
                  <a:lnTo>
                    <a:pt x="1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3">
              <a:extLst>
                <a:ext uri="{FF2B5EF4-FFF2-40B4-BE49-F238E27FC236}">
                  <a16:creationId xmlns:a16="http://schemas.microsoft.com/office/drawing/2014/main" id="{CCE699DB-94F8-4DFE-896B-D499DB72C99E}"/>
                </a:ext>
              </a:extLst>
            </p:cNvPr>
            <p:cNvSpPr>
              <a:spLocks/>
            </p:cNvSpPr>
            <p:nvPr/>
          </p:nvSpPr>
          <p:spPr bwMode="auto">
            <a:xfrm>
              <a:off x="8316912" y="4860551"/>
              <a:ext cx="36513" cy="22235"/>
            </a:xfrm>
            <a:custGeom>
              <a:avLst/>
              <a:gdLst>
                <a:gd name="T0" fmla="*/ 23 w 23"/>
                <a:gd name="T1" fmla="*/ 0 h 14"/>
                <a:gd name="T2" fmla="*/ 21 w 23"/>
                <a:gd name="T3" fmla="*/ 8 h 14"/>
                <a:gd name="T4" fmla="*/ 12 w 23"/>
                <a:gd name="T5" fmla="*/ 10 h 14"/>
                <a:gd name="T6" fmla="*/ 2 w 23"/>
                <a:gd name="T7" fmla="*/ 14 h 14"/>
                <a:gd name="T8" fmla="*/ 0 w 23"/>
                <a:gd name="T9" fmla="*/ 8 h 14"/>
                <a:gd name="T10" fmla="*/ 8 w 23"/>
                <a:gd name="T11" fmla="*/ 6 h 14"/>
                <a:gd name="T12" fmla="*/ 12 w 23"/>
                <a:gd name="T13" fmla="*/ 4 h 14"/>
                <a:gd name="T14" fmla="*/ 21 w 23"/>
                <a:gd name="T15" fmla="*/ 0 h 14"/>
                <a:gd name="T16" fmla="*/ 23 w 23"/>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4">
                  <a:moveTo>
                    <a:pt x="23" y="0"/>
                  </a:moveTo>
                  <a:lnTo>
                    <a:pt x="21" y="8"/>
                  </a:lnTo>
                  <a:lnTo>
                    <a:pt x="12" y="10"/>
                  </a:lnTo>
                  <a:lnTo>
                    <a:pt x="2" y="14"/>
                  </a:lnTo>
                  <a:lnTo>
                    <a:pt x="0" y="8"/>
                  </a:lnTo>
                  <a:lnTo>
                    <a:pt x="8" y="6"/>
                  </a:lnTo>
                  <a:lnTo>
                    <a:pt x="12" y="4"/>
                  </a:lnTo>
                  <a:lnTo>
                    <a:pt x="21" y="0"/>
                  </a:lnTo>
                  <a:lnTo>
                    <a:pt x="2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5">
              <a:extLst>
                <a:ext uri="{FF2B5EF4-FFF2-40B4-BE49-F238E27FC236}">
                  <a16:creationId xmlns:a16="http://schemas.microsoft.com/office/drawing/2014/main" id="{8A2C392D-B6C4-4E2A-8333-B8459082A89D}"/>
                </a:ext>
              </a:extLst>
            </p:cNvPr>
            <p:cNvSpPr>
              <a:spLocks/>
            </p:cNvSpPr>
            <p:nvPr/>
          </p:nvSpPr>
          <p:spPr bwMode="auto">
            <a:xfrm>
              <a:off x="8064500" y="4857375"/>
              <a:ext cx="15875" cy="15882"/>
            </a:xfrm>
            <a:custGeom>
              <a:avLst/>
              <a:gdLst>
                <a:gd name="T0" fmla="*/ 0 w 10"/>
                <a:gd name="T1" fmla="*/ 0 h 10"/>
                <a:gd name="T2" fmla="*/ 10 w 10"/>
                <a:gd name="T3" fmla="*/ 8 h 10"/>
                <a:gd name="T4" fmla="*/ 6 w 10"/>
                <a:gd name="T5" fmla="*/ 10 h 10"/>
                <a:gd name="T6" fmla="*/ 0 w 10"/>
                <a:gd name="T7" fmla="*/ 2 h 10"/>
                <a:gd name="T8" fmla="*/ 0 w 10"/>
                <a:gd name="T9" fmla="*/ 0 h 10"/>
              </a:gdLst>
              <a:ahLst/>
              <a:cxnLst>
                <a:cxn ang="0">
                  <a:pos x="T0" y="T1"/>
                </a:cxn>
                <a:cxn ang="0">
                  <a:pos x="T2" y="T3"/>
                </a:cxn>
                <a:cxn ang="0">
                  <a:pos x="T4" y="T5"/>
                </a:cxn>
                <a:cxn ang="0">
                  <a:pos x="T6" y="T7"/>
                </a:cxn>
                <a:cxn ang="0">
                  <a:pos x="T8" y="T9"/>
                </a:cxn>
              </a:cxnLst>
              <a:rect l="0" t="0" r="r" b="b"/>
              <a:pathLst>
                <a:path w="10" h="10">
                  <a:moveTo>
                    <a:pt x="0" y="0"/>
                  </a:moveTo>
                  <a:lnTo>
                    <a:pt x="10" y="8"/>
                  </a:lnTo>
                  <a:lnTo>
                    <a:pt x="6" y="10"/>
                  </a:lnTo>
                  <a:lnTo>
                    <a:pt x="0" y="2"/>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7">
              <a:extLst>
                <a:ext uri="{FF2B5EF4-FFF2-40B4-BE49-F238E27FC236}">
                  <a16:creationId xmlns:a16="http://schemas.microsoft.com/office/drawing/2014/main" id="{5D3D3563-941C-4937-9AFA-047BA3ABBDE4}"/>
                </a:ext>
              </a:extLst>
            </p:cNvPr>
            <p:cNvSpPr>
              <a:spLocks/>
            </p:cNvSpPr>
            <p:nvPr/>
          </p:nvSpPr>
          <p:spPr bwMode="auto">
            <a:xfrm>
              <a:off x="8054975" y="4827199"/>
              <a:ext cx="12700" cy="28588"/>
            </a:xfrm>
            <a:custGeom>
              <a:avLst/>
              <a:gdLst>
                <a:gd name="T0" fmla="*/ 0 w 8"/>
                <a:gd name="T1" fmla="*/ 0 h 18"/>
                <a:gd name="T2" fmla="*/ 6 w 8"/>
                <a:gd name="T3" fmla="*/ 4 h 18"/>
                <a:gd name="T4" fmla="*/ 8 w 8"/>
                <a:gd name="T5" fmla="*/ 18 h 18"/>
                <a:gd name="T6" fmla="*/ 6 w 8"/>
                <a:gd name="T7" fmla="*/ 16 h 18"/>
                <a:gd name="T8" fmla="*/ 2 w 8"/>
                <a:gd name="T9" fmla="*/ 16 h 18"/>
                <a:gd name="T10" fmla="*/ 0 w 8"/>
                <a:gd name="T11" fmla="*/ 12 h 18"/>
                <a:gd name="T12" fmla="*/ 0 w 8"/>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0" y="0"/>
                  </a:moveTo>
                  <a:lnTo>
                    <a:pt x="6" y="4"/>
                  </a:lnTo>
                  <a:lnTo>
                    <a:pt x="8" y="18"/>
                  </a:lnTo>
                  <a:lnTo>
                    <a:pt x="6" y="16"/>
                  </a:lnTo>
                  <a:lnTo>
                    <a:pt x="2" y="16"/>
                  </a:lnTo>
                  <a:lnTo>
                    <a:pt x="0" y="12"/>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9">
              <a:extLst>
                <a:ext uri="{FF2B5EF4-FFF2-40B4-BE49-F238E27FC236}">
                  <a16:creationId xmlns:a16="http://schemas.microsoft.com/office/drawing/2014/main" id="{047E89A7-B979-45AE-8528-DF3D7B883873}"/>
                </a:ext>
              </a:extLst>
            </p:cNvPr>
            <p:cNvSpPr>
              <a:spLocks/>
            </p:cNvSpPr>
            <p:nvPr/>
          </p:nvSpPr>
          <p:spPr bwMode="auto">
            <a:xfrm>
              <a:off x="5326063" y="4770023"/>
              <a:ext cx="158750" cy="311291"/>
            </a:xfrm>
            <a:custGeom>
              <a:avLst/>
              <a:gdLst>
                <a:gd name="T0" fmla="*/ 82 w 100"/>
                <a:gd name="T1" fmla="*/ 0 h 196"/>
                <a:gd name="T2" fmla="*/ 86 w 100"/>
                <a:gd name="T3" fmla="*/ 6 h 196"/>
                <a:gd name="T4" fmla="*/ 92 w 100"/>
                <a:gd name="T5" fmla="*/ 11 h 196"/>
                <a:gd name="T6" fmla="*/ 94 w 100"/>
                <a:gd name="T7" fmla="*/ 21 h 196"/>
                <a:gd name="T8" fmla="*/ 96 w 100"/>
                <a:gd name="T9" fmla="*/ 38 h 196"/>
                <a:gd name="T10" fmla="*/ 100 w 100"/>
                <a:gd name="T11" fmla="*/ 44 h 196"/>
                <a:gd name="T12" fmla="*/ 98 w 100"/>
                <a:gd name="T13" fmla="*/ 52 h 196"/>
                <a:gd name="T14" fmla="*/ 96 w 100"/>
                <a:gd name="T15" fmla="*/ 57 h 196"/>
                <a:gd name="T16" fmla="*/ 92 w 100"/>
                <a:gd name="T17" fmla="*/ 48 h 196"/>
                <a:gd name="T18" fmla="*/ 88 w 100"/>
                <a:gd name="T19" fmla="*/ 52 h 196"/>
                <a:gd name="T20" fmla="*/ 92 w 100"/>
                <a:gd name="T21" fmla="*/ 63 h 196"/>
                <a:gd name="T22" fmla="*/ 90 w 100"/>
                <a:gd name="T23" fmla="*/ 67 h 196"/>
                <a:gd name="T24" fmla="*/ 86 w 100"/>
                <a:gd name="T25" fmla="*/ 71 h 196"/>
                <a:gd name="T26" fmla="*/ 84 w 100"/>
                <a:gd name="T27" fmla="*/ 84 h 196"/>
                <a:gd name="T28" fmla="*/ 81 w 100"/>
                <a:gd name="T29" fmla="*/ 102 h 196"/>
                <a:gd name="T30" fmla="*/ 73 w 100"/>
                <a:gd name="T31" fmla="*/ 121 h 196"/>
                <a:gd name="T32" fmla="*/ 63 w 100"/>
                <a:gd name="T33" fmla="*/ 148 h 196"/>
                <a:gd name="T34" fmla="*/ 59 w 100"/>
                <a:gd name="T35" fmla="*/ 169 h 196"/>
                <a:gd name="T36" fmla="*/ 54 w 100"/>
                <a:gd name="T37" fmla="*/ 184 h 196"/>
                <a:gd name="T38" fmla="*/ 40 w 100"/>
                <a:gd name="T39" fmla="*/ 190 h 196"/>
                <a:gd name="T40" fmla="*/ 29 w 100"/>
                <a:gd name="T41" fmla="*/ 196 h 196"/>
                <a:gd name="T42" fmla="*/ 21 w 100"/>
                <a:gd name="T43" fmla="*/ 192 h 196"/>
                <a:gd name="T44" fmla="*/ 11 w 100"/>
                <a:gd name="T45" fmla="*/ 186 h 196"/>
                <a:gd name="T46" fmla="*/ 6 w 100"/>
                <a:gd name="T47" fmla="*/ 178 h 196"/>
                <a:gd name="T48" fmla="*/ 6 w 100"/>
                <a:gd name="T49" fmla="*/ 165 h 196"/>
                <a:gd name="T50" fmla="*/ 0 w 100"/>
                <a:gd name="T51" fmla="*/ 153 h 196"/>
                <a:gd name="T52" fmla="*/ 0 w 100"/>
                <a:gd name="T53" fmla="*/ 142 h 196"/>
                <a:gd name="T54" fmla="*/ 0 w 100"/>
                <a:gd name="T55" fmla="*/ 132 h 196"/>
                <a:gd name="T56" fmla="*/ 8 w 100"/>
                <a:gd name="T57" fmla="*/ 130 h 196"/>
                <a:gd name="T58" fmla="*/ 8 w 100"/>
                <a:gd name="T59" fmla="*/ 128 h 196"/>
                <a:gd name="T60" fmla="*/ 8 w 100"/>
                <a:gd name="T61" fmla="*/ 125 h 196"/>
                <a:gd name="T62" fmla="*/ 15 w 100"/>
                <a:gd name="T63" fmla="*/ 115 h 196"/>
                <a:gd name="T64" fmla="*/ 15 w 100"/>
                <a:gd name="T65" fmla="*/ 103 h 196"/>
                <a:gd name="T66" fmla="*/ 13 w 100"/>
                <a:gd name="T67" fmla="*/ 98 h 196"/>
                <a:gd name="T68" fmla="*/ 11 w 100"/>
                <a:gd name="T69" fmla="*/ 90 h 196"/>
                <a:gd name="T70" fmla="*/ 10 w 100"/>
                <a:gd name="T71" fmla="*/ 77 h 196"/>
                <a:gd name="T72" fmla="*/ 15 w 100"/>
                <a:gd name="T73" fmla="*/ 67 h 196"/>
                <a:gd name="T74" fmla="*/ 15 w 100"/>
                <a:gd name="T75" fmla="*/ 59 h 196"/>
                <a:gd name="T76" fmla="*/ 23 w 100"/>
                <a:gd name="T77" fmla="*/ 57 h 196"/>
                <a:gd name="T78" fmla="*/ 31 w 100"/>
                <a:gd name="T79" fmla="*/ 57 h 196"/>
                <a:gd name="T80" fmla="*/ 36 w 100"/>
                <a:gd name="T81" fmla="*/ 54 h 196"/>
                <a:gd name="T82" fmla="*/ 40 w 100"/>
                <a:gd name="T83" fmla="*/ 54 h 196"/>
                <a:gd name="T84" fmla="*/ 50 w 100"/>
                <a:gd name="T85" fmla="*/ 44 h 196"/>
                <a:gd name="T86" fmla="*/ 61 w 100"/>
                <a:gd name="T87" fmla="*/ 36 h 196"/>
                <a:gd name="T88" fmla="*/ 65 w 100"/>
                <a:gd name="T89" fmla="*/ 29 h 196"/>
                <a:gd name="T90" fmla="*/ 63 w 100"/>
                <a:gd name="T91" fmla="*/ 23 h 196"/>
                <a:gd name="T92" fmla="*/ 69 w 100"/>
                <a:gd name="T93" fmla="*/ 25 h 196"/>
                <a:gd name="T94" fmla="*/ 79 w 100"/>
                <a:gd name="T95" fmla="*/ 15 h 196"/>
                <a:gd name="T96" fmla="*/ 79 w 100"/>
                <a:gd name="T97" fmla="*/ 6 h 196"/>
                <a:gd name="T98" fmla="*/ 82 w 100"/>
                <a:gd name="T9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 h="196">
                  <a:moveTo>
                    <a:pt x="82" y="0"/>
                  </a:moveTo>
                  <a:lnTo>
                    <a:pt x="86" y="6"/>
                  </a:lnTo>
                  <a:lnTo>
                    <a:pt x="92" y="11"/>
                  </a:lnTo>
                  <a:lnTo>
                    <a:pt x="94" y="21"/>
                  </a:lnTo>
                  <a:lnTo>
                    <a:pt x="96" y="38"/>
                  </a:lnTo>
                  <a:lnTo>
                    <a:pt x="100" y="44"/>
                  </a:lnTo>
                  <a:lnTo>
                    <a:pt x="98" y="52"/>
                  </a:lnTo>
                  <a:lnTo>
                    <a:pt x="96" y="57"/>
                  </a:lnTo>
                  <a:lnTo>
                    <a:pt x="92" y="48"/>
                  </a:lnTo>
                  <a:lnTo>
                    <a:pt x="88" y="52"/>
                  </a:lnTo>
                  <a:lnTo>
                    <a:pt x="92" y="63"/>
                  </a:lnTo>
                  <a:lnTo>
                    <a:pt x="90" y="67"/>
                  </a:lnTo>
                  <a:lnTo>
                    <a:pt x="86" y="71"/>
                  </a:lnTo>
                  <a:lnTo>
                    <a:pt x="84" y="84"/>
                  </a:lnTo>
                  <a:lnTo>
                    <a:pt x="81" y="102"/>
                  </a:lnTo>
                  <a:lnTo>
                    <a:pt x="73" y="121"/>
                  </a:lnTo>
                  <a:lnTo>
                    <a:pt x="63" y="148"/>
                  </a:lnTo>
                  <a:lnTo>
                    <a:pt x="59" y="169"/>
                  </a:lnTo>
                  <a:lnTo>
                    <a:pt x="54" y="184"/>
                  </a:lnTo>
                  <a:lnTo>
                    <a:pt x="40" y="190"/>
                  </a:lnTo>
                  <a:lnTo>
                    <a:pt x="29" y="196"/>
                  </a:lnTo>
                  <a:lnTo>
                    <a:pt x="21" y="192"/>
                  </a:lnTo>
                  <a:lnTo>
                    <a:pt x="11" y="186"/>
                  </a:lnTo>
                  <a:lnTo>
                    <a:pt x="6" y="178"/>
                  </a:lnTo>
                  <a:lnTo>
                    <a:pt x="6" y="165"/>
                  </a:lnTo>
                  <a:lnTo>
                    <a:pt x="0" y="153"/>
                  </a:lnTo>
                  <a:lnTo>
                    <a:pt x="0" y="142"/>
                  </a:lnTo>
                  <a:lnTo>
                    <a:pt x="0" y="132"/>
                  </a:lnTo>
                  <a:lnTo>
                    <a:pt x="8" y="130"/>
                  </a:lnTo>
                  <a:lnTo>
                    <a:pt x="8" y="128"/>
                  </a:lnTo>
                  <a:lnTo>
                    <a:pt x="8" y="125"/>
                  </a:lnTo>
                  <a:lnTo>
                    <a:pt x="15" y="115"/>
                  </a:lnTo>
                  <a:lnTo>
                    <a:pt x="15" y="103"/>
                  </a:lnTo>
                  <a:lnTo>
                    <a:pt x="13" y="98"/>
                  </a:lnTo>
                  <a:lnTo>
                    <a:pt x="11" y="90"/>
                  </a:lnTo>
                  <a:lnTo>
                    <a:pt x="10" y="77"/>
                  </a:lnTo>
                  <a:lnTo>
                    <a:pt x="15" y="67"/>
                  </a:lnTo>
                  <a:lnTo>
                    <a:pt x="15" y="59"/>
                  </a:lnTo>
                  <a:lnTo>
                    <a:pt x="23" y="57"/>
                  </a:lnTo>
                  <a:lnTo>
                    <a:pt x="31" y="57"/>
                  </a:lnTo>
                  <a:lnTo>
                    <a:pt x="36" y="54"/>
                  </a:lnTo>
                  <a:lnTo>
                    <a:pt x="40" y="54"/>
                  </a:lnTo>
                  <a:lnTo>
                    <a:pt x="50" y="44"/>
                  </a:lnTo>
                  <a:lnTo>
                    <a:pt x="61" y="36"/>
                  </a:lnTo>
                  <a:lnTo>
                    <a:pt x="65" y="29"/>
                  </a:lnTo>
                  <a:lnTo>
                    <a:pt x="63" y="23"/>
                  </a:lnTo>
                  <a:lnTo>
                    <a:pt x="69" y="25"/>
                  </a:lnTo>
                  <a:lnTo>
                    <a:pt x="79" y="15"/>
                  </a:lnTo>
                  <a:lnTo>
                    <a:pt x="79" y="6"/>
                  </a:lnTo>
                  <a:lnTo>
                    <a:pt x="8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31">
              <a:extLst>
                <a:ext uri="{FF2B5EF4-FFF2-40B4-BE49-F238E27FC236}">
                  <a16:creationId xmlns:a16="http://schemas.microsoft.com/office/drawing/2014/main" id="{DE6112E0-3BB9-4042-8317-0B4FF84E8B09}"/>
                </a:ext>
              </a:extLst>
            </p:cNvPr>
            <p:cNvSpPr>
              <a:spLocks/>
            </p:cNvSpPr>
            <p:nvPr/>
          </p:nvSpPr>
          <p:spPr bwMode="auto">
            <a:xfrm>
              <a:off x="6873875" y="4739847"/>
              <a:ext cx="892175" cy="673404"/>
            </a:xfrm>
            <a:custGeom>
              <a:avLst/>
              <a:gdLst>
                <a:gd name="T0" fmla="*/ 416 w 562"/>
                <a:gd name="T1" fmla="*/ 17 h 424"/>
                <a:gd name="T2" fmla="*/ 420 w 562"/>
                <a:gd name="T3" fmla="*/ 44 h 424"/>
                <a:gd name="T4" fmla="*/ 447 w 562"/>
                <a:gd name="T5" fmla="*/ 59 h 424"/>
                <a:gd name="T6" fmla="*/ 454 w 562"/>
                <a:gd name="T7" fmla="*/ 88 h 424"/>
                <a:gd name="T8" fmla="*/ 476 w 562"/>
                <a:gd name="T9" fmla="*/ 124 h 424"/>
                <a:gd name="T10" fmla="*/ 502 w 562"/>
                <a:gd name="T11" fmla="*/ 151 h 424"/>
                <a:gd name="T12" fmla="*/ 522 w 562"/>
                <a:gd name="T13" fmla="*/ 167 h 424"/>
                <a:gd name="T14" fmla="*/ 552 w 562"/>
                <a:gd name="T15" fmla="*/ 209 h 424"/>
                <a:gd name="T16" fmla="*/ 562 w 562"/>
                <a:gd name="T17" fmla="*/ 253 h 424"/>
                <a:gd name="T18" fmla="*/ 554 w 562"/>
                <a:gd name="T19" fmla="*/ 293 h 424"/>
                <a:gd name="T20" fmla="*/ 531 w 562"/>
                <a:gd name="T21" fmla="*/ 339 h 424"/>
                <a:gd name="T22" fmla="*/ 512 w 562"/>
                <a:gd name="T23" fmla="*/ 382 h 424"/>
                <a:gd name="T24" fmla="*/ 489 w 562"/>
                <a:gd name="T25" fmla="*/ 403 h 424"/>
                <a:gd name="T26" fmla="*/ 449 w 562"/>
                <a:gd name="T27" fmla="*/ 416 h 424"/>
                <a:gd name="T28" fmla="*/ 422 w 562"/>
                <a:gd name="T29" fmla="*/ 420 h 424"/>
                <a:gd name="T30" fmla="*/ 380 w 562"/>
                <a:gd name="T31" fmla="*/ 406 h 424"/>
                <a:gd name="T32" fmla="*/ 359 w 562"/>
                <a:gd name="T33" fmla="*/ 368 h 424"/>
                <a:gd name="T34" fmla="*/ 341 w 562"/>
                <a:gd name="T35" fmla="*/ 360 h 424"/>
                <a:gd name="T36" fmla="*/ 341 w 562"/>
                <a:gd name="T37" fmla="*/ 335 h 424"/>
                <a:gd name="T38" fmla="*/ 314 w 562"/>
                <a:gd name="T39" fmla="*/ 357 h 424"/>
                <a:gd name="T40" fmla="*/ 289 w 562"/>
                <a:gd name="T41" fmla="*/ 324 h 424"/>
                <a:gd name="T42" fmla="*/ 251 w 562"/>
                <a:gd name="T43" fmla="*/ 303 h 424"/>
                <a:gd name="T44" fmla="*/ 180 w 562"/>
                <a:gd name="T45" fmla="*/ 314 h 424"/>
                <a:gd name="T46" fmla="*/ 144 w 562"/>
                <a:gd name="T47" fmla="*/ 341 h 424"/>
                <a:gd name="T48" fmla="*/ 101 w 562"/>
                <a:gd name="T49" fmla="*/ 341 h 424"/>
                <a:gd name="T50" fmla="*/ 73 w 562"/>
                <a:gd name="T51" fmla="*/ 355 h 424"/>
                <a:gd name="T52" fmla="*/ 30 w 562"/>
                <a:gd name="T53" fmla="*/ 347 h 424"/>
                <a:gd name="T54" fmla="*/ 34 w 562"/>
                <a:gd name="T55" fmla="*/ 332 h 424"/>
                <a:gd name="T56" fmla="*/ 27 w 562"/>
                <a:gd name="T57" fmla="*/ 289 h 424"/>
                <a:gd name="T58" fmla="*/ 19 w 562"/>
                <a:gd name="T59" fmla="*/ 257 h 424"/>
                <a:gd name="T60" fmla="*/ 0 w 562"/>
                <a:gd name="T61" fmla="*/ 222 h 424"/>
                <a:gd name="T62" fmla="*/ 13 w 562"/>
                <a:gd name="T63" fmla="*/ 226 h 424"/>
                <a:gd name="T64" fmla="*/ 0 w 562"/>
                <a:gd name="T65" fmla="*/ 197 h 424"/>
                <a:gd name="T66" fmla="*/ 5 w 562"/>
                <a:gd name="T67" fmla="*/ 169 h 424"/>
                <a:gd name="T68" fmla="*/ 30 w 562"/>
                <a:gd name="T69" fmla="*/ 153 h 424"/>
                <a:gd name="T70" fmla="*/ 57 w 562"/>
                <a:gd name="T71" fmla="*/ 144 h 424"/>
                <a:gd name="T72" fmla="*/ 82 w 562"/>
                <a:gd name="T73" fmla="*/ 132 h 424"/>
                <a:gd name="T74" fmla="*/ 117 w 562"/>
                <a:gd name="T75" fmla="*/ 113 h 424"/>
                <a:gd name="T76" fmla="*/ 134 w 562"/>
                <a:gd name="T77" fmla="*/ 80 h 424"/>
                <a:gd name="T78" fmla="*/ 146 w 562"/>
                <a:gd name="T79" fmla="*/ 76 h 424"/>
                <a:gd name="T80" fmla="*/ 165 w 562"/>
                <a:gd name="T81" fmla="*/ 57 h 424"/>
                <a:gd name="T82" fmla="*/ 178 w 562"/>
                <a:gd name="T83" fmla="*/ 48 h 424"/>
                <a:gd name="T84" fmla="*/ 209 w 562"/>
                <a:gd name="T85" fmla="*/ 57 h 424"/>
                <a:gd name="T86" fmla="*/ 232 w 562"/>
                <a:gd name="T87" fmla="*/ 42 h 424"/>
                <a:gd name="T88" fmla="*/ 249 w 562"/>
                <a:gd name="T89" fmla="*/ 19 h 424"/>
                <a:gd name="T90" fmla="*/ 259 w 562"/>
                <a:gd name="T91" fmla="*/ 9 h 424"/>
                <a:gd name="T92" fmla="*/ 293 w 562"/>
                <a:gd name="T93" fmla="*/ 19 h 424"/>
                <a:gd name="T94" fmla="*/ 320 w 562"/>
                <a:gd name="T95" fmla="*/ 19 h 424"/>
                <a:gd name="T96" fmla="*/ 320 w 562"/>
                <a:gd name="T97" fmla="*/ 36 h 424"/>
                <a:gd name="T98" fmla="*/ 309 w 562"/>
                <a:gd name="T99" fmla="*/ 57 h 424"/>
                <a:gd name="T100" fmla="*/ 339 w 562"/>
                <a:gd name="T101" fmla="*/ 78 h 424"/>
                <a:gd name="T102" fmla="*/ 362 w 562"/>
                <a:gd name="T103" fmla="*/ 96 h 424"/>
                <a:gd name="T104" fmla="*/ 387 w 562"/>
                <a:gd name="T105" fmla="*/ 80 h 424"/>
                <a:gd name="T106" fmla="*/ 393 w 562"/>
                <a:gd name="T107" fmla="*/ 50 h 424"/>
                <a:gd name="T108" fmla="*/ 395 w 562"/>
                <a:gd name="T109" fmla="*/ 23 h 424"/>
                <a:gd name="T110" fmla="*/ 406 w 562"/>
                <a:gd name="T111" fmla="*/ 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2" h="424">
                  <a:moveTo>
                    <a:pt x="406" y="0"/>
                  </a:moveTo>
                  <a:lnTo>
                    <a:pt x="410" y="7"/>
                  </a:lnTo>
                  <a:lnTo>
                    <a:pt x="412" y="15"/>
                  </a:lnTo>
                  <a:lnTo>
                    <a:pt x="416" y="17"/>
                  </a:lnTo>
                  <a:lnTo>
                    <a:pt x="416" y="23"/>
                  </a:lnTo>
                  <a:lnTo>
                    <a:pt x="420" y="30"/>
                  </a:lnTo>
                  <a:lnTo>
                    <a:pt x="422" y="38"/>
                  </a:lnTo>
                  <a:lnTo>
                    <a:pt x="420" y="44"/>
                  </a:lnTo>
                  <a:lnTo>
                    <a:pt x="426" y="53"/>
                  </a:lnTo>
                  <a:lnTo>
                    <a:pt x="435" y="48"/>
                  </a:lnTo>
                  <a:lnTo>
                    <a:pt x="441" y="55"/>
                  </a:lnTo>
                  <a:lnTo>
                    <a:pt x="447" y="59"/>
                  </a:lnTo>
                  <a:lnTo>
                    <a:pt x="445" y="67"/>
                  </a:lnTo>
                  <a:lnTo>
                    <a:pt x="449" y="78"/>
                  </a:lnTo>
                  <a:lnTo>
                    <a:pt x="451" y="86"/>
                  </a:lnTo>
                  <a:lnTo>
                    <a:pt x="454" y="88"/>
                  </a:lnTo>
                  <a:lnTo>
                    <a:pt x="456" y="99"/>
                  </a:lnTo>
                  <a:lnTo>
                    <a:pt x="454" y="107"/>
                  </a:lnTo>
                  <a:lnTo>
                    <a:pt x="460" y="117"/>
                  </a:lnTo>
                  <a:lnTo>
                    <a:pt x="476" y="124"/>
                  </a:lnTo>
                  <a:lnTo>
                    <a:pt x="487" y="132"/>
                  </a:lnTo>
                  <a:lnTo>
                    <a:pt x="497" y="140"/>
                  </a:lnTo>
                  <a:lnTo>
                    <a:pt x="493" y="142"/>
                  </a:lnTo>
                  <a:lnTo>
                    <a:pt x="502" y="151"/>
                  </a:lnTo>
                  <a:lnTo>
                    <a:pt x="506" y="167"/>
                  </a:lnTo>
                  <a:lnTo>
                    <a:pt x="512" y="163"/>
                  </a:lnTo>
                  <a:lnTo>
                    <a:pt x="518" y="169"/>
                  </a:lnTo>
                  <a:lnTo>
                    <a:pt x="522" y="167"/>
                  </a:lnTo>
                  <a:lnTo>
                    <a:pt x="525" y="182"/>
                  </a:lnTo>
                  <a:lnTo>
                    <a:pt x="533" y="192"/>
                  </a:lnTo>
                  <a:lnTo>
                    <a:pt x="541" y="197"/>
                  </a:lnTo>
                  <a:lnTo>
                    <a:pt x="552" y="209"/>
                  </a:lnTo>
                  <a:lnTo>
                    <a:pt x="554" y="222"/>
                  </a:lnTo>
                  <a:lnTo>
                    <a:pt x="554" y="230"/>
                  </a:lnTo>
                  <a:lnTo>
                    <a:pt x="554" y="240"/>
                  </a:lnTo>
                  <a:lnTo>
                    <a:pt x="562" y="253"/>
                  </a:lnTo>
                  <a:lnTo>
                    <a:pt x="560" y="264"/>
                  </a:lnTo>
                  <a:lnTo>
                    <a:pt x="558" y="272"/>
                  </a:lnTo>
                  <a:lnTo>
                    <a:pt x="554" y="286"/>
                  </a:lnTo>
                  <a:lnTo>
                    <a:pt x="554" y="293"/>
                  </a:lnTo>
                  <a:lnTo>
                    <a:pt x="552" y="305"/>
                  </a:lnTo>
                  <a:lnTo>
                    <a:pt x="545" y="320"/>
                  </a:lnTo>
                  <a:lnTo>
                    <a:pt x="535" y="328"/>
                  </a:lnTo>
                  <a:lnTo>
                    <a:pt x="531" y="339"/>
                  </a:lnTo>
                  <a:lnTo>
                    <a:pt x="527" y="347"/>
                  </a:lnTo>
                  <a:lnTo>
                    <a:pt x="522" y="360"/>
                  </a:lnTo>
                  <a:lnTo>
                    <a:pt x="516" y="368"/>
                  </a:lnTo>
                  <a:lnTo>
                    <a:pt x="512" y="382"/>
                  </a:lnTo>
                  <a:lnTo>
                    <a:pt x="512" y="391"/>
                  </a:lnTo>
                  <a:lnTo>
                    <a:pt x="512" y="397"/>
                  </a:lnTo>
                  <a:lnTo>
                    <a:pt x="502" y="403"/>
                  </a:lnTo>
                  <a:lnTo>
                    <a:pt x="489" y="403"/>
                  </a:lnTo>
                  <a:lnTo>
                    <a:pt x="474" y="408"/>
                  </a:lnTo>
                  <a:lnTo>
                    <a:pt x="468" y="416"/>
                  </a:lnTo>
                  <a:lnTo>
                    <a:pt x="458" y="424"/>
                  </a:lnTo>
                  <a:lnTo>
                    <a:pt x="449" y="416"/>
                  </a:lnTo>
                  <a:lnTo>
                    <a:pt x="439" y="412"/>
                  </a:lnTo>
                  <a:lnTo>
                    <a:pt x="443" y="405"/>
                  </a:lnTo>
                  <a:lnTo>
                    <a:pt x="433" y="406"/>
                  </a:lnTo>
                  <a:lnTo>
                    <a:pt x="422" y="420"/>
                  </a:lnTo>
                  <a:lnTo>
                    <a:pt x="410" y="414"/>
                  </a:lnTo>
                  <a:lnTo>
                    <a:pt x="403" y="412"/>
                  </a:lnTo>
                  <a:lnTo>
                    <a:pt x="393" y="410"/>
                  </a:lnTo>
                  <a:lnTo>
                    <a:pt x="380" y="406"/>
                  </a:lnTo>
                  <a:lnTo>
                    <a:pt x="372" y="397"/>
                  </a:lnTo>
                  <a:lnTo>
                    <a:pt x="368" y="385"/>
                  </a:lnTo>
                  <a:lnTo>
                    <a:pt x="366" y="376"/>
                  </a:lnTo>
                  <a:lnTo>
                    <a:pt x="359" y="368"/>
                  </a:lnTo>
                  <a:lnTo>
                    <a:pt x="345" y="368"/>
                  </a:lnTo>
                  <a:lnTo>
                    <a:pt x="351" y="360"/>
                  </a:lnTo>
                  <a:lnTo>
                    <a:pt x="347" y="347"/>
                  </a:lnTo>
                  <a:lnTo>
                    <a:pt x="341" y="360"/>
                  </a:lnTo>
                  <a:lnTo>
                    <a:pt x="326" y="362"/>
                  </a:lnTo>
                  <a:lnTo>
                    <a:pt x="335" y="353"/>
                  </a:lnTo>
                  <a:lnTo>
                    <a:pt x="337" y="345"/>
                  </a:lnTo>
                  <a:lnTo>
                    <a:pt x="341" y="335"/>
                  </a:lnTo>
                  <a:lnTo>
                    <a:pt x="341" y="326"/>
                  </a:lnTo>
                  <a:lnTo>
                    <a:pt x="330" y="339"/>
                  </a:lnTo>
                  <a:lnTo>
                    <a:pt x="322" y="345"/>
                  </a:lnTo>
                  <a:lnTo>
                    <a:pt x="314" y="357"/>
                  </a:lnTo>
                  <a:lnTo>
                    <a:pt x="305" y="349"/>
                  </a:lnTo>
                  <a:lnTo>
                    <a:pt x="305" y="341"/>
                  </a:lnTo>
                  <a:lnTo>
                    <a:pt x="297" y="332"/>
                  </a:lnTo>
                  <a:lnTo>
                    <a:pt x="289" y="324"/>
                  </a:lnTo>
                  <a:lnTo>
                    <a:pt x="291" y="322"/>
                  </a:lnTo>
                  <a:lnTo>
                    <a:pt x="274" y="311"/>
                  </a:lnTo>
                  <a:lnTo>
                    <a:pt x="264" y="311"/>
                  </a:lnTo>
                  <a:lnTo>
                    <a:pt x="251" y="303"/>
                  </a:lnTo>
                  <a:lnTo>
                    <a:pt x="226" y="303"/>
                  </a:lnTo>
                  <a:lnTo>
                    <a:pt x="207" y="311"/>
                  </a:lnTo>
                  <a:lnTo>
                    <a:pt x="192" y="316"/>
                  </a:lnTo>
                  <a:lnTo>
                    <a:pt x="180" y="314"/>
                  </a:lnTo>
                  <a:lnTo>
                    <a:pt x="165" y="322"/>
                  </a:lnTo>
                  <a:lnTo>
                    <a:pt x="151" y="326"/>
                  </a:lnTo>
                  <a:lnTo>
                    <a:pt x="149" y="334"/>
                  </a:lnTo>
                  <a:lnTo>
                    <a:pt x="144" y="341"/>
                  </a:lnTo>
                  <a:lnTo>
                    <a:pt x="132" y="341"/>
                  </a:lnTo>
                  <a:lnTo>
                    <a:pt x="124" y="343"/>
                  </a:lnTo>
                  <a:lnTo>
                    <a:pt x="111" y="339"/>
                  </a:lnTo>
                  <a:lnTo>
                    <a:pt x="101" y="341"/>
                  </a:lnTo>
                  <a:lnTo>
                    <a:pt x="92" y="343"/>
                  </a:lnTo>
                  <a:lnTo>
                    <a:pt x="84" y="351"/>
                  </a:lnTo>
                  <a:lnTo>
                    <a:pt x="78" y="349"/>
                  </a:lnTo>
                  <a:lnTo>
                    <a:pt x="73" y="355"/>
                  </a:lnTo>
                  <a:lnTo>
                    <a:pt x="65" y="360"/>
                  </a:lnTo>
                  <a:lnTo>
                    <a:pt x="55" y="359"/>
                  </a:lnTo>
                  <a:lnTo>
                    <a:pt x="46" y="359"/>
                  </a:lnTo>
                  <a:lnTo>
                    <a:pt x="30" y="347"/>
                  </a:lnTo>
                  <a:lnTo>
                    <a:pt x="25" y="345"/>
                  </a:lnTo>
                  <a:lnTo>
                    <a:pt x="25" y="335"/>
                  </a:lnTo>
                  <a:lnTo>
                    <a:pt x="30" y="334"/>
                  </a:lnTo>
                  <a:lnTo>
                    <a:pt x="34" y="332"/>
                  </a:lnTo>
                  <a:lnTo>
                    <a:pt x="32" y="326"/>
                  </a:lnTo>
                  <a:lnTo>
                    <a:pt x="34" y="314"/>
                  </a:lnTo>
                  <a:lnTo>
                    <a:pt x="32" y="305"/>
                  </a:lnTo>
                  <a:lnTo>
                    <a:pt x="27" y="289"/>
                  </a:lnTo>
                  <a:lnTo>
                    <a:pt x="25" y="282"/>
                  </a:lnTo>
                  <a:lnTo>
                    <a:pt x="25" y="272"/>
                  </a:lnTo>
                  <a:lnTo>
                    <a:pt x="19" y="263"/>
                  </a:lnTo>
                  <a:lnTo>
                    <a:pt x="19" y="257"/>
                  </a:lnTo>
                  <a:lnTo>
                    <a:pt x="13" y="253"/>
                  </a:lnTo>
                  <a:lnTo>
                    <a:pt x="11" y="241"/>
                  </a:lnTo>
                  <a:lnTo>
                    <a:pt x="2" y="228"/>
                  </a:lnTo>
                  <a:lnTo>
                    <a:pt x="0" y="222"/>
                  </a:lnTo>
                  <a:lnTo>
                    <a:pt x="7" y="228"/>
                  </a:lnTo>
                  <a:lnTo>
                    <a:pt x="2" y="216"/>
                  </a:lnTo>
                  <a:lnTo>
                    <a:pt x="9" y="218"/>
                  </a:lnTo>
                  <a:lnTo>
                    <a:pt x="13" y="226"/>
                  </a:lnTo>
                  <a:lnTo>
                    <a:pt x="13" y="218"/>
                  </a:lnTo>
                  <a:lnTo>
                    <a:pt x="5" y="205"/>
                  </a:lnTo>
                  <a:lnTo>
                    <a:pt x="4" y="201"/>
                  </a:lnTo>
                  <a:lnTo>
                    <a:pt x="0" y="197"/>
                  </a:lnTo>
                  <a:lnTo>
                    <a:pt x="2" y="188"/>
                  </a:lnTo>
                  <a:lnTo>
                    <a:pt x="5" y="184"/>
                  </a:lnTo>
                  <a:lnTo>
                    <a:pt x="7" y="178"/>
                  </a:lnTo>
                  <a:lnTo>
                    <a:pt x="5" y="169"/>
                  </a:lnTo>
                  <a:lnTo>
                    <a:pt x="13" y="159"/>
                  </a:lnTo>
                  <a:lnTo>
                    <a:pt x="13" y="169"/>
                  </a:lnTo>
                  <a:lnTo>
                    <a:pt x="19" y="159"/>
                  </a:lnTo>
                  <a:lnTo>
                    <a:pt x="30" y="153"/>
                  </a:lnTo>
                  <a:lnTo>
                    <a:pt x="36" y="149"/>
                  </a:lnTo>
                  <a:lnTo>
                    <a:pt x="48" y="142"/>
                  </a:lnTo>
                  <a:lnTo>
                    <a:pt x="55" y="142"/>
                  </a:lnTo>
                  <a:lnTo>
                    <a:pt x="57" y="144"/>
                  </a:lnTo>
                  <a:lnTo>
                    <a:pt x="69" y="138"/>
                  </a:lnTo>
                  <a:lnTo>
                    <a:pt x="76" y="138"/>
                  </a:lnTo>
                  <a:lnTo>
                    <a:pt x="78" y="134"/>
                  </a:lnTo>
                  <a:lnTo>
                    <a:pt x="82" y="132"/>
                  </a:lnTo>
                  <a:lnTo>
                    <a:pt x="92" y="132"/>
                  </a:lnTo>
                  <a:lnTo>
                    <a:pt x="103" y="128"/>
                  </a:lnTo>
                  <a:lnTo>
                    <a:pt x="113" y="122"/>
                  </a:lnTo>
                  <a:lnTo>
                    <a:pt x="117" y="113"/>
                  </a:lnTo>
                  <a:lnTo>
                    <a:pt x="124" y="107"/>
                  </a:lnTo>
                  <a:lnTo>
                    <a:pt x="124" y="99"/>
                  </a:lnTo>
                  <a:lnTo>
                    <a:pt x="126" y="94"/>
                  </a:lnTo>
                  <a:lnTo>
                    <a:pt x="134" y="80"/>
                  </a:lnTo>
                  <a:lnTo>
                    <a:pt x="142" y="94"/>
                  </a:lnTo>
                  <a:lnTo>
                    <a:pt x="146" y="90"/>
                  </a:lnTo>
                  <a:lnTo>
                    <a:pt x="142" y="84"/>
                  </a:lnTo>
                  <a:lnTo>
                    <a:pt x="146" y="76"/>
                  </a:lnTo>
                  <a:lnTo>
                    <a:pt x="153" y="80"/>
                  </a:lnTo>
                  <a:lnTo>
                    <a:pt x="155" y="69"/>
                  </a:lnTo>
                  <a:lnTo>
                    <a:pt x="161" y="61"/>
                  </a:lnTo>
                  <a:lnTo>
                    <a:pt x="165" y="57"/>
                  </a:lnTo>
                  <a:lnTo>
                    <a:pt x="172" y="53"/>
                  </a:lnTo>
                  <a:lnTo>
                    <a:pt x="172" y="50"/>
                  </a:lnTo>
                  <a:lnTo>
                    <a:pt x="178" y="51"/>
                  </a:lnTo>
                  <a:lnTo>
                    <a:pt x="178" y="48"/>
                  </a:lnTo>
                  <a:lnTo>
                    <a:pt x="184" y="46"/>
                  </a:lnTo>
                  <a:lnTo>
                    <a:pt x="192" y="44"/>
                  </a:lnTo>
                  <a:lnTo>
                    <a:pt x="201" y="50"/>
                  </a:lnTo>
                  <a:lnTo>
                    <a:pt x="209" y="57"/>
                  </a:lnTo>
                  <a:lnTo>
                    <a:pt x="218" y="57"/>
                  </a:lnTo>
                  <a:lnTo>
                    <a:pt x="226" y="59"/>
                  </a:lnTo>
                  <a:lnTo>
                    <a:pt x="224" y="51"/>
                  </a:lnTo>
                  <a:lnTo>
                    <a:pt x="232" y="42"/>
                  </a:lnTo>
                  <a:lnTo>
                    <a:pt x="236" y="36"/>
                  </a:lnTo>
                  <a:lnTo>
                    <a:pt x="236" y="34"/>
                  </a:lnTo>
                  <a:lnTo>
                    <a:pt x="241" y="25"/>
                  </a:lnTo>
                  <a:lnTo>
                    <a:pt x="249" y="19"/>
                  </a:lnTo>
                  <a:lnTo>
                    <a:pt x="257" y="21"/>
                  </a:lnTo>
                  <a:lnTo>
                    <a:pt x="268" y="19"/>
                  </a:lnTo>
                  <a:lnTo>
                    <a:pt x="268" y="13"/>
                  </a:lnTo>
                  <a:lnTo>
                    <a:pt x="259" y="9"/>
                  </a:lnTo>
                  <a:lnTo>
                    <a:pt x="264" y="7"/>
                  </a:lnTo>
                  <a:lnTo>
                    <a:pt x="274" y="9"/>
                  </a:lnTo>
                  <a:lnTo>
                    <a:pt x="282" y="15"/>
                  </a:lnTo>
                  <a:lnTo>
                    <a:pt x="293" y="19"/>
                  </a:lnTo>
                  <a:lnTo>
                    <a:pt x="299" y="17"/>
                  </a:lnTo>
                  <a:lnTo>
                    <a:pt x="307" y="21"/>
                  </a:lnTo>
                  <a:lnTo>
                    <a:pt x="314" y="19"/>
                  </a:lnTo>
                  <a:lnTo>
                    <a:pt x="320" y="19"/>
                  </a:lnTo>
                  <a:lnTo>
                    <a:pt x="324" y="17"/>
                  </a:lnTo>
                  <a:lnTo>
                    <a:pt x="328" y="23"/>
                  </a:lnTo>
                  <a:lnTo>
                    <a:pt x="324" y="30"/>
                  </a:lnTo>
                  <a:lnTo>
                    <a:pt x="320" y="36"/>
                  </a:lnTo>
                  <a:lnTo>
                    <a:pt x="314" y="36"/>
                  </a:lnTo>
                  <a:lnTo>
                    <a:pt x="316" y="42"/>
                  </a:lnTo>
                  <a:lnTo>
                    <a:pt x="312" y="50"/>
                  </a:lnTo>
                  <a:lnTo>
                    <a:pt x="309" y="57"/>
                  </a:lnTo>
                  <a:lnTo>
                    <a:pt x="309" y="59"/>
                  </a:lnTo>
                  <a:lnTo>
                    <a:pt x="320" y="69"/>
                  </a:lnTo>
                  <a:lnTo>
                    <a:pt x="330" y="74"/>
                  </a:lnTo>
                  <a:lnTo>
                    <a:pt x="339" y="78"/>
                  </a:lnTo>
                  <a:lnTo>
                    <a:pt x="349" y="86"/>
                  </a:lnTo>
                  <a:lnTo>
                    <a:pt x="351" y="86"/>
                  </a:lnTo>
                  <a:lnTo>
                    <a:pt x="359" y="90"/>
                  </a:lnTo>
                  <a:lnTo>
                    <a:pt x="362" y="96"/>
                  </a:lnTo>
                  <a:lnTo>
                    <a:pt x="376" y="99"/>
                  </a:lnTo>
                  <a:lnTo>
                    <a:pt x="383" y="96"/>
                  </a:lnTo>
                  <a:lnTo>
                    <a:pt x="387" y="86"/>
                  </a:lnTo>
                  <a:lnTo>
                    <a:pt x="387" y="80"/>
                  </a:lnTo>
                  <a:lnTo>
                    <a:pt x="389" y="73"/>
                  </a:lnTo>
                  <a:lnTo>
                    <a:pt x="395" y="61"/>
                  </a:lnTo>
                  <a:lnTo>
                    <a:pt x="393" y="55"/>
                  </a:lnTo>
                  <a:lnTo>
                    <a:pt x="393" y="50"/>
                  </a:lnTo>
                  <a:lnTo>
                    <a:pt x="391" y="42"/>
                  </a:lnTo>
                  <a:lnTo>
                    <a:pt x="395" y="32"/>
                  </a:lnTo>
                  <a:lnTo>
                    <a:pt x="397" y="28"/>
                  </a:lnTo>
                  <a:lnTo>
                    <a:pt x="395" y="23"/>
                  </a:lnTo>
                  <a:lnTo>
                    <a:pt x="399" y="17"/>
                  </a:lnTo>
                  <a:lnTo>
                    <a:pt x="401" y="9"/>
                  </a:lnTo>
                  <a:lnTo>
                    <a:pt x="403" y="5"/>
                  </a:lnTo>
                  <a:lnTo>
                    <a:pt x="40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33">
              <a:extLst>
                <a:ext uri="{FF2B5EF4-FFF2-40B4-BE49-F238E27FC236}">
                  <a16:creationId xmlns:a16="http://schemas.microsoft.com/office/drawing/2014/main" id="{B5D95480-AEA7-42E8-9FDD-4349B62A4D0D}"/>
                </a:ext>
              </a:extLst>
            </p:cNvPr>
            <p:cNvSpPr>
              <a:spLocks/>
            </p:cNvSpPr>
            <p:nvPr/>
          </p:nvSpPr>
          <p:spPr bwMode="auto">
            <a:xfrm>
              <a:off x="7935912" y="4730317"/>
              <a:ext cx="22225" cy="12706"/>
            </a:xfrm>
            <a:custGeom>
              <a:avLst/>
              <a:gdLst>
                <a:gd name="T0" fmla="*/ 0 w 14"/>
                <a:gd name="T1" fmla="*/ 0 h 8"/>
                <a:gd name="T2" fmla="*/ 8 w 14"/>
                <a:gd name="T3" fmla="*/ 2 h 8"/>
                <a:gd name="T4" fmla="*/ 12 w 14"/>
                <a:gd name="T5" fmla="*/ 2 h 8"/>
                <a:gd name="T6" fmla="*/ 14 w 14"/>
                <a:gd name="T7" fmla="*/ 8 h 8"/>
                <a:gd name="T8" fmla="*/ 4 w 14"/>
                <a:gd name="T9" fmla="*/ 8 h 8"/>
                <a:gd name="T10" fmla="*/ 0 w 14"/>
                <a:gd name="T11" fmla="*/ 0 h 8"/>
              </a:gdLst>
              <a:ahLst/>
              <a:cxnLst>
                <a:cxn ang="0">
                  <a:pos x="T0" y="T1"/>
                </a:cxn>
                <a:cxn ang="0">
                  <a:pos x="T2" y="T3"/>
                </a:cxn>
                <a:cxn ang="0">
                  <a:pos x="T4" y="T5"/>
                </a:cxn>
                <a:cxn ang="0">
                  <a:pos x="T6" y="T7"/>
                </a:cxn>
                <a:cxn ang="0">
                  <a:pos x="T8" y="T9"/>
                </a:cxn>
                <a:cxn ang="0">
                  <a:pos x="T10" y="T11"/>
                </a:cxn>
              </a:cxnLst>
              <a:rect l="0" t="0" r="r" b="b"/>
              <a:pathLst>
                <a:path w="14" h="8">
                  <a:moveTo>
                    <a:pt x="0" y="0"/>
                  </a:moveTo>
                  <a:lnTo>
                    <a:pt x="8" y="2"/>
                  </a:lnTo>
                  <a:lnTo>
                    <a:pt x="12" y="2"/>
                  </a:lnTo>
                  <a:lnTo>
                    <a:pt x="14" y="8"/>
                  </a:lnTo>
                  <a:lnTo>
                    <a:pt x="4" y="8"/>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35">
              <a:extLst>
                <a:ext uri="{FF2B5EF4-FFF2-40B4-BE49-F238E27FC236}">
                  <a16:creationId xmlns:a16="http://schemas.microsoft.com/office/drawing/2014/main" id="{F9BBA758-2106-4A29-8EF9-4118AA105766}"/>
                </a:ext>
              </a:extLst>
            </p:cNvPr>
            <p:cNvSpPr>
              <a:spLocks/>
            </p:cNvSpPr>
            <p:nvPr/>
          </p:nvSpPr>
          <p:spPr bwMode="auto">
            <a:xfrm>
              <a:off x="6997700" y="4708082"/>
              <a:ext cx="39688" cy="22235"/>
            </a:xfrm>
            <a:custGeom>
              <a:avLst/>
              <a:gdLst>
                <a:gd name="T0" fmla="*/ 16 w 25"/>
                <a:gd name="T1" fmla="*/ 0 h 14"/>
                <a:gd name="T2" fmla="*/ 21 w 25"/>
                <a:gd name="T3" fmla="*/ 4 h 14"/>
                <a:gd name="T4" fmla="*/ 25 w 25"/>
                <a:gd name="T5" fmla="*/ 10 h 14"/>
                <a:gd name="T6" fmla="*/ 25 w 25"/>
                <a:gd name="T7" fmla="*/ 14 h 14"/>
                <a:gd name="T8" fmla="*/ 20 w 25"/>
                <a:gd name="T9" fmla="*/ 14 h 14"/>
                <a:gd name="T10" fmla="*/ 0 w 25"/>
                <a:gd name="T11" fmla="*/ 2 h 14"/>
                <a:gd name="T12" fmla="*/ 16 w 25"/>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16" y="0"/>
                  </a:moveTo>
                  <a:lnTo>
                    <a:pt x="21" y="4"/>
                  </a:lnTo>
                  <a:lnTo>
                    <a:pt x="25" y="10"/>
                  </a:lnTo>
                  <a:lnTo>
                    <a:pt x="25" y="14"/>
                  </a:lnTo>
                  <a:lnTo>
                    <a:pt x="20" y="14"/>
                  </a:lnTo>
                  <a:lnTo>
                    <a:pt x="0" y="2"/>
                  </a:lnTo>
                  <a:lnTo>
                    <a:pt x="1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37">
              <a:extLst>
                <a:ext uri="{FF2B5EF4-FFF2-40B4-BE49-F238E27FC236}">
                  <a16:creationId xmlns:a16="http://schemas.microsoft.com/office/drawing/2014/main" id="{16572115-98E6-4E70-BE7F-F23209ABAB32}"/>
                </a:ext>
              </a:extLst>
            </p:cNvPr>
            <p:cNvSpPr>
              <a:spLocks/>
            </p:cNvSpPr>
            <p:nvPr/>
          </p:nvSpPr>
          <p:spPr bwMode="auto">
            <a:xfrm>
              <a:off x="7896225" y="4708082"/>
              <a:ext cx="28575" cy="12706"/>
            </a:xfrm>
            <a:custGeom>
              <a:avLst/>
              <a:gdLst>
                <a:gd name="T0" fmla="*/ 2 w 18"/>
                <a:gd name="T1" fmla="*/ 0 h 8"/>
                <a:gd name="T2" fmla="*/ 12 w 18"/>
                <a:gd name="T3" fmla="*/ 0 h 8"/>
                <a:gd name="T4" fmla="*/ 16 w 18"/>
                <a:gd name="T5" fmla="*/ 4 h 8"/>
                <a:gd name="T6" fmla="*/ 18 w 18"/>
                <a:gd name="T7" fmla="*/ 8 h 8"/>
                <a:gd name="T8" fmla="*/ 12 w 18"/>
                <a:gd name="T9" fmla="*/ 8 h 8"/>
                <a:gd name="T10" fmla="*/ 4 w 18"/>
                <a:gd name="T11" fmla="*/ 6 h 8"/>
                <a:gd name="T12" fmla="*/ 0 w 18"/>
                <a:gd name="T13" fmla="*/ 4 h 8"/>
                <a:gd name="T14" fmla="*/ 2 w 18"/>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8">
                  <a:moveTo>
                    <a:pt x="2" y="0"/>
                  </a:moveTo>
                  <a:lnTo>
                    <a:pt x="12" y="0"/>
                  </a:lnTo>
                  <a:lnTo>
                    <a:pt x="16" y="4"/>
                  </a:lnTo>
                  <a:lnTo>
                    <a:pt x="18" y="8"/>
                  </a:lnTo>
                  <a:lnTo>
                    <a:pt x="12" y="8"/>
                  </a:lnTo>
                  <a:lnTo>
                    <a:pt x="4" y="6"/>
                  </a:lnTo>
                  <a:lnTo>
                    <a:pt x="0" y="4"/>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39">
              <a:extLst>
                <a:ext uri="{FF2B5EF4-FFF2-40B4-BE49-F238E27FC236}">
                  <a16:creationId xmlns:a16="http://schemas.microsoft.com/office/drawing/2014/main" id="{5BD9F178-A790-4BAA-BA28-21031EF2EBAE}"/>
                </a:ext>
              </a:extLst>
            </p:cNvPr>
            <p:cNvSpPr>
              <a:spLocks/>
            </p:cNvSpPr>
            <p:nvPr/>
          </p:nvSpPr>
          <p:spPr bwMode="auto">
            <a:xfrm>
              <a:off x="7918450" y="4687436"/>
              <a:ext cx="23813" cy="30177"/>
            </a:xfrm>
            <a:custGeom>
              <a:avLst/>
              <a:gdLst>
                <a:gd name="T0" fmla="*/ 0 w 15"/>
                <a:gd name="T1" fmla="*/ 0 h 19"/>
                <a:gd name="T2" fmla="*/ 6 w 15"/>
                <a:gd name="T3" fmla="*/ 0 h 19"/>
                <a:gd name="T4" fmla="*/ 11 w 15"/>
                <a:gd name="T5" fmla="*/ 12 h 19"/>
                <a:gd name="T6" fmla="*/ 15 w 15"/>
                <a:gd name="T7" fmla="*/ 17 h 19"/>
                <a:gd name="T8" fmla="*/ 15 w 15"/>
                <a:gd name="T9" fmla="*/ 19 h 19"/>
                <a:gd name="T10" fmla="*/ 4 w 15"/>
                <a:gd name="T11" fmla="*/ 8 h 19"/>
                <a:gd name="T12" fmla="*/ 0 w 1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5" h="19">
                  <a:moveTo>
                    <a:pt x="0" y="0"/>
                  </a:moveTo>
                  <a:lnTo>
                    <a:pt x="6" y="0"/>
                  </a:lnTo>
                  <a:lnTo>
                    <a:pt x="11" y="12"/>
                  </a:lnTo>
                  <a:lnTo>
                    <a:pt x="15" y="17"/>
                  </a:lnTo>
                  <a:lnTo>
                    <a:pt x="15" y="19"/>
                  </a:lnTo>
                  <a:lnTo>
                    <a:pt x="4" y="8"/>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41">
              <a:extLst>
                <a:ext uri="{FF2B5EF4-FFF2-40B4-BE49-F238E27FC236}">
                  <a16:creationId xmlns:a16="http://schemas.microsoft.com/office/drawing/2014/main" id="{2BFBE1FB-D277-4380-9039-8306B20EC4AA}"/>
                </a:ext>
              </a:extLst>
            </p:cNvPr>
            <p:cNvSpPr>
              <a:spLocks/>
            </p:cNvSpPr>
            <p:nvPr/>
          </p:nvSpPr>
          <p:spPr bwMode="auto">
            <a:xfrm>
              <a:off x="7099300" y="4687436"/>
              <a:ext cx="84138" cy="46059"/>
            </a:xfrm>
            <a:custGeom>
              <a:avLst/>
              <a:gdLst>
                <a:gd name="T0" fmla="*/ 48 w 53"/>
                <a:gd name="T1" fmla="*/ 0 h 29"/>
                <a:gd name="T2" fmla="*/ 53 w 53"/>
                <a:gd name="T3" fmla="*/ 2 h 29"/>
                <a:gd name="T4" fmla="*/ 48 w 53"/>
                <a:gd name="T5" fmla="*/ 4 h 29"/>
                <a:gd name="T6" fmla="*/ 34 w 53"/>
                <a:gd name="T7" fmla="*/ 12 h 29"/>
                <a:gd name="T8" fmla="*/ 23 w 53"/>
                <a:gd name="T9" fmla="*/ 13 h 29"/>
                <a:gd name="T10" fmla="*/ 23 w 53"/>
                <a:gd name="T11" fmla="*/ 10 h 29"/>
                <a:gd name="T12" fmla="*/ 21 w 53"/>
                <a:gd name="T13" fmla="*/ 10 h 29"/>
                <a:gd name="T14" fmla="*/ 23 w 53"/>
                <a:gd name="T15" fmla="*/ 10 h 29"/>
                <a:gd name="T16" fmla="*/ 23 w 53"/>
                <a:gd name="T17" fmla="*/ 13 h 29"/>
                <a:gd name="T18" fmla="*/ 13 w 53"/>
                <a:gd name="T19" fmla="*/ 25 h 29"/>
                <a:gd name="T20" fmla="*/ 0 w 53"/>
                <a:gd name="T21" fmla="*/ 29 h 29"/>
                <a:gd name="T22" fmla="*/ 0 w 53"/>
                <a:gd name="T23" fmla="*/ 27 h 29"/>
                <a:gd name="T24" fmla="*/ 0 w 53"/>
                <a:gd name="T25" fmla="*/ 21 h 29"/>
                <a:gd name="T26" fmla="*/ 5 w 53"/>
                <a:gd name="T27" fmla="*/ 13 h 29"/>
                <a:gd name="T28" fmla="*/ 21 w 53"/>
                <a:gd name="T29" fmla="*/ 8 h 29"/>
                <a:gd name="T30" fmla="*/ 23 w 53"/>
                <a:gd name="T31" fmla="*/ 4 h 29"/>
                <a:gd name="T32" fmla="*/ 34 w 53"/>
                <a:gd name="T33" fmla="*/ 2 h 29"/>
                <a:gd name="T34" fmla="*/ 44 w 53"/>
                <a:gd name="T35" fmla="*/ 2 h 29"/>
                <a:gd name="T36" fmla="*/ 48 w 53"/>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29">
                  <a:moveTo>
                    <a:pt x="48" y="0"/>
                  </a:moveTo>
                  <a:lnTo>
                    <a:pt x="53" y="2"/>
                  </a:lnTo>
                  <a:lnTo>
                    <a:pt x="48" y="4"/>
                  </a:lnTo>
                  <a:lnTo>
                    <a:pt x="34" y="12"/>
                  </a:lnTo>
                  <a:lnTo>
                    <a:pt x="23" y="13"/>
                  </a:lnTo>
                  <a:lnTo>
                    <a:pt x="23" y="10"/>
                  </a:lnTo>
                  <a:lnTo>
                    <a:pt x="21" y="10"/>
                  </a:lnTo>
                  <a:lnTo>
                    <a:pt x="23" y="10"/>
                  </a:lnTo>
                  <a:lnTo>
                    <a:pt x="23" y="13"/>
                  </a:lnTo>
                  <a:lnTo>
                    <a:pt x="13" y="25"/>
                  </a:lnTo>
                  <a:lnTo>
                    <a:pt x="0" y="29"/>
                  </a:lnTo>
                  <a:lnTo>
                    <a:pt x="0" y="27"/>
                  </a:lnTo>
                  <a:lnTo>
                    <a:pt x="0" y="21"/>
                  </a:lnTo>
                  <a:lnTo>
                    <a:pt x="5" y="13"/>
                  </a:lnTo>
                  <a:lnTo>
                    <a:pt x="21" y="8"/>
                  </a:lnTo>
                  <a:lnTo>
                    <a:pt x="23" y="4"/>
                  </a:lnTo>
                  <a:lnTo>
                    <a:pt x="34" y="2"/>
                  </a:lnTo>
                  <a:lnTo>
                    <a:pt x="44" y="2"/>
                  </a:lnTo>
                  <a:lnTo>
                    <a:pt x="48"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43">
              <a:extLst>
                <a:ext uri="{FF2B5EF4-FFF2-40B4-BE49-F238E27FC236}">
                  <a16:creationId xmlns:a16="http://schemas.microsoft.com/office/drawing/2014/main" id="{011F907C-A9D5-4313-AF9E-E89959759D70}"/>
                </a:ext>
              </a:extLst>
            </p:cNvPr>
            <p:cNvSpPr>
              <a:spLocks/>
            </p:cNvSpPr>
            <p:nvPr/>
          </p:nvSpPr>
          <p:spPr bwMode="auto">
            <a:xfrm>
              <a:off x="6950075" y="4681083"/>
              <a:ext cx="50800" cy="22235"/>
            </a:xfrm>
            <a:custGeom>
              <a:avLst/>
              <a:gdLst>
                <a:gd name="T0" fmla="*/ 17 w 32"/>
                <a:gd name="T1" fmla="*/ 0 h 14"/>
                <a:gd name="T2" fmla="*/ 21 w 32"/>
                <a:gd name="T3" fmla="*/ 4 h 14"/>
                <a:gd name="T4" fmla="*/ 28 w 32"/>
                <a:gd name="T5" fmla="*/ 4 h 14"/>
                <a:gd name="T6" fmla="*/ 32 w 32"/>
                <a:gd name="T7" fmla="*/ 8 h 14"/>
                <a:gd name="T8" fmla="*/ 17 w 32"/>
                <a:gd name="T9" fmla="*/ 12 h 14"/>
                <a:gd name="T10" fmla="*/ 7 w 32"/>
                <a:gd name="T11" fmla="*/ 14 h 14"/>
                <a:gd name="T12" fmla="*/ 0 w 32"/>
                <a:gd name="T13" fmla="*/ 14 h 14"/>
                <a:gd name="T14" fmla="*/ 5 w 32"/>
                <a:gd name="T15" fmla="*/ 6 h 14"/>
                <a:gd name="T16" fmla="*/ 13 w 32"/>
                <a:gd name="T17" fmla="*/ 6 h 14"/>
                <a:gd name="T18" fmla="*/ 17 w 32"/>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4">
                  <a:moveTo>
                    <a:pt x="17" y="0"/>
                  </a:moveTo>
                  <a:lnTo>
                    <a:pt x="21" y="4"/>
                  </a:lnTo>
                  <a:lnTo>
                    <a:pt x="28" y="4"/>
                  </a:lnTo>
                  <a:lnTo>
                    <a:pt x="32" y="8"/>
                  </a:lnTo>
                  <a:lnTo>
                    <a:pt x="17" y="12"/>
                  </a:lnTo>
                  <a:lnTo>
                    <a:pt x="7" y="14"/>
                  </a:lnTo>
                  <a:lnTo>
                    <a:pt x="0" y="14"/>
                  </a:lnTo>
                  <a:lnTo>
                    <a:pt x="5" y="6"/>
                  </a:lnTo>
                  <a:lnTo>
                    <a:pt x="13" y="6"/>
                  </a:lnTo>
                  <a:lnTo>
                    <a:pt x="1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45">
              <a:extLst>
                <a:ext uri="{FF2B5EF4-FFF2-40B4-BE49-F238E27FC236}">
                  <a16:creationId xmlns:a16="http://schemas.microsoft.com/office/drawing/2014/main" id="{32962D00-D3E6-4F09-92F7-807851371136}"/>
                </a:ext>
              </a:extLst>
            </p:cNvPr>
            <p:cNvSpPr>
              <a:spLocks/>
            </p:cNvSpPr>
            <p:nvPr/>
          </p:nvSpPr>
          <p:spPr bwMode="auto">
            <a:xfrm>
              <a:off x="7023100" y="4681083"/>
              <a:ext cx="63500" cy="19059"/>
            </a:xfrm>
            <a:custGeom>
              <a:avLst/>
              <a:gdLst>
                <a:gd name="T0" fmla="*/ 40 w 40"/>
                <a:gd name="T1" fmla="*/ 0 h 12"/>
                <a:gd name="T2" fmla="*/ 38 w 40"/>
                <a:gd name="T3" fmla="*/ 8 h 12"/>
                <a:gd name="T4" fmla="*/ 17 w 40"/>
                <a:gd name="T5" fmla="*/ 12 h 12"/>
                <a:gd name="T6" fmla="*/ 0 w 40"/>
                <a:gd name="T7" fmla="*/ 10 h 12"/>
                <a:gd name="T8" fmla="*/ 0 w 40"/>
                <a:gd name="T9" fmla="*/ 6 h 12"/>
                <a:gd name="T10" fmla="*/ 9 w 40"/>
                <a:gd name="T11" fmla="*/ 2 h 12"/>
                <a:gd name="T12" fmla="*/ 19 w 40"/>
                <a:gd name="T13" fmla="*/ 8 h 12"/>
                <a:gd name="T14" fmla="*/ 27 w 40"/>
                <a:gd name="T15" fmla="*/ 6 h 12"/>
                <a:gd name="T16" fmla="*/ 40 w 4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2">
                  <a:moveTo>
                    <a:pt x="40" y="0"/>
                  </a:moveTo>
                  <a:lnTo>
                    <a:pt x="38" y="8"/>
                  </a:lnTo>
                  <a:lnTo>
                    <a:pt x="17" y="12"/>
                  </a:lnTo>
                  <a:lnTo>
                    <a:pt x="0" y="10"/>
                  </a:lnTo>
                  <a:lnTo>
                    <a:pt x="0" y="6"/>
                  </a:lnTo>
                  <a:lnTo>
                    <a:pt x="9" y="2"/>
                  </a:lnTo>
                  <a:lnTo>
                    <a:pt x="19" y="8"/>
                  </a:lnTo>
                  <a:lnTo>
                    <a:pt x="27" y="6"/>
                  </a:lnTo>
                  <a:lnTo>
                    <a:pt x="4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47">
              <a:extLst>
                <a:ext uri="{FF2B5EF4-FFF2-40B4-BE49-F238E27FC236}">
                  <a16:creationId xmlns:a16="http://schemas.microsoft.com/office/drawing/2014/main" id="{6BD87D53-7DF6-4D4A-A546-62A0C63C01EE}"/>
                </a:ext>
              </a:extLst>
            </p:cNvPr>
            <p:cNvSpPr>
              <a:spLocks/>
            </p:cNvSpPr>
            <p:nvPr/>
          </p:nvSpPr>
          <p:spPr bwMode="auto">
            <a:xfrm>
              <a:off x="7866062" y="4666789"/>
              <a:ext cx="39688" cy="27000"/>
            </a:xfrm>
            <a:custGeom>
              <a:avLst/>
              <a:gdLst>
                <a:gd name="T0" fmla="*/ 4 w 25"/>
                <a:gd name="T1" fmla="*/ 0 h 17"/>
                <a:gd name="T2" fmla="*/ 10 w 25"/>
                <a:gd name="T3" fmla="*/ 1 h 17"/>
                <a:gd name="T4" fmla="*/ 19 w 25"/>
                <a:gd name="T5" fmla="*/ 7 h 17"/>
                <a:gd name="T6" fmla="*/ 23 w 25"/>
                <a:gd name="T7" fmla="*/ 13 h 17"/>
                <a:gd name="T8" fmla="*/ 25 w 25"/>
                <a:gd name="T9" fmla="*/ 17 h 17"/>
                <a:gd name="T10" fmla="*/ 14 w 25"/>
                <a:gd name="T11" fmla="*/ 9 h 17"/>
                <a:gd name="T12" fmla="*/ 8 w 25"/>
                <a:gd name="T13" fmla="*/ 3 h 17"/>
                <a:gd name="T14" fmla="*/ 0 w 25"/>
                <a:gd name="T15" fmla="*/ 0 h 17"/>
                <a:gd name="T16" fmla="*/ 4 w 25"/>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17">
                  <a:moveTo>
                    <a:pt x="4" y="0"/>
                  </a:moveTo>
                  <a:lnTo>
                    <a:pt x="10" y="1"/>
                  </a:lnTo>
                  <a:lnTo>
                    <a:pt x="19" y="7"/>
                  </a:lnTo>
                  <a:lnTo>
                    <a:pt x="23" y="13"/>
                  </a:lnTo>
                  <a:lnTo>
                    <a:pt x="25" y="17"/>
                  </a:lnTo>
                  <a:lnTo>
                    <a:pt x="14" y="9"/>
                  </a:lnTo>
                  <a:lnTo>
                    <a:pt x="8" y="3"/>
                  </a:lnTo>
                  <a:lnTo>
                    <a:pt x="0" y="0"/>
                  </a:lnTo>
                  <a:lnTo>
                    <a:pt x="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49">
              <a:extLst>
                <a:ext uri="{FF2B5EF4-FFF2-40B4-BE49-F238E27FC236}">
                  <a16:creationId xmlns:a16="http://schemas.microsoft.com/office/drawing/2014/main" id="{8CD0383E-0898-45B8-9AA3-4B966D5090CB}"/>
                </a:ext>
              </a:extLst>
            </p:cNvPr>
            <p:cNvSpPr>
              <a:spLocks/>
            </p:cNvSpPr>
            <p:nvPr/>
          </p:nvSpPr>
          <p:spPr bwMode="auto">
            <a:xfrm>
              <a:off x="7829550" y="4650906"/>
              <a:ext cx="25400" cy="15882"/>
            </a:xfrm>
            <a:custGeom>
              <a:avLst/>
              <a:gdLst>
                <a:gd name="T0" fmla="*/ 2 w 16"/>
                <a:gd name="T1" fmla="*/ 0 h 10"/>
                <a:gd name="T2" fmla="*/ 10 w 16"/>
                <a:gd name="T3" fmla="*/ 4 h 10"/>
                <a:gd name="T4" fmla="*/ 16 w 16"/>
                <a:gd name="T5" fmla="*/ 10 h 10"/>
                <a:gd name="T6" fmla="*/ 12 w 16"/>
                <a:gd name="T7" fmla="*/ 10 h 10"/>
                <a:gd name="T8" fmla="*/ 6 w 16"/>
                <a:gd name="T9" fmla="*/ 6 h 10"/>
                <a:gd name="T10" fmla="*/ 0 w 16"/>
                <a:gd name="T11" fmla="*/ 0 h 10"/>
                <a:gd name="T12" fmla="*/ 2 w 1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6" h="10">
                  <a:moveTo>
                    <a:pt x="2" y="0"/>
                  </a:moveTo>
                  <a:lnTo>
                    <a:pt x="10" y="4"/>
                  </a:lnTo>
                  <a:lnTo>
                    <a:pt x="16" y="10"/>
                  </a:lnTo>
                  <a:lnTo>
                    <a:pt x="12" y="10"/>
                  </a:lnTo>
                  <a:lnTo>
                    <a:pt x="6" y="6"/>
                  </a:lnTo>
                  <a:lnTo>
                    <a:pt x="0" y="0"/>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51">
              <a:extLst>
                <a:ext uri="{FF2B5EF4-FFF2-40B4-BE49-F238E27FC236}">
                  <a16:creationId xmlns:a16="http://schemas.microsoft.com/office/drawing/2014/main" id="{707F5954-C2A4-4B72-AF7F-BB7E7CAB8ADC}"/>
                </a:ext>
              </a:extLst>
            </p:cNvPr>
            <p:cNvSpPr>
              <a:spLocks/>
            </p:cNvSpPr>
            <p:nvPr/>
          </p:nvSpPr>
          <p:spPr bwMode="auto">
            <a:xfrm>
              <a:off x="6699250" y="4635024"/>
              <a:ext cx="228600" cy="61941"/>
            </a:xfrm>
            <a:custGeom>
              <a:avLst/>
              <a:gdLst>
                <a:gd name="T0" fmla="*/ 8 w 144"/>
                <a:gd name="T1" fmla="*/ 0 h 39"/>
                <a:gd name="T2" fmla="*/ 25 w 144"/>
                <a:gd name="T3" fmla="*/ 0 h 39"/>
                <a:gd name="T4" fmla="*/ 37 w 144"/>
                <a:gd name="T5" fmla="*/ 4 h 39"/>
                <a:gd name="T6" fmla="*/ 43 w 144"/>
                <a:gd name="T7" fmla="*/ 6 h 39"/>
                <a:gd name="T8" fmla="*/ 44 w 144"/>
                <a:gd name="T9" fmla="*/ 10 h 39"/>
                <a:gd name="T10" fmla="*/ 71 w 144"/>
                <a:gd name="T11" fmla="*/ 12 h 39"/>
                <a:gd name="T12" fmla="*/ 73 w 144"/>
                <a:gd name="T13" fmla="*/ 6 h 39"/>
                <a:gd name="T14" fmla="*/ 100 w 144"/>
                <a:gd name="T15" fmla="*/ 12 h 39"/>
                <a:gd name="T16" fmla="*/ 106 w 144"/>
                <a:gd name="T17" fmla="*/ 21 h 39"/>
                <a:gd name="T18" fmla="*/ 125 w 144"/>
                <a:gd name="T19" fmla="*/ 23 h 39"/>
                <a:gd name="T20" fmla="*/ 144 w 144"/>
                <a:gd name="T21" fmla="*/ 33 h 39"/>
                <a:gd name="T22" fmla="*/ 127 w 144"/>
                <a:gd name="T23" fmla="*/ 39 h 39"/>
                <a:gd name="T24" fmla="*/ 112 w 144"/>
                <a:gd name="T25" fmla="*/ 33 h 39"/>
                <a:gd name="T26" fmla="*/ 100 w 144"/>
                <a:gd name="T27" fmla="*/ 33 h 39"/>
                <a:gd name="T28" fmla="*/ 85 w 144"/>
                <a:gd name="T29" fmla="*/ 33 h 39"/>
                <a:gd name="T30" fmla="*/ 71 w 144"/>
                <a:gd name="T31" fmla="*/ 29 h 39"/>
                <a:gd name="T32" fmla="*/ 56 w 144"/>
                <a:gd name="T33" fmla="*/ 23 h 39"/>
                <a:gd name="T34" fmla="*/ 44 w 144"/>
                <a:gd name="T35" fmla="*/ 21 h 39"/>
                <a:gd name="T36" fmla="*/ 41 w 144"/>
                <a:gd name="T37" fmla="*/ 23 h 39"/>
                <a:gd name="T38" fmla="*/ 16 w 144"/>
                <a:gd name="T39" fmla="*/ 20 h 39"/>
                <a:gd name="T40" fmla="*/ 12 w 144"/>
                <a:gd name="T41" fmla="*/ 12 h 39"/>
                <a:gd name="T42" fmla="*/ 0 w 144"/>
                <a:gd name="T43" fmla="*/ 12 h 39"/>
                <a:gd name="T44" fmla="*/ 8 w 144"/>
                <a:gd name="T4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4" h="39">
                  <a:moveTo>
                    <a:pt x="8" y="0"/>
                  </a:moveTo>
                  <a:lnTo>
                    <a:pt x="25" y="0"/>
                  </a:lnTo>
                  <a:lnTo>
                    <a:pt x="37" y="4"/>
                  </a:lnTo>
                  <a:lnTo>
                    <a:pt x="43" y="6"/>
                  </a:lnTo>
                  <a:lnTo>
                    <a:pt x="44" y="10"/>
                  </a:lnTo>
                  <a:lnTo>
                    <a:pt x="71" y="12"/>
                  </a:lnTo>
                  <a:lnTo>
                    <a:pt x="73" y="6"/>
                  </a:lnTo>
                  <a:lnTo>
                    <a:pt x="100" y="12"/>
                  </a:lnTo>
                  <a:lnTo>
                    <a:pt x="106" y="21"/>
                  </a:lnTo>
                  <a:lnTo>
                    <a:pt x="125" y="23"/>
                  </a:lnTo>
                  <a:lnTo>
                    <a:pt x="144" y="33"/>
                  </a:lnTo>
                  <a:lnTo>
                    <a:pt x="127" y="39"/>
                  </a:lnTo>
                  <a:lnTo>
                    <a:pt x="112" y="33"/>
                  </a:lnTo>
                  <a:lnTo>
                    <a:pt x="100" y="33"/>
                  </a:lnTo>
                  <a:lnTo>
                    <a:pt x="85" y="33"/>
                  </a:lnTo>
                  <a:lnTo>
                    <a:pt x="71" y="29"/>
                  </a:lnTo>
                  <a:lnTo>
                    <a:pt x="56" y="23"/>
                  </a:lnTo>
                  <a:lnTo>
                    <a:pt x="44" y="21"/>
                  </a:lnTo>
                  <a:lnTo>
                    <a:pt x="41" y="23"/>
                  </a:lnTo>
                  <a:lnTo>
                    <a:pt x="16" y="20"/>
                  </a:lnTo>
                  <a:lnTo>
                    <a:pt x="12" y="12"/>
                  </a:lnTo>
                  <a:lnTo>
                    <a:pt x="0" y="12"/>
                  </a:lnTo>
                  <a:lnTo>
                    <a:pt x="8"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53">
              <a:extLst>
                <a:ext uri="{FF2B5EF4-FFF2-40B4-BE49-F238E27FC236}">
                  <a16:creationId xmlns:a16="http://schemas.microsoft.com/office/drawing/2014/main" id="{10C14BA0-0465-4C3C-9AD8-AB5C37985A91}"/>
                </a:ext>
              </a:extLst>
            </p:cNvPr>
            <p:cNvSpPr>
              <a:spLocks/>
            </p:cNvSpPr>
            <p:nvPr/>
          </p:nvSpPr>
          <p:spPr bwMode="auto">
            <a:xfrm>
              <a:off x="7332662" y="4623907"/>
              <a:ext cx="15875" cy="30177"/>
            </a:xfrm>
            <a:custGeom>
              <a:avLst/>
              <a:gdLst>
                <a:gd name="T0" fmla="*/ 6 w 10"/>
                <a:gd name="T1" fmla="*/ 0 h 19"/>
                <a:gd name="T2" fmla="*/ 10 w 10"/>
                <a:gd name="T3" fmla="*/ 4 h 19"/>
                <a:gd name="T4" fmla="*/ 10 w 10"/>
                <a:gd name="T5" fmla="*/ 7 h 19"/>
                <a:gd name="T6" fmla="*/ 10 w 10"/>
                <a:gd name="T7" fmla="*/ 9 h 19"/>
                <a:gd name="T8" fmla="*/ 2 w 10"/>
                <a:gd name="T9" fmla="*/ 19 h 19"/>
                <a:gd name="T10" fmla="*/ 0 w 10"/>
                <a:gd name="T11" fmla="*/ 9 h 19"/>
                <a:gd name="T12" fmla="*/ 2 w 10"/>
                <a:gd name="T13" fmla="*/ 5 h 19"/>
                <a:gd name="T14" fmla="*/ 6 w 10"/>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9">
                  <a:moveTo>
                    <a:pt x="6" y="0"/>
                  </a:moveTo>
                  <a:lnTo>
                    <a:pt x="10" y="4"/>
                  </a:lnTo>
                  <a:lnTo>
                    <a:pt x="10" y="7"/>
                  </a:lnTo>
                  <a:lnTo>
                    <a:pt x="10" y="9"/>
                  </a:lnTo>
                  <a:lnTo>
                    <a:pt x="2" y="19"/>
                  </a:lnTo>
                  <a:lnTo>
                    <a:pt x="0" y="9"/>
                  </a:lnTo>
                  <a:lnTo>
                    <a:pt x="2" y="5"/>
                  </a:lnTo>
                  <a:lnTo>
                    <a:pt x="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55">
              <a:extLst>
                <a:ext uri="{FF2B5EF4-FFF2-40B4-BE49-F238E27FC236}">
                  <a16:creationId xmlns:a16="http://schemas.microsoft.com/office/drawing/2014/main" id="{E615170D-A957-4CBA-84AF-6ABF00539783}"/>
                </a:ext>
              </a:extLst>
            </p:cNvPr>
            <p:cNvSpPr>
              <a:spLocks/>
            </p:cNvSpPr>
            <p:nvPr/>
          </p:nvSpPr>
          <p:spPr bwMode="auto">
            <a:xfrm>
              <a:off x="7786687" y="4614378"/>
              <a:ext cx="31750" cy="39706"/>
            </a:xfrm>
            <a:custGeom>
              <a:avLst/>
              <a:gdLst>
                <a:gd name="T0" fmla="*/ 2 w 20"/>
                <a:gd name="T1" fmla="*/ 0 h 25"/>
                <a:gd name="T2" fmla="*/ 4 w 20"/>
                <a:gd name="T3" fmla="*/ 4 h 25"/>
                <a:gd name="T4" fmla="*/ 6 w 20"/>
                <a:gd name="T5" fmla="*/ 8 h 25"/>
                <a:gd name="T6" fmla="*/ 14 w 20"/>
                <a:gd name="T7" fmla="*/ 15 h 25"/>
                <a:gd name="T8" fmla="*/ 20 w 20"/>
                <a:gd name="T9" fmla="*/ 21 h 25"/>
                <a:gd name="T10" fmla="*/ 20 w 20"/>
                <a:gd name="T11" fmla="*/ 23 h 25"/>
                <a:gd name="T12" fmla="*/ 16 w 20"/>
                <a:gd name="T13" fmla="*/ 25 h 25"/>
                <a:gd name="T14" fmla="*/ 8 w 20"/>
                <a:gd name="T15" fmla="*/ 21 h 25"/>
                <a:gd name="T16" fmla="*/ 2 w 20"/>
                <a:gd name="T17" fmla="*/ 13 h 25"/>
                <a:gd name="T18" fmla="*/ 0 w 20"/>
                <a:gd name="T19" fmla="*/ 0 h 25"/>
                <a:gd name="T20" fmla="*/ 2 w 20"/>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 y="0"/>
                  </a:moveTo>
                  <a:lnTo>
                    <a:pt x="4" y="4"/>
                  </a:lnTo>
                  <a:lnTo>
                    <a:pt x="6" y="8"/>
                  </a:lnTo>
                  <a:lnTo>
                    <a:pt x="14" y="15"/>
                  </a:lnTo>
                  <a:lnTo>
                    <a:pt x="20" y="21"/>
                  </a:lnTo>
                  <a:lnTo>
                    <a:pt x="20" y="23"/>
                  </a:lnTo>
                  <a:lnTo>
                    <a:pt x="16" y="25"/>
                  </a:lnTo>
                  <a:lnTo>
                    <a:pt x="8" y="21"/>
                  </a:lnTo>
                  <a:lnTo>
                    <a:pt x="2" y="13"/>
                  </a:lnTo>
                  <a:lnTo>
                    <a:pt x="0" y="0"/>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57">
              <a:extLst>
                <a:ext uri="{FF2B5EF4-FFF2-40B4-BE49-F238E27FC236}">
                  <a16:creationId xmlns:a16="http://schemas.microsoft.com/office/drawing/2014/main" id="{EAA504D4-75B3-4E13-B7F3-A8D2BAAA6C9E}"/>
                </a:ext>
              </a:extLst>
            </p:cNvPr>
            <p:cNvSpPr>
              <a:spLocks/>
            </p:cNvSpPr>
            <p:nvPr/>
          </p:nvSpPr>
          <p:spPr bwMode="auto">
            <a:xfrm>
              <a:off x="7650162" y="4593731"/>
              <a:ext cx="88900" cy="47647"/>
            </a:xfrm>
            <a:custGeom>
              <a:avLst/>
              <a:gdLst>
                <a:gd name="T0" fmla="*/ 52 w 56"/>
                <a:gd name="T1" fmla="*/ 0 h 30"/>
                <a:gd name="T2" fmla="*/ 56 w 56"/>
                <a:gd name="T3" fmla="*/ 1 h 30"/>
                <a:gd name="T4" fmla="*/ 54 w 56"/>
                <a:gd name="T5" fmla="*/ 9 h 30"/>
                <a:gd name="T6" fmla="*/ 52 w 56"/>
                <a:gd name="T7" fmla="*/ 19 h 30"/>
                <a:gd name="T8" fmla="*/ 42 w 56"/>
                <a:gd name="T9" fmla="*/ 21 h 30"/>
                <a:gd name="T10" fmla="*/ 42 w 56"/>
                <a:gd name="T11" fmla="*/ 24 h 30"/>
                <a:gd name="T12" fmla="*/ 33 w 56"/>
                <a:gd name="T13" fmla="*/ 26 h 30"/>
                <a:gd name="T14" fmla="*/ 25 w 56"/>
                <a:gd name="T15" fmla="*/ 30 h 30"/>
                <a:gd name="T16" fmla="*/ 19 w 56"/>
                <a:gd name="T17" fmla="*/ 30 h 30"/>
                <a:gd name="T18" fmla="*/ 8 w 56"/>
                <a:gd name="T19" fmla="*/ 26 h 30"/>
                <a:gd name="T20" fmla="*/ 0 w 56"/>
                <a:gd name="T21" fmla="*/ 23 h 30"/>
                <a:gd name="T22" fmla="*/ 2 w 56"/>
                <a:gd name="T23" fmla="*/ 19 h 30"/>
                <a:gd name="T24" fmla="*/ 13 w 56"/>
                <a:gd name="T25" fmla="*/ 21 h 30"/>
                <a:gd name="T26" fmla="*/ 21 w 56"/>
                <a:gd name="T27" fmla="*/ 19 h 30"/>
                <a:gd name="T28" fmla="*/ 23 w 56"/>
                <a:gd name="T29" fmla="*/ 11 h 30"/>
                <a:gd name="T30" fmla="*/ 23 w 56"/>
                <a:gd name="T31" fmla="*/ 11 h 30"/>
                <a:gd name="T32" fmla="*/ 25 w 56"/>
                <a:gd name="T33" fmla="*/ 21 h 30"/>
                <a:gd name="T34" fmla="*/ 35 w 56"/>
                <a:gd name="T35" fmla="*/ 19 h 30"/>
                <a:gd name="T36" fmla="*/ 38 w 56"/>
                <a:gd name="T37" fmla="*/ 13 h 30"/>
                <a:gd name="T38" fmla="*/ 46 w 56"/>
                <a:gd name="T39" fmla="*/ 7 h 30"/>
                <a:gd name="T40" fmla="*/ 44 w 56"/>
                <a:gd name="T41" fmla="*/ 0 h 30"/>
                <a:gd name="T42" fmla="*/ 52 w 56"/>
                <a:gd name="T4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30">
                  <a:moveTo>
                    <a:pt x="52" y="0"/>
                  </a:moveTo>
                  <a:lnTo>
                    <a:pt x="56" y="1"/>
                  </a:lnTo>
                  <a:lnTo>
                    <a:pt x="54" y="9"/>
                  </a:lnTo>
                  <a:lnTo>
                    <a:pt x="52" y="19"/>
                  </a:lnTo>
                  <a:lnTo>
                    <a:pt x="42" y="21"/>
                  </a:lnTo>
                  <a:lnTo>
                    <a:pt x="42" y="24"/>
                  </a:lnTo>
                  <a:lnTo>
                    <a:pt x="33" y="26"/>
                  </a:lnTo>
                  <a:lnTo>
                    <a:pt x="25" y="30"/>
                  </a:lnTo>
                  <a:lnTo>
                    <a:pt x="19" y="30"/>
                  </a:lnTo>
                  <a:lnTo>
                    <a:pt x="8" y="26"/>
                  </a:lnTo>
                  <a:lnTo>
                    <a:pt x="0" y="23"/>
                  </a:lnTo>
                  <a:lnTo>
                    <a:pt x="2" y="19"/>
                  </a:lnTo>
                  <a:lnTo>
                    <a:pt x="13" y="21"/>
                  </a:lnTo>
                  <a:lnTo>
                    <a:pt x="21" y="19"/>
                  </a:lnTo>
                  <a:lnTo>
                    <a:pt x="23" y="11"/>
                  </a:lnTo>
                  <a:lnTo>
                    <a:pt x="23" y="11"/>
                  </a:lnTo>
                  <a:lnTo>
                    <a:pt x="25" y="21"/>
                  </a:lnTo>
                  <a:lnTo>
                    <a:pt x="35" y="19"/>
                  </a:lnTo>
                  <a:lnTo>
                    <a:pt x="38" y="13"/>
                  </a:lnTo>
                  <a:lnTo>
                    <a:pt x="46" y="7"/>
                  </a:lnTo>
                  <a:lnTo>
                    <a:pt x="44" y="0"/>
                  </a:lnTo>
                  <a:lnTo>
                    <a:pt x="5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59">
              <a:extLst>
                <a:ext uri="{FF2B5EF4-FFF2-40B4-BE49-F238E27FC236}">
                  <a16:creationId xmlns:a16="http://schemas.microsoft.com/office/drawing/2014/main" id="{5B38A8E1-2C70-4916-805B-1A9D447B789D}"/>
                </a:ext>
              </a:extLst>
            </p:cNvPr>
            <p:cNvSpPr>
              <a:spLocks/>
            </p:cNvSpPr>
            <p:nvPr/>
          </p:nvSpPr>
          <p:spPr bwMode="auto">
            <a:xfrm>
              <a:off x="7153275" y="4571495"/>
              <a:ext cx="30163" cy="15882"/>
            </a:xfrm>
            <a:custGeom>
              <a:avLst/>
              <a:gdLst>
                <a:gd name="T0" fmla="*/ 16 w 19"/>
                <a:gd name="T1" fmla="*/ 0 h 10"/>
                <a:gd name="T2" fmla="*/ 19 w 19"/>
                <a:gd name="T3" fmla="*/ 4 h 10"/>
                <a:gd name="T4" fmla="*/ 14 w 19"/>
                <a:gd name="T5" fmla="*/ 10 h 10"/>
                <a:gd name="T6" fmla="*/ 4 w 19"/>
                <a:gd name="T7" fmla="*/ 8 h 10"/>
                <a:gd name="T8" fmla="*/ 0 w 19"/>
                <a:gd name="T9" fmla="*/ 0 h 10"/>
                <a:gd name="T10" fmla="*/ 16 w 19"/>
                <a:gd name="T11" fmla="*/ 0 h 10"/>
              </a:gdLst>
              <a:ahLst/>
              <a:cxnLst>
                <a:cxn ang="0">
                  <a:pos x="T0" y="T1"/>
                </a:cxn>
                <a:cxn ang="0">
                  <a:pos x="T2" y="T3"/>
                </a:cxn>
                <a:cxn ang="0">
                  <a:pos x="T4" y="T5"/>
                </a:cxn>
                <a:cxn ang="0">
                  <a:pos x="T6" y="T7"/>
                </a:cxn>
                <a:cxn ang="0">
                  <a:pos x="T8" y="T9"/>
                </a:cxn>
                <a:cxn ang="0">
                  <a:pos x="T10" y="T11"/>
                </a:cxn>
              </a:cxnLst>
              <a:rect l="0" t="0" r="r" b="b"/>
              <a:pathLst>
                <a:path w="19" h="10">
                  <a:moveTo>
                    <a:pt x="16" y="0"/>
                  </a:moveTo>
                  <a:lnTo>
                    <a:pt x="19" y="4"/>
                  </a:lnTo>
                  <a:lnTo>
                    <a:pt x="14" y="10"/>
                  </a:lnTo>
                  <a:lnTo>
                    <a:pt x="4" y="8"/>
                  </a:lnTo>
                  <a:lnTo>
                    <a:pt x="0" y="0"/>
                  </a:lnTo>
                  <a:lnTo>
                    <a:pt x="1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61">
              <a:extLst>
                <a:ext uri="{FF2B5EF4-FFF2-40B4-BE49-F238E27FC236}">
                  <a16:creationId xmlns:a16="http://schemas.microsoft.com/office/drawing/2014/main" id="{37BE8EA5-57C5-453C-B581-B2F733266920}"/>
                </a:ext>
              </a:extLst>
            </p:cNvPr>
            <p:cNvSpPr>
              <a:spLocks/>
            </p:cNvSpPr>
            <p:nvPr/>
          </p:nvSpPr>
          <p:spPr bwMode="auto">
            <a:xfrm>
              <a:off x="7196137" y="4565143"/>
              <a:ext cx="66675" cy="25411"/>
            </a:xfrm>
            <a:custGeom>
              <a:avLst/>
              <a:gdLst>
                <a:gd name="T0" fmla="*/ 19 w 42"/>
                <a:gd name="T1" fmla="*/ 0 h 16"/>
                <a:gd name="T2" fmla="*/ 37 w 42"/>
                <a:gd name="T3" fmla="*/ 2 h 16"/>
                <a:gd name="T4" fmla="*/ 42 w 42"/>
                <a:gd name="T5" fmla="*/ 16 h 16"/>
                <a:gd name="T6" fmla="*/ 31 w 42"/>
                <a:gd name="T7" fmla="*/ 8 h 16"/>
                <a:gd name="T8" fmla="*/ 17 w 42"/>
                <a:gd name="T9" fmla="*/ 8 h 16"/>
                <a:gd name="T10" fmla="*/ 10 w 42"/>
                <a:gd name="T11" fmla="*/ 8 h 16"/>
                <a:gd name="T12" fmla="*/ 0 w 42"/>
                <a:gd name="T13" fmla="*/ 8 h 16"/>
                <a:gd name="T14" fmla="*/ 4 w 42"/>
                <a:gd name="T15" fmla="*/ 0 h 16"/>
                <a:gd name="T16" fmla="*/ 19 w 42"/>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6">
                  <a:moveTo>
                    <a:pt x="19" y="0"/>
                  </a:moveTo>
                  <a:lnTo>
                    <a:pt x="37" y="2"/>
                  </a:lnTo>
                  <a:lnTo>
                    <a:pt x="42" y="16"/>
                  </a:lnTo>
                  <a:lnTo>
                    <a:pt x="31" y="8"/>
                  </a:lnTo>
                  <a:lnTo>
                    <a:pt x="17" y="8"/>
                  </a:lnTo>
                  <a:lnTo>
                    <a:pt x="10" y="8"/>
                  </a:lnTo>
                  <a:lnTo>
                    <a:pt x="0" y="8"/>
                  </a:lnTo>
                  <a:lnTo>
                    <a:pt x="4" y="0"/>
                  </a:lnTo>
                  <a:lnTo>
                    <a:pt x="1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63">
              <a:extLst>
                <a:ext uri="{FF2B5EF4-FFF2-40B4-BE49-F238E27FC236}">
                  <a16:creationId xmlns:a16="http://schemas.microsoft.com/office/drawing/2014/main" id="{5677B113-22BF-4FB5-BFCF-D222101DEB38}"/>
                </a:ext>
              </a:extLst>
            </p:cNvPr>
            <p:cNvSpPr>
              <a:spLocks/>
            </p:cNvSpPr>
            <p:nvPr/>
          </p:nvSpPr>
          <p:spPr bwMode="auto">
            <a:xfrm>
              <a:off x="7702550" y="4555613"/>
              <a:ext cx="50800" cy="49235"/>
            </a:xfrm>
            <a:custGeom>
              <a:avLst/>
              <a:gdLst>
                <a:gd name="T0" fmla="*/ 3 w 32"/>
                <a:gd name="T1" fmla="*/ 0 h 31"/>
                <a:gd name="T2" fmla="*/ 9 w 32"/>
                <a:gd name="T3" fmla="*/ 6 h 31"/>
                <a:gd name="T4" fmla="*/ 15 w 32"/>
                <a:gd name="T5" fmla="*/ 8 h 31"/>
                <a:gd name="T6" fmla="*/ 21 w 32"/>
                <a:gd name="T7" fmla="*/ 12 h 31"/>
                <a:gd name="T8" fmla="*/ 26 w 32"/>
                <a:gd name="T9" fmla="*/ 18 h 31"/>
                <a:gd name="T10" fmla="*/ 30 w 32"/>
                <a:gd name="T11" fmla="*/ 22 h 31"/>
                <a:gd name="T12" fmla="*/ 32 w 32"/>
                <a:gd name="T13" fmla="*/ 29 h 31"/>
                <a:gd name="T14" fmla="*/ 30 w 32"/>
                <a:gd name="T15" fmla="*/ 31 h 31"/>
                <a:gd name="T16" fmla="*/ 26 w 32"/>
                <a:gd name="T17" fmla="*/ 24 h 31"/>
                <a:gd name="T18" fmla="*/ 23 w 32"/>
                <a:gd name="T19" fmla="*/ 20 h 31"/>
                <a:gd name="T20" fmla="*/ 17 w 32"/>
                <a:gd name="T21" fmla="*/ 14 h 31"/>
                <a:gd name="T22" fmla="*/ 9 w 32"/>
                <a:gd name="T23" fmla="*/ 8 h 31"/>
                <a:gd name="T24" fmla="*/ 0 w 32"/>
                <a:gd name="T25" fmla="*/ 4 h 31"/>
                <a:gd name="T26" fmla="*/ 3 w 32"/>
                <a:gd name="T2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1">
                  <a:moveTo>
                    <a:pt x="3" y="0"/>
                  </a:moveTo>
                  <a:lnTo>
                    <a:pt x="9" y="6"/>
                  </a:lnTo>
                  <a:lnTo>
                    <a:pt x="15" y="8"/>
                  </a:lnTo>
                  <a:lnTo>
                    <a:pt x="21" y="12"/>
                  </a:lnTo>
                  <a:lnTo>
                    <a:pt x="26" y="18"/>
                  </a:lnTo>
                  <a:lnTo>
                    <a:pt x="30" y="22"/>
                  </a:lnTo>
                  <a:lnTo>
                    <a:pt x="32" y="29"/>
                  </a:lnTo>
                  <a:lnTo>
                    <a:pt x="30" y="31"/>
                  </a:lnTo>
                  <a:lnTo>
                    <a:pt x="26" y="24"/>
                  </a:lnTo>
                  <a:lnTo>
                    <a:pt x="23" y="20"/>
                  </a:lnTo>
                  <a:lnTo>
                    <a:pt x="17" y="14"/>
                  </a:lnTo>
                  <a:lnTo>
                    <a:pt x="9" y="8"/>
                  </a:lnTo>
                  <a:lnTo>
                    <a:pt x="0" y="4"/>
                  </a:lnTo>
                  <a:lnTo>
                    <a:pt x="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65">
              <a:extLst>
                <a:ext uri="{FF2B5EF4-FFF2-40B4-BE49-F238E27FC236}">
                  <a16:creationId xmlns:a16="http://schemas.microsoft.com/office/drawing/2014/main" id="{B3EDBF1B-6E46-4C1A-AC46-2BF448393672}"/>
                </a:ext>
              </a:extLst>
            </p:cNvPr>
            <p:cNvSpPr>
              <a:spLocks/>
            </p:cNvSpPr>
            <p:nvPr/>
          </p:nvSpPr>
          <p:spPr bwMode="auto">
            <a:xfrm>
              <a:off x="7254875" y="4511143"/>
              <a:ext cx="450850" cy="228703"/>
            </a:xfrm>
            <a:custGeom>
              <a:avLst/>
              <a:gdLst>
                <a:gd name="T0" fmla="*/ 48 w 284"/>
                <a:gd name="T1" fmla="*/ 5 h 144"/>
                <a:gd name="T2" fmla="*/ 53 w 284"/>
                <a:gd name="T3" fmla="*/ 34 h 144"/>
                <a:gd name="T4" fmla="*/ 80 w 284"/>
                <a:gd name="T5" fmla="*/ 27 h 144"/>
                <a:gd name="T6" fmla="*/ 109 w 284"/>
                <a:gd name="T7" fmla="*/ 19 h 144"/>
                <a:gd name="T8" fmla="*/ 130 w 284"/>
                <a:gd name="T9" fmla="*/ 28 h 144"/>
                <a:gd name="T10" fmla="*/ 170 w 284"/>
                <a:gd name="T11" fmla="*/ 40 h 144"/>
                <a:gd name="T12" fmla="*/ 205 w 284"/>
                <a:gd name="T13" fmla="*/ 55 h 144"/>
                <a:gd name="T14" fmla="*/ 214 w 284"/>
                <a:gd name="T15" fmla="*/ 71 h 144"/>
                <a:gd name="T16" fmla="*/ 243 w 284"/>
                <a:gd name="T17" fmla="*/ 88 h 144"/>
                <a:gd name="T18" fmla="*/ 234 w 284"/>
                <a:gd name="T19" fmla="*/ 98 h 144"/>
                <a:gd name="T20" fmla="*/ 255 w 284"/>
                <a:gd name="T21" fmla="*/ 123 h 144"/>
                <a:gd name="T22" fmla="*/ 262 w 284"/>
                <a:gd name="T23" fmla="*/ 126 h 144"/>
                <a:gd name="T24" fmla="*/ 268 w 284"/>
                <a:gd name="T25" fmla="*/ 132 h 144"/>
                <a:gd name="T26" fmla="*/ 282 w 284"/>
                <a:gd name="T27" fmla="*/ 142 h 144"/>
                <a:gd name="T28" fmla="*/ 268 w 284"/>
                <a:gd name="T29" fmla="*/ 140 h 144"/>
                <a:gd name="T30" fmla="*/ 243 w 284"/>
                <a:gd name="T31" fmla="*/ 136 h 144"/>
                <a:gd name="T32" fmla="*/ 224 w 284"/>
                <a:gd name="T33" fmla="*/ 119 h 144"/>
                <a:gd name="T34" fmla="*/ 197 w 284"/>
                <a:gd name="T35" fmla="*/ 99 h 144"/>
                <a:gd name="T36" fmla="*/ 176 w 284"/>
                <a:gd name="T37" fmla="*/ 109 h 144"/>
                <a:gd name="T38" fmla="*/ 168 w 284"/>
                <a:gd name="T39" fmla="*/ 124 h 144"/>
                <a:gd name="T40" fmla="*/ 145 w 284"/>
                <a:gd name="T41" fmla="*/ 123 h 144"/>
                <a:gd name="T42" fmla="*/ 120 w 284"/>
                <a:gd name="T43" fmla="*/ 107 h 144"/>
                <a:gd name="T44" fmla="*/ 99 w 284"/>
                <a:gd name="T45" fmla="*/ 113 h 144"/>
                <a:gd name="T46" fmla="*/ 113 w 284"/>
                <a:gd name="T47" fmla="*/ 98 h 144"/>
                <a:gd name="T48" fmla="*/ 103 w 284"/>
                <a:gd name="T49" fmla="*/ 69 h 144"/>
                <a:gd name="T50" fmla="*/ 65 w 284"/>
                <a:gd name="T51" fmla="*/ 57 h 144"/>
                <a:gd name="T52" fmla="*/ 40 w 284"/>
                <a:gd name="T53" fmla="*/ 50 h 144"/>
                <a:gd name="T54" fmla="*/ 32 w 284"/>
                <a:gd name="T55" fmla="*/ 48 h 144"/>
                <a:gd name="T56" fmla="*/ 32 w 284"/>
                <a:gd name="T57" fmla="*/ 40 h 144"/>
                <a:gd name="T58" fmla="*/ 34 w 284"/>
                <a:gd name="T59" fmla="*/ 28 h 144"/>
                <a:gd name="T60" fmla="*/ 44 w 284"/>
                <a:gd name="T61" fmla="*/ 25 h 144"/>
                <a:gd name="T62" fmla="*/ 19 w 284"/>
                <a:gd name="T63" fmla="*/ 17 h 144"/>
                <a:gd name="T64" fmla="*/ 0 w 284"/>
                <a:gd name="T65" fmla="*/ 7 h 144"/>
                <a:gd name="T66" fmla="*/ 24 w 284"/>
                <a:gd name="T6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4" h="144">
                  <a:moveTo>
                    <a:pt x="24" y="0"/>
                  </a:moveTo>
                  <a:lnTo>
                    <a:pt x="48" y="5"/>
                  </a:lnTo>
                  <a:lnTo>
                    <a:pt x="49" y="11"/>
                  </a:lnTo>
                  <a:lnTo>
                    <a:pt x="53" y="34"/>
                  </a:lnTo>
                  <a:lnTo>
                    <a:pt x="69" y="42"/>
                  </a:lnTo>
                  <a:lnTo>
                    <a:pt x="80" y="27"/>
                  </a:lnTo>
                  <a:lnTo>
                    <a:pt x="97" y="19"/>
                  </a:lnTo>
                  <a:lnTo>
                    <a:pt x="109" y="19"/>
                  </a:lnTo>
                  <a:lnTo>
                    <a:pt x="120" y="23"/>
                  </a:lnTo>
                  <a:lnTo>
                    <a:pt x="130" y="28"/>
                  </a:lnTo>
                  <a:lnTo>
                    <a:pt x="145" y="30"/>
                  </a:lnTo>
                  <a:lnTo>
                    <a:pt x="170" y="40"/>
                  </a:lnTo>
                  <a:lnTo>
                    <a:pt x="195" y="50"/>
                  </a:lnTo>
                  <a:lnTo>
                    <a:pt x="205" y="55"/>
                  </a:lnTo>
                  <a:lnTo>
                    <a:pt x="213" y="61"/>
                  </a:lnTo>
                  <a:lnTo>
                    <a:pt x="214" y="71"/>
                  </a:lnTo>
                  <a:lnTo>
                    <a:pt x="239" y="78"/>
                  </a:lnTo>
                  <a:lnTo>
                    <a:pt x="243" y="88"/>
                  </a:lnTo>
                  <a:lnTo>
                    <a:pt x="230" y="88"/>
                  </a:lnTo>
                  <a:lnTo>
                    <a:pt x="234" y="98"/>
                  </a:lnTo>
                  <a:lnTo>
                    <a:pt x="245" y="107"/>
                  </a:lnTo>
                  <a:lnTo>
                    <a:pt x="255" y="123"/>
                  </a:lnTo>
                  <a:lnTo>
                    <a:pt x="262" y="121"/>
                  </a:lnTo>
                  <a:lnTo>
                    <a:pt x="262" y="126"/>
                  </a:lnTo>
                  <a:lnTo>
                    <a:pt x="272" y="128"/>
                  </a:lnTo>
                  <a:lnTo>
                    <a:pt x="268" y="132"/>
                  </a:lnTo>
                  <a:lnTo>
                    <a:pt x="284" y="140"/>
                  </a:lnTo>
                  <a:lnTo>
                    <a:pt x="282" y="142"/>
                  </a:lnTo>
                  <a:lnTo>
                    <a:pt x="272" y="144"/>
                  </a:lnTo>
                  <a:lnTo>
                    <a:pt x="268" y="140"/>
                  </a:lnTo>
                  <a:lnTo>
                    <a:pt x="257" y="138"/>
                  </a:lnTo>
                  <a:lnTo>
                    <a:pt x="243" y="136"/>
                  </a:lnTo>
                  <a:lnTo>
                    <a:pt x="230" y="126"/>
                  </a:lnTo>
                  <a:lnTo>
                    <a:pt x="224" y="119"/>
                  </a:lnTo>
                  <a:lnTo>
                    <a:pt x="214" y="107"/>
                  </a:lnTo>
                  <a:lnTo>
                    <a:pt x="197" y="99"/>
                  </a:lnTo>
                  <a:lnTo>
                    <a:pt x="186" y="105"/>
                  </a:lnTo>
                  <a:lnTo>
                    <a:pt x="176" y="109"/>
                  </a:lnTo>
                  <a:lnTo>
                    <a:pt x="178" y="121"/>
                  </a:lnTo>
                  <a:lnTo>
                    <a:pt x="168" y="124"/>
                  </a:lnTo>
                  <a:lnTo>
                    <a:pt x="161" y="123"/>
                  </a:lnTo>
                  <a:lnTo>
                    <a:pt x="145" y="123"/>
                  </a:lnTo>
                  <a:lnTo>
                    <a:pt x="134" y="111"/>
                  </a:lnTo>
                  <a:lnTo>
                    <a:pt x="120" y="107"/>
                  </a:lnTo>
                  <a:lnTo>
                    <a:pt x="117" y="111"/>
                  </a:lnTo>
                  <a:lnTo>
                    <a:pt x="99" y="113"/>
                  </a:lnTo>
                  <a:lnTo>
                    <a:pt x="105" y="99"/>
                  </a:lnTo>
                  <a:lnTo>
                    <a:pt x="113" y="98"/>
                  </a:lnTo>
                  <a:lnTo>
                    <a:pt x="111" y="80"/>
                  </a:lnTo>
                  <a:lnTo>
                    <a:pt x="103" y="69"/>
                  </a:lnTo>
                  <a:lnTo>
                    <a:pt x="74" y="57"/>
                  </a:lnTo>
                  <a:lnTo>
                    <a:pt x="65" y="57"/>
                  </a:lnTo>
                  <a:lnTo>
                    <a:pt x="44" y="44"/>
                  </a:lnTo>
                  <a:lnTo>
                    <a:pt x="40" y="50"/>
                  </a:lnTo>
                  <a:lnTo>
                    <a:pt x="34" y="52"/>
                  </a:lnTo>
                  <a:lnTo>
                    <a:pt x="32" y="48"/>
                  </a:lnTo>
                  <a:lnTo>
                    <a:pt x="32" y="44"/>
                  </a:lnTo>
                  <a:lnTo>
                    <a:pt x="32" y="40"/>
                  </a:lnTo>
                  <a:lnTo>
                    <a:pt x="21" y="34"/>
                  </a:lnTo>
                  <a:lnTo>
                    <a:pt x="34" y="28"/>
                  </a:lnTo>
                  <a:lnTo>
                    <a:pt x="44" y="28"/>
                  </a:lnTo>
                  <a:lnTo>
                    <a:pt x="44" y="25"/>
                  </a:lnTo>
                  <a:lnTo>
                    <a:pt x="23" y="25"/>
                  </a:lnTo>
                  <a:lnTo>
                    <a:pt x="19" y="17"/>
                  </a:lnTo>
                  <a:lnTo>
                    <a:pt x="5" y="13"/>
                  </a:lnTo>
                  <a:lnTo>
                    <a:pt x="0" y="7"/>
                  </a:lnTo>
                  <a:lnTo>
                    <a:pt x="19" y="4"/>
                  </a:lnTo>
                  <a:lnTo>
                    <a:pt x="2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67">
              <a:extLst>
                <a:ext uri="{FF2B5EF4-FFF2-40B4-BE49-F238E27FC236}">
                  <a16:creationId xmlns:a16="http://schemas.microsoft.com/office/drawing/2014/main" id="{2C39FEC3-144F-480F-A926-6738B8852030}"/>
                </a:ext>
              </a:extLst>
            </p:cNvPr>
            <p:cNvSpPr>
              <a:spLocks/>
            </p:cNvSpPr>
            <p:nvPr/>
          </p:nvSpPr>
          <p:spPr bwMode="auto">
            <a:xfrm>
              <a:off x="6994525" y="4468262"/>
              <a:ext cx="144463" cy="161998"/>
            </a:xfrm>
            <a:custGeom>
              <a:avLst/>
              <a:gdLst>
                <a:gd name="T0" fmla="*/ 89 w 91"/>
                <a:gd name="T1" fmla="*/ 0 h 102"/>
                <a:gd name="T2" fmla="*/ 91 w 91"/>
                <a:gd name="T3" fmla="*/ 2 h 102"/>
                <a:gd name="T4" fmla="*/ 79 w 91"/>
                <a:gd name="T5" fmla="*/ 15 h 102"/>
                <a:gd name="T6" fmla="*/ 68 w 91"/>
                <a:gd name="T7" fmla="*/ 19 h 102"/>
                <a:gd name="T8" fmla="*/ 56 w 91"/>
                <a:gd name="T9" fmla="*/ 15 h 102"/>
                <a:gd name="T10" fmla="*/ 31 w 91"/>
                <a:gd name="T11" fmla="*/ 15 h 102"/>
                <a:gd name="T12" fmla="*/ 20 w 91"/>
                <a:gd name="T13" fmla="*/ 19 h 102"/>
                <a:gd name="T14" fmla="*/ 18 w 91"/>
                <a:gd name="T15" fmla="*/ 29 h 102"/>
                <a:gd name="T16" fmla="*/ 29 w 91"/>
                <a:gd name="T17" fmla="*/ 40 h 102"/>
                <a:gd name="T18" fmla="*/ 39 w 91"/>
                <a:gd name="T19" fmla="*/ 36 h 102"/>
                <a:gd name="T20" fmla="*/ 64 w 91"/>
                <a:gd name="T21" fmla="*/ 31 h 102"/>
                <a:gd name="T22" fmla="*/ 62 w 91"/>
                <a:gd name="T23" fmla="*/ 38 h 102"/>
                <a:gd name="T24" fmla="*/ 56 w 91"/>
                <a:gd name="T25" fmla="*/ 34 h 102"/>
                <a:gd name="T26" fmla="*/ 50 w 91"/>
                <a:gd name="T27" fmla="*/ 42 h 102"/>
                <a:gd name="T28" fmla="*/ 39 w 91"/>
                <a:gd name="T29" fmla="*/ 48 h 102"/>
                <a:gd name="T30" fmla="*/ 52 w 91"/>
                <a:gd name="T31" fmla="*/ 65 h 102"/>
                <a:gd name="T32" fmla="*/ 48 w 91"/>
                <a:gd name="T33" fmla="*/ 71 h 102"/>
                <a:gd name="T34" fmla="*/ 62 w 91"/>
                <a:gd name="T35" fmla="*/ 86 h 102"/>
                <a:gd name="T36" fmla="*/ 62 w 91"/>
                <a:gd name="T37" fmla="*/ 90 h 102"/>
                <a:gd name="T38" fmla="*/ 62 w 91"/>
                <a:gd name="T39" fmla="*/ 96 h 102"/>
                <a:gd name="T40" fmla="*/ 54 w 91"/>
                <a:gd name="T41" fmla="*/ 100 h 102"/>
                <a:gd name="T42" fmla="*/ 48 w 91"/>
                <a:gd name="T43" fmla="*/ 96 h 102"/>
                <a:gd name="T44" fmla="*/ 56 w 91"/>
                <a:gd name="T45" fmla="*/ 84 h 102"/>
                <a:gd name="T46" fmla="*/ 43 w 91"/>
                <a:gd name="T47" fmla="*/ 88 h 102"/>
                <a:gd name="T48" fmla="*/ 39 w 91"/>
                <a:gd name="T49" fmla="*/ 86 h 102"/>
                <a:gd name="T50" fmla="*/ 41 w 91"/>
                <a:gd name="T51" fmla="*/ 79 h 102"/>
                <a:gd name="T52" fmla="*/ 29 w 91"/>
                <a:gd name="T53" fmla="*/ 73 h 102"/>
                <a:gd name="T54" fmla="*/ 29 w 91"/>
                <a:gd name="T55" fmla="*/ 57 h 102"/>
                <a:gd name="T56" fmla="*/ 22 w 91"/>
                <a:gd name="T57" fmla="*/ 63 h 102"/>
                <a:gd name="T58" fmla="*/ 23 w 91"/>
                <a:gd name="T59" fmla="*/ 79 h 102"/>
                <a:gd name="T60" fmla="*/ 23 w 91"/>
                <a:gd name="T61" fmla="*/ 100 h 102"/>
                <a:gd name="T62" fmla="*/ 16 w 91"/>
                <a:gd name="T63" fmla="*/ 102 h 102"/>
                <a:gd name="T64" fmla="*/ 8 w 91"/>
                <a:gd name="T65" fmla="*/ 96 h 102"/>
                <a:gd name="T66" fmla="*/ 12 w 91"/>
                <a:gd name="T67" fmla="*/ 84 h 102"/>
                <a:gd name="T68" fmla="*/ 10 w 91"/>
                <a:gd name="T69" fmla="*/ 71 h 102"/>
                <a:gd name="T70" fmla="*/ 4 w 91"/>
                <a:gd name="T71" fmla="*/ 71 h 102"/>
                <a:gd name="T72" fmla="*/ 0 w 91"/>
                <a:gd name="T73" fmla="*/ 61 h 102"/>
                <a:gd name="T74" fmla="*/ 6 w 91"/>
                <a:gd name="T75" fmla="*/ 50 h 102"/>
                <a:gd name="T76" fmla="*/ 8 w 91"/>
                <a:gd name="T77" fmla="*/ 40 h 102"/>
                <a:gd name="T78" fmla="*/ 16 w 91"/>
                <a:gd name="T79" fmla="*/ 19 h 102"/>
                <a:gd name="T80" fmla="*/ 18 w 91"/>
                <a:gd name="T81" fmla="*/ 13 h 102"/>
                <a:gd name="T82" fmla="*/ 29 w 91"/>
                <a:gd name="T83" fmla="*/ 4 h 102"/>
                <a:gd name="T84" fmla="*/ 41 w 91"/>
                <a:gd name="T85" fmla="*/ 7 h 102"/>
                <a:gd name="T86" fmla="*/ 58 w 91"/>
                <a:gd name="T87" fmla="*/ 9 h 102"/>
                <a:gd name="T88" fmla="*/ 73 w 91"/>
                <a:gd name="T89" fmla="*/ 9 h 102"/>
                <a:gd name="T90" fmla="*/ 89 w 91"/>
                <a:gd name="T91"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 h="102">
                  <a:moveTo>
                    <a:pt x="89" y="0"/>
                  </a:moveTo>
                  <a:lnTo>
                    <a:pt x="91" y="2"/>
                  </a:lnTo>
                  <a:lnTo>
                    <a:pt x="79" y="15"/>
                  </a:lnTo>
                  <a:lnTo>
                    <a:pt x="68" y="19"/>
                  </a:lnTo>
                  <a:lnTo>
                    <a:pt x="56" y="15"/>
                  </a:lnTo>
                  <a:lnTo>
                    <a:pt x="31" y="15"/>
                  </a:lnTo>
                  <a:lnTo>
                    <a:pt x="20" y="19"/>
                  </a:lnTo>
                  <a:lnTo>
                    <a:pt x="18" y="29"/>
                  </a:lnTo>
                  <a:lnTo>
                    <a:pt x="29" y="40"/>
                  </a:lnTo>
                  <a:lnTo>
                    <a:pt x="39" y="36"/>
                  </a:lnTo>
                  <a:lnTo>
                    <a:pt x="64" y="31"/>
                  </a:lnTo>
                  <a:lnTo>
                    <a:pt x="62" y="38"/>
                  </a:lnTo>
                  <a:lnTo>
                    <a:pt x="56" y="34"/>
                  </a:lnTo>
                  <a:lnTo>
                    <a:pt x="50" y="42"/>
                  </a:lnTo>
                  <a:lnTo>
                    <a:pt x="39" y="48"/>
                  </a:lnTo>
                  <a:lnTo>
                    <a:pt x="52" y="65"/>
                  </a:lnTo>
                  <a:lnTo>
                    <a:pt x="48" y="71"/>
                  </a:lnTo>
                  <a:lnTo>
                    <a:pt x="62" y="86"/>
                  </a:lnTo>
                  <a:lnTo>
                    <a:pt x="62" y="90"/>
                  </a:lnTo>
                  <a:lnTo>
                    <a:pt x="62" y="96"/>
                  </a:lnTo>
                  <a:lnTo>
                    <a:pt x="54" y="100"/>
                  </a:lnTo>
                  <a:lnTo>
                    <a:pt x="48" y="96"/>
                  </a:lnTo>
                  <a:lnTo>
                    <a:pt x="56" y="84"/>
                  </a:lnTo>
                  <a:lnTo>
                    <a:pt x="43" y="88"/>
                  </a:lnTo>
                  <a:lnTo>
                    <a:pt x="39" y="86"/>
                  </a:lnTo>
                  <a:lnTo>
                    <a:pt x="41" y="79"/>
                  </a:lnTo>
                  <a:lnTo>
                    <a:pt x="29" y="73"/>
                  </a:lnTo>
                  <a:lnTo>
                    <a:pt x="29" y="57"/>
                  </a:lnTo>
                  <a:lnTo>
                    <a:pt x="22" y="63"/>
                  </a:lnTo>
                  <a:lnTo>
                    <a:pt x="23" y="79"/>
                  </a:lnTo>
                  <a:lnTo>
                    <a:pt x="23" y="100"/>
                  </a:lnTo>
                  <a:lnTo>
                    <a:pt x="16" y="102"/>
                  </a:lnTo>
                  <a:lnTo>
                    <a:pt x="8" y="96"/>
                  </a:lnTo>
                  <a:lnTo>
                    <a:pt x="12" y="84"/>
                  </a:lnTo>
                  <a:lnTo>
                    <a:pt x="10" y="71"/>
                  </a:lnTo>
                  <a:lnTo>
                    <a:pt x="4" y="71"/>
                  </a:lnTo>
                  <a:lnTo>
                    <a:pt x="0" y="61"/>
                  </a:lnTo>
                  <a:lnTo>
                    <a:pt x="6" y="50"/>
                  </a:lnTo>
                  <a:lnTo>
                    <a:pt x="8" y="40"/>
                  </a:lnTo>
                  <a:lnTo>
                    <a:pt x="16" y="19"/>
                  </a:lnTo>
                  <a:lnTo>
                    <a:pt x="18" y="13"/>
                  </a:lnTo>
                  <a:lnTo>
                    <a:pt x="29" y="4"/>
                  </a:lnTo>
                  <a:lnTo>
                    <a:pt x="41" y="7"/>
                  </a:lnTo>
                  <a:lnTo>
                    <a:pt x="58" y="9"/>
                  </a:lnTo>
                  <a:lnTo>
                    <a:pt x="73" y="9"/>
                  </a:lnTo>
                  <a:lnTo>
                    <a:pt x="8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9">
              <a:extLst>
                <a:ext uri="{FF2B5EF4-FFF2-40B4-BE49-F238E27FC236}">
                  <a16:creationId xmlns:a16="http://schemas.microsoft.com/office/drawing/2014/main" id="{1F2951DA-B0A6-47DF-BA0D-93F8B5D5A766}"/>
                </a:ext>
              </a:extLst>
            </p:cNvPr>
            <p:cNvSpPr>
              <a:spLocks/>
            </p:cNvSpPr>
            <p:nvPr/>
          </p:nvSpPr>
          <p:spPr bwMode="auto">
            <a:xfrm>
              <a:off x="7186612" y="4452380"/>
              <a:ext cx="28575" cy="69882"/>
            </a:xfrm>
            <a:custGeom>
              <a:avLst/>
              <a:gdLst>
                <a:gd name="T0" fmla="*/ 6 w 18"/>
                <a:gd name="T1" fmla="*/ 0 h 44"/>
                <a:gd name="T2" fmla="*/ 8 w 18"/>
                <a:gd name="T3" fmla="*/ 10 h 44"/>
                <a:gd name="T4" fmla="*/ 16 w 18"/>
                <a:gd name="T5" fmla="*/ 12 h 44"/>
                <a:gd name="T6" fmla="*/ 18 w 18"/>
                <a:gd name="T7" fmla="*/ 16 h 44"/>
                <a:gd name="T8" fmla="*/ 16 w 18"/>
                <a:gd name="T9" fmla="*/ 27 h 44"/>
                <a:gd name="T10" fmla="*/ 10 w 18"/>
                <a:gd name="T11" fmla="*/ 27 h 44"/>
                <a:gd name="T12" fmla="*/ 8 w 18"/>
                <a:gd name="T13" fmla="*/ 35 h 44"/>
                <a:gd name="T14" fmla="*/ 12 w 18"/>
                <a:gd name="T15" fmla="*/ 42 h 44"/>
                <a:gd name="T16" fmla="*/ 10 w 18"/>
                <a:gd name="T17" fmla="*/ 44 h 44"/>
                <a:gd name="T18" fmla="*/ 2 w 18"/>
                <a:gd name="T19" fmla="*/ 35 h 44"/>
                <a:gd name="T20" fmla="*/ 0 w 18"/>
                <a:gd name="T21" fmla="*/ 17 h 44"/>
                <a:gd name="T22" fmla="*/ 2 w 18"/>
                <a:gd name="T23" fmla="*/ 6 h 44"/>
                <a:gd name="T24" fmla="*/ 6 w 18"/>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44">
                  <a:moveTo>
                    <a:pt x="6" y="0"/>
                  </a:moveTo>
                  <a:lnTo>
                    <a:pt x="8" y="10"/>
                  </a:lnTo>
                  <a:lnTo>
                    <a:pt x="16" y="12"/>
                  </a:lnTo>
                  <a:lnTo>
                    <a:pt x="18" y="16"/>
                  </a:lnTo>
                  <a:lnTo>
                    <a:pt x="16" y="27"/>
                  </a:lnTo>
                  <a:lnTo>
                    <a:pt x="10" y="27"/>
                  </a:lnTo>
                  <a:lnTo>
                    <a:pt x="8" y="35"/>
                  </a:lnTo>
                  <a:lnTo>
                    <a:pt x="12" y="42"/>
                  </a:lnTo>
                  <a:lnTo>
                    <a:pt x="10" y="44"/>
                  </a:lnTo>
                  <a:lnTo>
                    <a:pt x="2" y="35"/>
                  </a:lnTo>
                  <a:lnTo>
                    <a:pt x="0" y="17"/>
                  </a:lnTo>
                  <a:lnTo>
                    <a:pt x="2" y="6"/>
                  </a:lnTo>
                  <a:lnTo>
                    <a:pt x="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1">
              <a:extLst>
                <a:ext uri="{FF2B5EF4-FFF2-40B4-BE49-F238E27FC236}">
                  <a16:creationId xmlns:a16="http://schemas.microsoft.com/office/drawing/2014/main" id="{D62BAE07-54A6-4D12-81FA-4537B6ECD9AB}"/>
                </a:ext>
              </a:extLst>
            </p:cNvPr>
            <p:cNvSpPr>
              <a:spLocks/>
            </p:cNvSpPr>
            <p:nvPr/>
          </p:nvSpPr>
          <p:spPr bwMode="auto">
            <a:xfrm>
              <a:off x="6477001" y="4379322"/>
              <a:ext cx="238125" cy="252527"/>
            </a:xfrm>
            <a:custGeom>
              <a:avLst/>
              <a:gdLst>
                <a:gd name="T0" fmla="*/ 0 w 150"/>
                <a:gd name="T1" fmla="*/ 0 h 159"/>
                <a:gd name="T2" fmla="*/ 8 w 150"/>
                <a:gd name="T3" fmla="*/ 0 h 159"/>
                <a:gd name="T4" fmla="*/ 31 w 150"/>
                <a:gd name="T5" fmla="*/ 4 h 159"/>
                <a:gd name="T6" fmla="*/ 41 w 150"/>
                <a:gd name="T7" fmla="*/ 17 h 159"/>
                <a:gd name="T8" fmla="*/ 54 w 150"/>
                <a:gd name="T9" fmla="*/ 29 h 159"/>
                <a:gd name="T10" fmla="*/ 60 w 150"/>
                <a:gd name="T11" fmla="*/ 33 h 159"/>
                <a:gd name="T12" fmla="*/ 73 w 150"/>
                <a:gd name="T13" fmla="*/ 48 h 159"/>
                <a:gd name="T14" fmla="*/ 89 w 150"/>
                <a:gd name="T15" fmla="*/ 48 h 159"/>
                <a:gd name="T16" fmla="*/ 100 w 150"/>
                <a:gd name="T17" fmla="*/ 58 h 159"/>
                <a:gd name="T18" fmla="*/ 108 w 150"/>
                <a:gd name="T19" fmla="*/ 69 h 159"/>
                <a:gd name="T20" fmla="*/ 119 w 150"/>
                <a:gd name="T21" fmla="*/ 77 h 159"/>
                <a:gd name="T22" fmla="*/ 112 w 150"/>
                <a:gd name="T23" fmla="*/ 87 h 159"/>
                <a:gd name="T24" fmla="*/ 121 w 150"/>
                <a:gd name="T25" fmla="*/ 92 h 159"/>
                <a:gd name="T26" fmla="*/ 125 w 150"/>
                <a:gd name="T27" fmla="*/ 94 h 159"/>
                <a:gd name="T28" fmla="*/ 129 w 150"/>
                <a:gd name="T29" fmla="*/ 102 h 159"/>
                <a:gd name="T30" fmla="*/ 135 w 150"/>
                <a:gd name="T31" fmla="*/ 110 h 159"/>
                <a:gd name="T32" fmla="*/ 144 w 150"/>
                <a:gd name="T33" fmla="*/ 111 h 159"/>
                <a:gd name="T34" fmla="*/ 150 w 150"/>
                <a:gd name="T35" fmla="*/ 119 h 159"/>
                <a:gd name="T36" fmla="*/ 146 w 150"/>
                <a:gd name="T37" fmla="*/ 136 h 159"/>
                <a:gd name="T38" fmla="*/ 144 w 150"/>
                <a:gd name="T39" fmla="*/ 159 h 159"/>
                <a:gd name="T40" fmla="*/ 131 w 150"/>
                <a:gd name="T41" fmla="*/ 159 h 159"/>
                <a:gd name="T42" fmla="*/ 119 w 150"/>
                <a:gd name="T43" fmla="*/ 148 h 159"/>
                <a:gd name="T44" fmla="*/ 100 w 150"/>
                <a:gd name="T45" fmla="*/ 136 h 159"/>
                <a:gd name="T46" fmla="*/ 96 w 150"/>
                <a:gd name="T47" fmla="*/ 129 h 159"/>
                <a:gd name="T48" fmla="*/ 85 w 150"/>
                <a:gd name="T49" fmla="*/ 117 h 159"/>
                <a:gd name="T50" fmla="*/ 77 w 150"/>
                <a:gd name="T51" fmla="*/ 106 h 159"/>
                <a:gd name="T52" fmla="*/ 67 w 150"/>
                <a:gd name="T53" fmla="*/ 87 h 159"/>
                <a:gd name="T54" fmla="*/ 56 w 150"/>
                <a:gd name="T55" fmla="*/ 75 h 159"/>
                <a:gd name="T56" fmla="*/ 50 w 150"/>
                <a:gd name="T57" fmla="*/ 63 h 159"/>
                <a:gd name="T58" fmla="*/ 44 w 150"/>
                <a:gd name="T59" fmla="*/ 52 h 159"/>
                <a:gd name="T60" fmla="*/ 33 w 150"/>
                <a:gd name="T61" fmla="*/ 42 h 159"/>
                <a:gd name="T62" fmla="*/ 25 w 150"/>
                <a:gd name="T63" fmla="*/ 31 h 159"/>
                <a:gd name="T64" fmla="*/ 16 w 150"/>
                <a:gd name="T65" fmla="*/ 23 h 159"/>
                <a:gd name="T66" fmla="*/ 0 w 150"/>
                <a:gd name="T67" fmla="*/ 8 h 159"/>
                <a:gd name="T68" fmla="*/ 0 w 150"/>
                <a:gd name="T69"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0" h="159">
                  <a:moveTo>
                    <a:pt x="0" y="0"/>
                  </a:moveTo>
                  <a:lnTo>
                    <a:pt x="8" y="0"/>
                  </a:lnTo>
                  <a:lnTo>
                    <a:pt x="31" y="4"/>
                  </a:lnTo>
                  <a:lnTo>
                    <a:pt x="41" y="17"/>
                  </a:lnTo>
                  <a:lnTo>
                    <a:pt x="54" y="29"/>
                  </a:lnTo>
                  <a:lnTo>
                    <a:pt x="60" y="33"/>
                  </a:lnTo>
                  <a:lnTo>
                    <a:pt x="73" y="48"/>
                  </a:lnTo>
                  <a:lnTo>
                    <a:pt x="89" y="48"/>
                  </a:lnTo>
                  <a:lnTo>
                    <a:pt x="100" y="58"/>
                  </a:lnTo>
                  <a:lnTo>
                    <a:pt x="108" y="69"/>
                  </a:lnTo>
                  <a:lnTo>
                    <a:pt x="119" y="77"/>
                  </a:lnTo>
                  <a:lnTo>
                    <a:pt x="112" y="87"/>
                  </a:lnTo>
                  <a:lnTo>
                    <a:pt x="121" y="92"/>
                  </a:lnTo>
                  <a:lnTo>
                    <a:pt x="125" y="94"/>
                  </a:lnTo>
                  <a:lnTo>
                    <a:pt x="129" y="102"/>
                  </a:lnTo>
                  <a:lnTo>
                    <a:pt x="135" y="110"/>
                  </a:lnTo>
                  <a:lnTo>
                    <a:pt x="144" y="111"/>
                  </a:lnTo>
                  <a:lnTo>
                    <a:pt x="150" y="119"/>
                  </a:lnTo>
                  <a:lnTo>
                    <a:pt x="146" y="136"/>
                  </a:lnTo>
                  <a:lnTo>
                    <a:pt x="144" y="159"/>
                  </a:lnTo>
                  <a:lnTo>
                    <a:pt x="131" y="159"/>
                  </a:lnTo>
                  <a:lnTo>
                    <a:pt x="119" y="148"/>
                  </a:lnTo>
                  <a:lnTo>
                    <a:pt x="100" y="136"/>
                  </a:lnTo>
                  <a:lnTo>
                    <a:pt x="96" y="129"/>
                  </a:lnTo>
                  <a:lnTo>
                    <a:pt x="85" y="117"/>
                  </a:lnTo>
                  <a:lnTo>
                    <a:pt x="77" y="106"/>
                  </a:lnTo>
                  <a:lnTo>
                    <a:pt x="67" y="87"/>
                  </a:lnTo>
                  <a:lnTo>
                    <a:pt x="56" y="75"/>
                  </a:lnTo>
                  <a:lnTo>
                    <a:pt x="50" y="63"/>
                  </a:lnTo>
                  <a:lnTo>
                    <a:pt x="44" y="52"/>
                  </a:lnTo>
                  <a:lnTo>
                    <a:pt x="33" y="42"/>
                  </a:lnTo>
                  <a:lnTo>
                    <a:pt x="25" y="31"/>
                  </a:lnTo>
                  <a:lnTo>
                    <a:pt x="16" y="23"/>
                  </a:lnTo>
                  <a:lnTo>
                    <a:pt x="0" y="8"/>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73">
              <a:extLst>
                <a:ext uri="{FF2B5EF4-FFF2-40B4-BE49-F238E27FC236}">
                  <a16:creationId xmlns:a16="http://schemas.microsoft.com/office/drawing/2014/main" id="{4DBF453B-E711-49DF-B7AE-31A9BA85AE61}"/>
                </a:ext>
              </a:extLst>
            </p:cNvPr>
            <p:cNvSpPr>
              <a:spLocks/>
            </p:cNvSpPr>
            <p:nvPr/>
          </p:nvSpPr>
          <p:spPr bwMode="auto">
            <a:xfrm>
              <a:off x="6775450" y="4349145"/>
              <a:ext cx="228600" cy="244586"/>
            </a:xfrm>
            <a:custGeom>
              <a:avLst/>
              <a:gdLst>
                <a:gd name="T0" fmla="*/ 115 w 144"/>
                <a:gd name="T1" fmla="*/ 0 h 154"/>
                <a:gd name="T2" fmla="*/ 123 w 144"/>
                <a:gd name="T3" fmla="*/ 8 h 154"/>
                <a:gd name="T4" fmla="*/ 123 w 144"/>
                <a:gd name="T5" fmla="*/ 13 h 154"/>
                <a:gd name="T6" fmla="*/ 133 w 144"/>
                <a:gd name="T7" fmla="*/ 17 h 154"/>
                <a:gd name="T8" fmla="*/ 144 w 144"/>
                <a:gd name="T9" fmla="*/ 19 h 154"/>
                <a:gd name="T10" fmla="*/ 142 w 144"/>
                <a:gd name="T11" fmla="*/ 27 h 154"/>
                <a:gd name="T12" fmla="*/ 133 w 144"/>
                <a:gd name="T13" fmla="*/ 27 h 154"/>
                <a:gd name="T14" fmla="*/ 137 w 144"/>
                <a:gd name="T15" fmla="*/ 35 h 154"/>
                <a:gd name="T16" fmla="*/ 127 w 144"/>
                <a:gd name="T17" fmla="*/ 38 h 154"/>
                <a:gd name="T18" fmla="*/ 117 w 144"/>
                <a:gd name="T19" fmla="*/ 52 h 154"/>
                <a:gd name="T20" fmla="*/ 127 w 144"/>
                <a:gd name="T21" fmla="*/ 63 h 154"/>
                <a:gd name="T22" fmla="*/ 127 w 144"/>
                <a:gd name="T23" fmla="*/ 71 h 154"/>
                <a:gd name="T24" fmla="*/ 140 w 144"/>
                <a:gd name="T25" fmla="*/ 84 h 154"/>
                <a:gd name="T26" fmla="*/ 125 w 144"/>
                <a:gd name="T27" fmla="*/ 84 h 154"/>
                <a:gd name="T28" fmla="*/ 119 w 144"/>
                <a:gd name="T29" fmla="*/ 96 h 154"/>
                <a:gd name="T30" fmla="*/ 121 w 144"/>
                <a:gd name="T31" fmla="*/ 107 h 154"/>
                <a:gd name="T32" fmla="*/ 108 w 144"/>
                <a:gd name="T33" fmla="*/ 117 h 154"/>
                <a:gd name="T34" fmla="*/ 106 w 144"/>
                <a:gd name="T35" fmla="*/ 130 h 154"/>
                <a:gd name="T36" fmla="*/ 100 w 144"/>
                <a:gd name="T37" fmla="*/ 152 h 154"/>
                <a:gd name="T38" fmla="*/ 98 w 144"/>
                <a:gd name="T39" fmla="*/ 148 h 154"/>
                <a:gd name="T40" fmla="*/ 85 w 144"/>
                <a:gd name="T41" fmla="*/ 154 h 154"/>
                <a:gd name="T42" fmla="*/ 77 w 144"/>
                <a:gd name="T43" fmla="*/ 146 h 154"/>
                <a:gd name="T44" fmla="*/ 67 w 144"/>
                <a:gd name="T45" fmla="*/ 144 h 154"/>
                <a:gd name="T46" fmla="*/ 62 w 144"/>
                <a:gd name="T47" fmla="*/ 140 h 154"/>
                <a:gd name="T48" fmla="*/ 44 w 144"/>
                <a:gd name="T49" fmla="*/ 146 h 154"/>
                <a:gd name="T50" fmla="*/ 39 w 144"/>
                <a:gd name="T51" fmla="*/ 138 h 154"/>
                <a:gd name="T52" fmla="*/ 31 w 144"/>
                <a:gd name="T53" fmla="*/ 138 h 154"/>
                <a:gd name="T54" fmla="*/ 19 w 144"/>
                <a:gd name="T55" fmla="*/ 138 h 154"/>
                <a:gd name="T56" fmla="*/ 18 w 144"/>
                <a:gd name="T57" fmla="*/ 119 h 154"/>
                <a:gd name="T58" fmla="*/ 12 w 144"/>
                <a:gd name="T59" fmla="*/ 113 h 154"/>
                <a:gd name="T60" fmla="*/ 4 w 144"/>
                <a:gd name="T61" fmla="*/ 102 h 154"/>
                <a:gd name="T62" fmla="*/ 0 w 144"/>
                <a:gd name="T63" fmla="*/ 90 h 154"/>
                <a:gd name="T64" fmla="*/ 2 w 144"/>
                <a:gd name="T65" fmla="*/ 77 h 154"/>
                <a:gd name="T66" fmla="*/ 12 w 144"/>
                <a:gd name="T67" fmla="*/ 69 h 154"/>
                <a:gd name="T68" fmla="*/ 21 w 144"/>
                <a:gd name="T69" fmla="*/ 75 h 154"/>
                <a:gd name="T70" fmla="*/ 33 w 144"/>
                <a:gd name="T71" fmla="*/ 71 h 154"/>
                <a:gd name="T72" fmla="*/ 35 w 144"/>
                <a:gd name="T73" fmla="*/ 58 h 154"/>
                <a:gd name="T74" fmla="*/ 41 w 144"/>
                <a:gd name="T75" fmla="*/ 58 h 154"/>
                <a:gd name="T76" fmla="*/ 58 w 144"/>
                <a:gd name="T77" fmla="*/ 54 h 154"/>
                <a:gd name="T78" fmla="*/ 67 w 144"/>
                <a:gd name="T79" fmla="*/ 42 h 154"/>
                <a:gd name="T80" fmla="*/ 75 w 144"/>
                <a:gd name="T81" fmla="*/ 35 h 154"/>
                <a:gd name="T82" fmla="*/ 79 w 144"/>
                <a:gd name="T83" fmla="*/ 29 h 154"/>
                <a:gd name="T84" fmla="*/ 90 w 144"/>
                <a:gd name="T85" fmla="*/ 19 h 154"/>
                <a:gd name="T86" fmla="*/ 102 w 144"/>
                <a:gd name="T87" fmla="*/ 10 h 154"/>
                <a:gd name="T88" fmla="*/ 110 w 144"/>
                <a:gd name="T89" fmla="*/ 0 h 154"/>
                <a:gd name="T90" fmla="*/ 115 w 144"/>
                <a:gd name="T9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4" h="154">
                  <a:moveTo>
                    <a:pt x="115" y="0"/>
                  </a:moveTo>
                  <a:lnTo>
                    <a:pt x="123" y="8"/>
                  </a:lnTo>
                  <a:lnTo>
                    <a:pt x="123" y="13"/>
                  </a:lnTo>
                  <a:lnTo>
                    <a:pt x="133" y="17"/>
                  </a:lnTo>
                  <a:lnTo>
                    <a:pt x="144" y="19"/>
                  </a:lnTo>
                  <a:lnTo>
                    <a:pt x="142" y="27"/>
                  </a:lnTo>
                  <a:lnTo>
                    <a:pt x="133" y="27"/>
                  </a:lnTo>
                  <a:lnTo>
                    <a:pt x="137" y="35"/>
                  </a:lnTo>
                  <a:lnTo>
                    <a:pt x="127" y="38"/>
                  </a:lnTo>
                  <a:lnTo>
                    <a:pt x="117" y="52"/>
                  </a:lnTo>
                  <a:lnTo>
                    <a:pt x="127" y="63"/>
                  </a:lnTo>
                  <a:lnTo>
                    <a:pt x="127" y="71"/>
                  </a:lnTo>
                  <a:lnTo>
                    <a:pt x="140" y="84"/>
                  </a:lnTo>
                  <a:lnTo>
                    <a:pt x="125" y="84"/>
                  </a:lnTo>
                  <a:lnTo>
                    <a:pt x="119" y="96"/>
                  </a:lnTo>
                  <a:lnTo>
                    <a:pt x="121" y="107"/>
                  </a:lnTo>
                  <a:lnTo>
                    <a:pt x="108" y="117"/>
                  </a:lnTo>
                  <a:lnTo>
                    <a:pt x="106" y="130"/>
                  </a:lnTo>
                  <a:lnTo>
                    <a:pt x="100" y="152"/>
                  </a:lnTo>
                  <a:lnTo>
                    <a:pt x="98" y="148"/>
                  </a:lnTo>
                  <a:lnTo>
                    <a:pt x="85" y="154"/>
                  </a:lnTo>
                  <a:lnTo>
                    <a:pt x="77" y="146"/>
                  </a:lnTo>
                  <a:lnTo>
                    <a:pt x="67" y="144"/>
                  </a:lnTo>
                  <a:lnTo>
                    <a:pt x="62" y="140"/>
                  </a:lnTo>
                  <a:lnTo>
                    <a:pt x="44" y="146"/>
                  </a:lnTo>
                  <a:lnTo>
                    <a:pt x="39" y="138"/>
                  </a:lnTo>
                  <a:lnTo>
                    <a:pt x="31" y="138"/>
                  </a:lnTo>
                  <a:lnTo>
                    <a:pt x="19" y="138"/>
                  </a:lnTo>
                  <a:lnTo>
                    <a:pt x="18" y="119"/>
                  </a:lnTo>
                  <a:lnTo>
                    <a:pt x="12" y="113"/>
                  </a:lnTo>
                  <a:lnTo>
                    <a:pt x="4" y="102"/>
                  </a:lnTo>
                  <a:lnTo>
                    <a:pt x="0" y="90"/>
                  </a:lnTo>
                  <a:lnTo>
                    <a:pt x="2" y="77"/>
                  </a:lnTo>
                  <a:lnTo>
                    <a:pt x="12" y="69"/>
                  </a:lnTo>
                  <a:lnTo>
                    <a:pt x="21" y="75"/>
                  </a:lnTo>
                  <a:lnTo>
                    <a:pt x="33" y="71"/>
                  </a:lnTo>
                  <a:lnTo>
                    <a:pt x="35" y="58"/>
                  </a:lnTo>
                  <a:lnTo>
                    <a:pt x="41" y="58"/>
                  </a:lnTo>
                  <a:lnTo>
                    <a:pt x="58" y="54"/>
                  </a:lnTo>
                  <a:lnTo>
                    <a:pt x="67" y="42"/>
                  </a:lnTo>
                  <a:lnTo>
                    <a:pt x="75" y="35"/>
                  </a:lnTo>
                  <a:lnTo>
                    <a:pt x="79" y="29"/>
                  </a:lnTo>
                  <a:lnTo>
                    <a:pt x="90" y="19"/>
                  </a:lnTo>
                  <a:lnTo>
                    <a:pt x="102" y="10"/>
                  </a:lnTo>
                  <a:lnTo>
                    <a:pt x="110" y="0"/>
                  </a:lnTo>
                  <a:lnTo>
                    <a:pt x="11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75">
              <a:extLst>
                <a:ext uri="{FF2B5EF4-FFF2-40B4-BE49-F238E27FC236}">
                  <a16:creationId xmlns:a16="http://schemas.microsoft.com/office/drawing/2014/main" id="{A8DD320B-38E2-4D4B-8AE3-7DD463C59BB0}"/>
                </a:ext>
              </a:extLst>
            </p:cNvPr>
            <p:cNvSpPr>
              <a:spLocks/>
            </p:cNvSpPr>
            <p:nvPr/>
          </p:nvSpPr>
          <p:spPr bwMode="auto">
            <a:xfrm>
              <a:off x="7062787" y="4285616"/>
              <a:ext cx="103188" cy="93705"/>
            </a:xfrm>
            <a:custGeom>
              <a:avLst/>
              <a:gdLst>
                <a:gd name="T0" fmla="*/ 50 w 65"/>
                <a:gd name="T1" fmla="*/ 0 h 59"/>
                <a:gd name="T2" fmla="*/ 61 w 65"/>
                <a:gd name="T3" fmla="*/ 7 h 59"/>
                <a:gd name="T4" fmla="*/ 61 w 65"/>
                <a:gd name="T5" fmla="*/ 13 h 59"/>
                <a:gd name="T6" fmla="*/ 61 w 65"/>
                <a:gd name="T7" fmla="*/ 19 h 59"/>
                <a:gd name="T8" fmla="*/ 63 w 65"/>
                <a:gd name="T9" fmla="*/ 28 h 59"/>
                <a:gd name="T10" fmla="*/ 65 w 65"/>
                <a:gd name="T11" fmla="*/ 36 h 59"/>
                <a:gd name="T12" fmla="*/ 61 w 65"/>
                <a:gd name="T13" fmla="*/ 50 h 59"/>
                <a:gd name="T14" fmla="*/ 55 w 65"/>
                <a:gd name="T15" fmla="*/ 34 h 59"/>
                <a:gd name="T16" fmla="*/ 50 w 65"/>
                <a:gd name="T17" fmla="*/ 42 h 59"/>
                <a:gd name="T18" fmla="*/ 53 w 65"/>
                <a:gd name="T19" fmla="*/ 51 h 59"/>
                <a:gd name="T20" fmla="*/ 50 w 65"/>
                <a:gd name="T21" fmla="*/ 59 h 59"/>
                <a:gd name="T22" fmla="*/ 32 w 65"/>
                <a:gd name="T23" fmla="*/ 50 h 59"/>
                <a:gd name="T24" fmla="*/ 28 w 65"/>
                <a:gd name="T25" fmla="*/ 40 h 59"/>
                <a:gd name="T26" fmla="*/ 34 w 65"/>
                <a:gd name="T27" fmla="*/ 34 h 59"/>
                <a:gd name="T28" fmla="*/ 23 w 65"/>
                <a:gd name="T29" fmla="*/ 27 h 59"/>
                <a:gd name="T30" fmla="*/ 21 w 65"/>
                <a:gd name="T31" fmla="*/ 34 h 59"/>
                <a:gd name="T32" fmla="*/ 13 w 65"/>
                <a:gd name="T33" fmla="*/ 32 h 59"/>
                <a:gd name="T34" fmla="*/ 3 w 65"/>
                <a:gd name="T35" fmla="*/ 40 h 59"/>
                <a:gd name="T36" fmla="*/ 0 w 65"/>
                <a:gd name="T37" fmla="*/ 36 h 59"/>
                <a:gd name="T38" fmla="*/ 7 w 65"/>
                <a:gd name="T39" fmla="*/ 25 h 59"/>
                <a:gd name="T40" fmla="*/ 15 w 65"/>
                <a:gd name="T41" fmla="*/ 21 h 59"/>
                <a:gd name="T42" fmla="*/ 23 w 65"/>
                <a:gd name="T43" fmla="*/ 15 h 59"/>
                <a:gd name="T44" fmla="*/ 27 w 65"/>
                <a:gd name="T45" fmla="*/ 21 h 59"/>
                <a:gd name="T46" fmla="*/ 40 w 65"/>
                <a:gd name="T47" fmla="*/ 17 h 59"/>
                <a:gd name="T48" fmla="*/ 40 w 65"/>
                <a:gd name="T49" fmla="*/ 11 h 59"/>
                <a:gd name="T50" fmla="*/ 51 w 65"/>
                <a:gd name="T51" fmla="*/ 11 h 59"/>
                <a:gd name="T52" fmla="*/ 50 w 65"/>
                <a:gd name="T5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59">
                  <a:moveTo>
                    <a:pt x="50" y="0"/>
                  </a:moveTo>
                  <a:lnTo>
                    <a:pt x="61" y="7"/>
                  </a:lnTo>
                  <a:lnTo>
                    <a:pt x="61" y="13"/>
                  </a:lnTo>
                  <a:lnTo>
                    <a:pt x="61" y="19"/>
                  </a:lnTo>
                  <a:lnTo>
                    <a:pt x="63" y="28"/>
                  </a:lnTo>
                  <a:lnTo>
                    <a:pt x="65" y="36"/>
                  </a:lnTo>
                  <a:lnTo>
                    <a:pt x="61" y="50"/>
                  </a:lnTo>
                  <a:lnTo>
                    <a:pt x="55" y="34"/>
                  </a:lnTo>
                  <a:lnTo>
                    <a:pt x="50" y="42"/>
                  </a:lnTo>
                  <a:lnTo>
                    <a:pt x="53" y="51"/>
                  </a:lnTo>
                  <a:lnTo>
                    <a:pt x="50" y="59"/>
                  </a:lnTo>
                  <a:lnTo>
                    <a:pt x="32" y="50"/>
                  </a:lnTo>
                  <a:lnTo>
                    <a:pt x="28" y="40"/>
                  </a:lnTo>
                  <a:lnTo>
                    <a:pt x="34" y="34"/>
                  </a:lnTo>
                  <a:lnTo>
                    <a:pt x="23" y="27"/>
                  </a:lnTo>
                  <a:lnTo>
                    <a:pt x="21" y="34"/>
                  </a:lnTo>
                  <a:lnTo>
                    <a:pt x="13" y="32"/>
                  </a:lnTo>
                  <a:lnTo>
                    <a:pt x="3" y="40"/>
                  </a:lnTo>
                  <a:lnTo>
                    <a:pt x="0" y="36"/>
                  </a:lnTo>
                  <a:lnTo>
                    <a:pt x="7" y="25"/>
                  </a:lnTo>
                  <a:lnTo>
                    <a:pt x="15" y="21"/>
                  </a:lnTo>
                  <a:lnTo>
                    <a:pt x="23" y="15"/>
                  </a:lnTo>
                  <a:lnTo>
                    <a:pt x="27" y="21"/>
                  </a:lnTo>
                  <a:lnTo>
                    <a:pt x="40" y="17"/>
                  </a:lnTo>
                  <a:lnTo>
                    <a:pt x="40" y="11"/>
                  </a:lnTo>
                  <a:lnTo>
                    <a:pt x="51" y="11"/>
                  </a:lnTo>
                  <a:lnTo>
                    <a:pt x="5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77">
              <a:extLst>
                <a:ext uri="{FF2B5EF4-FFF2-40B4-BE49-F238E27FC236}">
                  <a16:creationId xmlns:a16="http://schemas.microsoft.com/office/drawing/2014/main" id="{58DFB1DD-226F-4472-AA6E-39D491442010}"/>
                </a:ext>
              </a:extLst>
            </p:cNvPr>
            <p:cNvSpPr>
              <a:spLocks/>
            </p:cNvSpPr>
            <p:nvPr/>
          </p:nvSpPr>
          <p:spPr bwMode="auto">
            <a:xfrm>
              <a:off x="6132513" y="4285616"/>
              <a:ext cx="46038" cy="84176"/>
            </a:xfrm>
            <a:custGeom>
              <a:avLst/>
              <a:gdLst>
                <a:gd name="T0" fmla="*/ 6 w 29"/>
                <a:gd name="T1" fmla="*/ 0 h 53"/>
                <a:gd name="T2" fmla="*/ 14 w 29"/>
                <a:gd name="T3" fmla="*/ 7 h 53"/>
                <a:gd name="T4" fmla="*/ 22 w 29"/>
                <a:gd name="T5" fmla="*/ 17 h 53"/>
                <a:gd name="T6" fmla="*/ 29 w 29"/>
                <a:gd name="T7" fmla="*/ 32 h 53"/>
                <a:gd name="T8" fmla="*/ 27 w 29"/>
                <a:gd name="T9" fmla="*/ 48 h 53"/>
                <a:gd name="T10" fmla="*/ 22 w 29"/>
                <a:gd name="T11" fmla="*/ 50 h 53"/>
                <a:gd name="T12" fmla="*/ 8 w 29"/>
                <a:gd name="T13" fmla="*/ 53 h 53"/>
                <a:gd name="T14" fmla="*/ 0 w 29"/>
                <a:gd name="T15" fmla="*/ 42 h 53"/>
                <a:gd name="T16" fmla="*/ 0 w 29"/>
                <a:gd name="T17" fmla="*/ 21 h 53"/>
                <a:gd name="T18" fmla="*/ 6 w 29"/>
                <a:gd name="T1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53">
                  <a:moveTo>
                    <a:pt x="6" y="0"/>
                  </a:moveTo>
                  <a:lnTo>
                    <a:pt x="14" y="7"/>
                  </a:lnTo>
                  <a:lnTo>
                    <a:pt x="22" y="17"/>
                  </a:lnTo>
                  <a:lnTo>
                    <a:pt x="29" y="32"/>
                  </a:lnTo>
                  <a:lnTo>
                    <a:pt x="27" y="48"/>
                  </a:lnTo>
                  <a:lnTo>
                    <a:pt x="22" y="50"/>
                  </a:lnTo>
                  <a:lnTo>
                    <a:pt x="8" y="53"/>
                  </a:lnTo>
                  <a:lnTo>
                    <a:pt x="0" y="42"/>
                  </a:lnTo>
                  <a:lnTo>
                    <a:pt x="0" y="21"/>
                  </a:lnTo>
                  <a:lnTo>
                    <a:pt x="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79">
              <a:extLst>
                <a:ext uri="{FF2B5EF4-FFF2-40B4-BE49-F238E27FC236}">
                  <a16:creationId xmlns:a16="http://schemas.microsoft.com/office/drawing/2014/main" id="{AF0CB3C7-D4E7-405F-BE13-70B64BCAACB3}"/>
                </a:ext>
              </a:extLst>
            </p:cNvPr>
            <p:cNvSpPr>
              <a:spLocks/>
            </p:cNvSpPr>
            <p:nvPr/>
          </p:nvSpPr>
          <p:spPr bwMode="auto">
            <a:xfrm>
              <a:off x="2998788" y="4260205"/>
              <a:ext cx="23813" cy="19059"/>
            </a:xfrm>
            <a:custGeom>
              <a:avLst/>
              <a:gdLst>
                <a:gd name="T0" fmla="*/ 11 w 15"/>
                <a:gd name="T1" fmla="*/ 0 h 12"/>
                <a:gd name="T2" fmla="*/ 15 w 15"/>
                <a:gd name="T3" fmla="*/ 0 h 12"/>
                <a:gd name="T4" fmla="*/ 15 w 15"/>
                <a:gd name="T5" fmla="*/ 10 h 12"/>
                <a:gd name="T6" fmla="*/ 2 w 15"/>
                <a:gd name="T7" fmla="*/ 12 h 12"/>
                <a:gd name="T8" fmla="*/ 0 w 15"/>
                <a:gd name="T9" fmla="*/ 10 h 12"/>
                <a:gd name="T10" fmla="*/ 4 w 15"/>
                <a:gd name="T11" fmla="*/ 8 h 12"/>
                <a:gd name="T12" fmla="*/ 2 w 15"/>
                <a:gd name="T13" fmla="*/ 2 h 12"/>
                <a:gd name="T14" fmla="*/ 11 w 15"/>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2">
                  <a:moveTo>
                    <a:pt x="11" y="0"/>
                  </a:moveTo>
                  <a:lnTo>
                    <a:pt x="15" y="0"/>
                  </a:lnTo>
                  <a:lnTo>
                    <a:pt x="15" y="10"/>
                  </a:lnTo>
                  <a:lnTo>
                    <a:pt x="2" y="12"/>
                  </a:lnTo>
                  <a:lnTo>
                    <a:pt x="0" y="10"/>
                  </a:lnTo>
                  <a:lnTo>
                    <a:pt x="4" y="8"/>
                  </a:lnTo>
                  <a:lnTo>
                    <a:pt x="2" y="2"/>
                  </a:lnTo>
                  <a:lnTo>
                    <a:pt x="1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81">
              <a:extLst>
                <a:ext uri="{FF2B5EF4-FFF2-40B4-BE49-F238E27FC236}">
                  <a16:creationId xmlns:a16="http://schemas.microsoft.com/office/drawing/2014/main" id="{2F20E7C3-E261-4C5E-B920-07576A03DFF6}"/>
                </a:ext>
              </a:extLst>
            </p:cNvPr>
            <p:cNvSpPr>
              <a:spLocks/>
            </p:cNvSpPr>
            <p:nvPr/>
          </p:nvSpPr>
          <p:spPr bwMode="auto">
            <a:xfrm>
              <a:off x="7073900" y="4253852"/>
              <a:ext cx="36513" cy="49235"/>
            </a:xfrm>
            <a:custGeom>
              <a:avLst/>
              <a:gdLst>
                <a:gd name="T0" fmla="*/ 23 w 23"/>
                <a:gd name="T1" fmla="*/ 0 h 31"/>
                <a:gd name="T2" fmla="*/ 23 w 23"/>
                <a:gd name="T3" fmla="*/ 14 h 31"/>
                <a:gd name="T4" fmla="*/ 18 w 23"/>
                <a:gd name="T5" fmla="*/ 16 h 31"/>
                <a:gd name="T6" fmla="*/ 14 w 23"/>
                <a:gd name="T7" fmla="*/ 27 h 31"/>
                <a:gd name="T8" fmla="*/ 8 w 23"/>
                <a:gd name="T9" fmla="*/ 31 h 31"/>
                <a:gd name="T10" fmla="*/ 0 w 23"/>
                <a:gd name="T11" fmla="*/ 20 h 31"/>
                <a:gd name="T12" fmla="*/ 4 w 23"/>
                <a:gd name="T13" fmla="*/ 16 h 31"/>
                <a:gd name="T14" fmla="*/ 6 w 23"/>
                <a:gd name="T15" fmla="*/ 14 h 31"/>
                <a:gd name="T16" fmla="*/ 8 w 23"/>
                <a:gd name="T17" fmla="*/ 4 h 31"/>
                <a:gd name="T18" fmla="*/ 16 w 23"/>
                <a:gd name="T19" fmla="*/ 4 h 31"/>
                <a:gd name="T20" fmla="*/ 14 w 23"/>
                <a:gd name="T21" fmla="*/ 14 h 31"/>
                <a:gd name="T22" fmla="*/ 23 w 2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1">
                  <a:moveTo>
                    <a:pt x="23" y="0"/>
                  </a:moveTo>
                  <a:lnTo>
                    <a:pt x="23" y="14"/>
                  </a:lnTo>
                  <a:lnTo>
                    <a:pt x="18" y="16"/>
                  </a:lnTo>
                  <a:lnTo>
                    <a:pt x="14" y="27"/>
                  </a:lnTo>
                  <a:lnTo>
                    <a:pt x="8" y="31"/>
                  </a:lnTo>
                  <a:lnTo>
                    <a:pt x="0" y="20"/>
                  </a:lnTo>
                  <a:lnTo>
                    <a:pt x="4" y="16"/>
                  </a:lnTo>
                  <a:lnTo>
                    <a:pt x="6" y="14"/>
                  </a:lnTo>
                  <a:lnTo>
                    <a:pt x="8" y="4"/>
                  </a:lnTo>
                  <a:lnTo>
                    <a:pt x="16" y="4"/>
                  </a:lnTo>
                  <a:lnTo>
                    <a:pt x="14" y="14"/>
                  </a:lnTo>
                  <a:lnTo>
                    <a:pt x="2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83">
              <a:extLst>
                <a:ext uri="{FF2B5EF4-FFF2-40B4-BE49-F238E27FC236}">
                  <a16:creationId xmlns:a16="http://schemas.microsoft.com/office/drawing/2014/main" id="{81E13550-0336-4FA2-BE56-5561A640855F}"/>
                </a:ext>
              </a:extLst>
            </p:cNvPr>
            <p:cNvSpPr>
              <a:spLocks/>
            </p:cNvSpPr>
            <p:nvPr/>
          </p:nvSpPr>
          <p:spPr bwMode="auto">
            <a:xfrm>
              <a:off x="6961187" y="4249088"/>
              <a:ext cx="55563" cy="69882"/>
            </a:xfrm>
            <a:custGeom>
              <a:avLst/>
              <a:gdLst>
                <a:gd name="T0" fmla="*/ 31 w 35"/>
                <a:gd name="T1" fmla="*/ 0 h 44"/>
                <a:gd name="T2" fmla="*/ 35 w 35"/>
                <a:gd name="T3" fmla="*/ 11 h 44"/>
                <a:gd name="T4" fmla="*/ 23 w 35"/>
                <a:gd name="T5" fmla="*/ 19 h 44"/>
                <a:gd name="T6" fmla="*/ 18 w 35"/>
                <a:gd name="T7" fmla="*/ 30 h 44"/>
                <a:gd name="T8" fmla="*/ 0 w 35"/>
                <a:gd name="T9" fmla="*/ 44 h 44"/>
                <a:gd name="T10" fmla="*/ 6 w 35"/>
                <a:gd name="T11" fmla="*/ 34 h 44"/>
                <a:gd name="T12" fmla="*/ 16 w 35"/>
                <a:gd name="T13" fmla="*/ 25 h 44"/>
                <a:gd name="T14" fmla="*/ 23 w 35"/>
                <a:gd name="T15" fmla="*/ 15 h 44"/>
                <a:gd name="T16" fmla="*/ 31 w 35"/>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4">
                  <a:moveTo>
                    <a:pt x="31" y="0"/>
                  </a:moveTo>
                  <a:lnTo>
                    <a:pt x="35" y="11"/>
                  </a:lnTo>
                  <a:lnTo>
                    <a:pt x="23" y="19"/>
                  </a:lnTo>
                  <a:lnTo>
                    <a:pt x="18" y="30"/>
                  </a:lnTo>
                  <a:lnTo>
                    <a:pt x="0" y="44"/>
                  </a:lnTo>
                  <a:lnTo>
                    <a:pt x="6" y="34"/>
                  </a:lnTo>
                  <a:lnTo>
                    <a:pt x="16" y="25"/>
                  </a:lnTo>
                  <a:lnTo>
                    <a:pt x="23" y="15"/>
                  </a:lnTo>
                  <a:lnTo>
                    <a:pt x="3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85">
              <a:extLst>
                <a:ext uri="{FF2B5EF4-FFF2-40B4-BE49-F238E27FC236}">
                  <a16:creationId xmlns:a16="http://schemas.microsoft.com/office/drawing/2014/main" id="{1A104419-620C-4A1D-8ED2-F87381420CC9}"/>
                </a:ext>
              </a:extLst>
            </p:cNvPr>
            <p:cNvSpPr>
              <a:spLocks/>
            </p:cNvSpPr>
            <p:nvPr/>
          </p:nvSpPr>
          <p:spPr bwMode="auto">
            <a:xfrm>
              <a:off x="7062787" y="4239558"/>
              <a:ext cx="26988" cy="30177"/>
            </a:xfrm>
            <a:custGeom>
              <a:avLst/>
              <a:gdLst>
                <a:gd name="T0" fmla="*/ 0 w 17"/>
                <a:gd name="T1" fmla="*/ 0 h 19"/>
                <a:gd name="T2" fmla="*/ 9 w 17"/>
                <a:gd name="T3" fmla="*/ 4 h 19"/>
                <a:gd name="T4" fmla="*/ 17 w 17"/>
                <a:gd name="T5" fmla="*/ 4 h 19"/>
                <a:gd name="T6" fmla="*/ 17 w 17"/>
                <a:gd name="T7" fmla="*/ 9 h 19"/>
                <a:gd name="T8" fmla="*/ 11 w 17"/>
                <a:gd name="T9" fmla="*/ 15 h 19"/>
                <a:gd name="T10" fmla="*/ 2 w 17"/>
                <a:gd name="T11" fmla="*/ 19 h 19"/>
                <a:gd name="T12" fmla="*/ 2 w 17"/>
                <a:gd name="T13" fmla="*/ 13 h 19"/>
                <a:gd name="T14" fmla="*/ 2 w 17"/>
                <a:gd name="T15" fmla="*/ 6 h 19"/>
                <a:gd name="T16" fmla="*/ 0 w 17"/>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9">
                  <a:moveTo>
                    <a:pt x="0" y="0"/>
                  </a:moveTo>
                  <a:lnTo>
                    <a:pt x="9" y="4"/>
                  </a:lnTo>
                  <a:lnTo>
                    <a:pt x="17" y="4"/>
                  </a:lnTo>
                  <a:lnTo>
                    <a:pt x="17" y="9"/>
                  </a:lnTo>
                  <a:lnTo>
                    <a:pt x="11" y="15"/>
                  </a:lnTo>
                  <a:lnTo>
                    <a:pt x="2" y="19"/>
                  </a:lnTo>
                  <a:lnTo>
                    <a:pt x="2" y="13"/>
                  </a:lnTo>
                  <a:lnTo>
                    <a:pt x="2" y="6"/>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87">
              <a:extLst>
                <a:ext uri="{FF2B5EF4-FFF2-40B4-BE49-F238E27FC236}">
                  <a16:creationId xmlns:a16="http://schemas.microsoft.com/office/drawing/2014/main" id="{F4E71827-AAD6-4C86-8D85-D9249F52CB5A}"/>
                </a:ext>
              </a:extLst>
            </p:cNvPr>
            <p:cNvSpPr>
              <a:spLocks/>
            </p:cNvSpPr>
            <p:nvPr/>
          </p:nvSpPr>
          <p:spPr bwMode="auto">
            <a:xfrm>
              <a:off x="7116762" y="4220500"/>
              <a:ext cx="30163" cy="55588"/>
            </a:xfrm>
            <a:custGeom>
              <a:avLst/>
              <a:gdLst>
                <a:gd name="T0" fmla="*/ 0 w 19"/>
                <a:gd name="T1" fmla="*/ 0 h 35"/>
                <a:gd name="T2" fmla="*/ 14 w 19"/>
                <a:gd name="T3" fmla="*/ 2 h 35"/>
                <a:gd name="T4" fmla="*/ 17 w 19"/>
                <a:gd name="T5" fmla="*/ 8 h 35"/>
                <a:gd name="T6" fmla="*/ 19 w 19"/>
                <a:gd name="T7" fmla="*/ 23 h 35"/>
                <a:gd name="T8" fmla="*/ 10 w 19"/>
                <a:gd name="T9" fmla="*/ 20 h 35"/>
                <a:gd name="T10" fmla="*/ 10 w 19"/>
                <a:gd name="T11" fmla="*/ 25 h 35"/>
                <a:gd name="T12" fmla="*/ 14 w 19"/>
                <a:gd name="T13" fmla="*/ 33 h 35"/>
                <a:gd name="T14" fmla="*/ 6 w 19"/>
                <a:gd name="T15" fmla="*/ 35 h 35"/>
                <a:gd name="T16" fmla="*/ 6 w 19"/>
                <a:gd name="T17" fmla="*/ 25 h 35"/>
                <a:gd name="T18" fmla="*/ 2 w 19"/>
                <a:gd name="T19" fmla="*/ 25 h 35"/>
                <a:gd name="T20" fmla="*/ 0 w 19"/>
                <a:gd name="T21" fmla="*/ 16 h 35"/>
                <a:gd name="T22" fmla="*/ 8 w 19"/>
                <a:gd name="T23" fmla="*/ 18 h 35"/>
                <a:gd name="T24" fmla="*/ 8 w 19"/>
                <a:gd name="T25" fmla="*/ 14 h 35"/>
                <a:gd name="T26" fmla="*/ 0 w 1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35">
                  <a:moveTo>
                    <a:pt x="0" y="0"/>
                  </a:moveTo>
                  <a:lnTo>
                    <a:pt x="14" y="2"/>
                  </a:lnTo>
                  <a:lnTo>
                    <a:pt x="17" y="8"/>
                  </a:lnTo>
                  <a:lnTo>
                    <a:pt x="19" y="23"/>
                  </a:lnTo>
                  <a:lnTo>
                    <a:pt x="10" y="20"/>
                  </a:lnTo>
                  <a:lnTo>
                    <a:pt x="10" y="25"/>
                  </a:lnTo>
                  <a:lnTo>
                    <a:pt x="14" y="33"/>
                  </a:lnTo>
                  <a:lnTo>
                    <a:pt x="6" y="35"/>
                  </a:lnTo>
                  <a:lnTo>
                    <a:pt x="6" y="25"/>
                  </a:lnTo>
                  <a:lnTo>
                    <a:pt x="2" y="25"/>
                  </a:lnTo>
                  <a:lnTo>
                    <a:pt x="0" y="16"/>
                  </a:lnTo>
                  <a:lnTo>
                    <a:pt x="8" y="18"/>
                  </a:lnTo>
                  <a:lnTo>
                    <a:pt x="8" y="14"/>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89">
              <a:extLst>
                <a:ext uri="{FF2B5EF4-FFF2-40B4-BE49-F238E27FC236}">
                  <a16:creationId xmlns:a16="http://schemas.microsoft.com/office/drawing/2014/main" id="{C7284C34-72B5-451E-ADCA-99946A318F7C}"/>
                </a:ext>
              </a:extLst>
            </p:cNvPr>
            <p:cNvSpPr>
              <a:spLocks/>
            </p:cNvSpPr>
            <p:nvPr/>
          </p:nvSpPr>
          <p:spPr bwMode="auto">
            <a:xfrm>
              <a:off x="7029450" y="4203029"/>
              <a:ext cx="26988" cy="27000"/>
            </a:xfrm>
            <a:custGeom>
              <a:avLst/>
              <a:gdLst>
                <a:gd name="T0" fmla="*/ 0 w 17"/>
                <a:gd name="T1" fmla="*/ 0 h 17"/>
                <a:gd name="T2" fmla="*/ 11 w 17"/>
                <a:gd name="T3" fmla="*/ 0 h 17"/>
                <a:gd name="T4" fmla="*/ 17 w 17"/>
                <a:gd name="T5" fmla="*/ 6 h 17"/>
                <a:gd name="T6" fmla="*/ 13 w 17"/>
                <a:gd name="T7" fmla="*/ 17 h 17"/>
                <a:gd name="T8" fmla="*/ 5 w 17"/>
                <a:gd name="T9" fmla="*/ 9 h 17"/>
                <a:gd name="T10" fmla="*/ 0 w 17"/>
                <a:gd name="T11" fmla="*/ 0 h 17"/>
              </a:gdLst>
              <a:ahLst/>
              <a:cxnLst>
                <a:cxn ang="0">
                  <a:pos x="T0" y="T1"/>
                </a:cxn>
                <a:cxn ang="0">
                  <a:pos x="T2" y="T3"/>
                </a:cxn>
                <a:cxn ang="0">
                  <a:pos x="T4" y="T5"/>
                </a:cxn>
                <a:cxn ang="0">
                  <a:pos x="T6" y="T7"/>
                </a:cxn>
                <a:cxn ang="0">
                  <a:pos x="T8" y="T9"/>
                </a:cxn>
                <a:cxn ang="0">
                  <a:pos x="T10" y="T11"/>
                </a:cxn>
              </a:cxnLst>
              <a:rect l="0" t="0" r="r" b="b"/>
              <a:pathLst>
                <a:path w="17" h="17">
                  <a:moveTo>
                    <a:pt x="0" y="0"/>
                  </a:moveTo>
                  <a:lnTo>
                    <a:pt x="11" y="0"/>
                  </a:lnTo>
                  <a:lnTo>
                    <a:pt x="17" y="6"/>
                  </a:lnTo>
                  <a:lnTo>
                    <a:pt x="13" y="17"/>
                  </a:lnTo>
                  <a:lnTo>
                    <a:pt x="5" y="9"/>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91">
              <a:extLst>
                <a:ext uri="{FF2B5EF4-FFF2-40B4-BE49-F238E27FC236}">
                  <a16:creationId xmlns:a16="http://schemas.microsoft.com/office/drawing/2014/main" id="{9F44C1D6-01D4-4241-A80E-DFA0199573D6}"/>
                </a:ext>
              </a:extLst>
            </p:cNvPr>
            <p:cNvSpPr>
              <a:spLocks/>
            </p:cNvSpPr>
            <p:nvPr/>
          </p:nvSpPr>
          <p:spPr bwMode="auto">
            <a:xfrm>
              <a:off x="7019925" y="4090266"/>
              <a:ext cx="93663" cy="133410"/>
            </a:xfrm>
            <a:custGeom>
              <a:avLst/>
              <a:gdLst>
                <a:gd name="T0" fmla="*/ 11 w 59"/>
                <a:gd name="T1" fmla="*/ 0 h 84"/>
                <a:gd name="T2" fmla="*/ 19 w 59"/>
                <a:gd name="T3" fmla="*/ 0 h 84"/>
                <a:gd name="T4" fmla="*/ 27 w 59"/>
                <a:gd name="T5" fmla="*/ 2 h 84"/>
                <a:gd name="T6" fmla="*/ 32 w 59"/>
                <a:gd name="T7" fmla="*/ 0 h 84"/>
                <a:gd name="T8" fmla="*/ 34 w 59"/>
                <a:gd name="T9" fmla="*/ 2 h 84"/>
                <a:gd name="T10" fmla="*/ 30 w 59"/>
                <a:gd name="T11" fmla="*/ 9 h 84"/>
                <a:gd name="T12" fmla="*/ 36 w 59"/>
                <a:gd name="T13" fmla="*/ 19 h 84"/>
                <a:gd name="T14" fmla="*/ 32 w 59"/>
                <a:gd name="T15" fmla="*/ 31 h 84"/>
                <a:gd name="T16" fmla="*/ 25 w 59"/>
                <a:gd name="T17" fmla="*/ 36 h 84"/>
                <a:gd name="T18" fmla="*/ 23 w 59"/>
                <a:gd name="T19" fmla="*/ 48 h 84"/>
                <a:gd name="T20" fmla="*/ 27 w 59"/>
                <a:gd name="T21" fmla="*/ 57 h 84"/>
                <a:gd name="T22" fmla="*/ 32 w 59"/>
                <a:gd name="T23" fmla="*/ 59 h 84"/>
                <a:gd name="T24" fmla="*/ 40 w 59"/>
                <a:gd name="T25" fmla="*/ 57 h 84"/>
                <a:gd name="T26" fmla="*/ 55 w 59"/>
                <a:gd name="T27" fmla="*/ 67 h 84"/>
                <a:gd name="T28" fmla="*/ 54 w 59"/>
                <a:gd name="T29" fmla="*/ 75 h 84"/>
                <a:gd name="T30" fmla="*/ 59 w 59"/>
                <a:gd name="T31" fmla="*/ 79 h 84"/>
                <a:gd name="T32" fmla="*/ 57 w 59"/>
                <a:gd name="T33" fmla="*/ 84 h 84"/>
                <a:gd name="T34" fmla="*/ 48 w 59"/>
                <a:gd name="T35" fmla="*/ 77 h 84"/>
                <a:gd name="T36" fmla="*/ 42 w 59"/>
                <a:gd name="T37" fmla="*/ 69 h 84"/>
                <a:gd name="T38" fmla="*/ 40 w 59"/>
                <a:gd name="T39" fmla="*/ 75 h 84"/>
                <a:gd name="T40" fmla="*/ 29 w 59"/>
                <a:gd name="T41" fmla="*/ 67 h 84"/>
                <a:gd name="T42" fmla="*/ 17 w 59"/>
                <a:gd name="T43" fmla="*/ 69 h 84"/>
                <a:gd name="T44" fmla="*/ 11 w 59"/>
                <a:gd name="T45" fmla="*/ 65 h 84"/>
                <a:gd name="T46" fmla="*/ 11 w 59"/>
                <a:gd name="T47" fmla="*/ 59 h 84"/>
                <a:gd name="T48" fmla="*/ 15 w 59"/>
                <a:gd name="T49" fmla="*/ 55 h 84"/>
                <a:gd name="T50" fmla="*/ 11 w 59"/>
                <a:gd name="T51" fmla="*/ 54 h 84"/>
                <a:gd name="T52" fmla="*/ 9 w 59"/>
                <a:gd name="T53" fmla="*/ 57 h 84"/>
                <a:gd name="T54" fmla="*/ 2 w 59"/>
                <a:gd name="T55" fmla="*/ 50 h 84"/>
                <a:gd name="T56" fmla="*/ 2 w 59"/>
                <a:gd name="T57" fmla="*/ 42 h 84"/>
                <a:gd name="T58" fmla="*/ 0 w 59"/>
                <a:gd name="T59" fmla="*/ 31 h 84"/>
                <a:gd name="T60" fmla="*/ 6 w 59"/>
                <a:gd name="T61" fmla="*/ 34 h 84"/>
                <a:gd name="T62" fmla="*/ 7 w 59"/>
                <a:gd name="T63" fmla="*/ 13 h 84"/>
                <a:gd name="T64" fmla="*/ 11 w 59"/>
                <a:gd name="T6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 h="84">
                  <a:moveTo>
                    <a:pt x="11" y="0"/>
                  </a:moveTo>
                  <a:lnTo>
                    <a:pt x="19" y="0"/>
                  </a:lnTo>
                  <a:lnTo>
                    <a:pt x="27" y="2"/>
                  </a:lnTo>
                  <a:lnTo>
                    <a:pt x="32" y="0"/>
                  </a:lnTo>
                  <a:lnTo>
                    <a:pt x="34" y="2"/>
                  </a:lnTo>
                  <a:lnTo>
                    <a:pt x="30" y="9"/>
                  </a:lnTo>
                  <a:lnTo>
                    <a:pt x="36" y="19"/>
                  </a:lnTo>
                  <a:lnTo>
                    <a:pt x="32" y="31"/>
                  </a:lnTo>
                  <a:lnTo>
                    <a:pt x="25" y="36"/>
                  </a:lnTo>
                  <a:lnTo>
                    <a:pt x="23" y="48"/>
                  </a:lnTo>
                  <a:lnTo>
                    <a:pt x="27" y="57"/>
                  </a:lnTo>
                  <a:lnTo>
                    <a:pt x="32" y="59"/>
                  </a:lnTo>
                  <a:lnTo>
                    <a:pt x="40" y="57"/>
                  </a:lnTo>
                  <a:lnTo>
                    <a:pt x="55" y="67"/>
                  </a:lnTo>
                  <a:lnTo>
                    <a:pt x="54" y="75"/>
                  </a:lnTo>
                  <a:lnTo>
                    <a:pt x="59" y="79"/>
                  </a:lnTo>
                  <a:lnTo>
                    <a:pt x="57" y="84"/>
                  </a:lnTo>
                  <a:lnTo>
                    <a:pt x="48" y="77"/>
                  </a:lnTo>
                  <a:lnTo>
                    <a:pt x="42" y="69"/>
                  </a:lnTo>
                  <a:lnTo>
                    <a:pt x="40" y="75"/>
                  </a:lnTo>
                  <a:lnTo>
                    <a:pt x="29" y="67"/>
                  </a:lnTo>
                  <a:lnTo>
                    <a:pt x="17" y="69"/>
                  </a:lnTo>
                  <a:lnTo>
                    <a:pt x="11" y="65"/>
                  </a:lnTo>
                  <a:lnTo>
                    <a:pt x="11" y="59"/>
                  </a:lnTo>
                  <a:lnTo>
                    <a:pt x="15" y="55"/>
                  </a:lnTo>
                  <a:lnTo>
                    <a:pt x="11" y="54"/>
                  </a:lnTo>
                  <a:lnTo>
                    <a:pt x="9" y="57"/>
                  </a:lnTo>
                  <a:lnTo>
                    <a:pt x="2" y="50"/>
                  </a:lnTo>
                  <a:lnTo>
                    <a:pt x="2" y="42"/>
                  </a:lnTo>
                  <a:lnTo>
                    <a:pt x="0" y="31"/>
                  </a:lnTo>
                  <a:lnTo>
                    <a:pt x="6" y="34"/>
                  </a:lnTo>
                  <a:lnTo>
                    <a:pt x="7" y="13"/>
                  </a:lnTo>
                  <a:lnTo>
                    <a:pt x="1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93">
              <a:extLst>
                <a:ext uri="{FF2B5EF4-FFF2-40B4-BE49-F238E27FC236}">
                  <a16:creationId xmlns:a16="http://schemas.microsoft.com/office/drawing/2014/main" id="{F6BD6BED-9B8C-40A4-9E97-E697B3671858}"/>
                </a:ext>
              </a:extLst>
            </p:cNvPr>
            <p:cNvSpPr>
              <a:spLocks/>
            </p:cNvSpPr>
            <p:nvPr/>
          </p:nvSpPr>
          <p:spPr bwMode="auto">
            <a:xfrm>
              <a:off x="2879726" y="4090266"/>
              <a:ext cx="39688" cy="12706"/>
            </a:xfrm>
            <a:custGeom>
              <a:avLst/>
              <a:gdLst>
                <a:gd name="T0" fmla="*/ 2 w 25"/>
                <a:gd name="T1" fmla="*/ 0 h 8"/>
                <a:gd name="T2" fmla="*/ 14 w 25"/>
                <a:gd name="T3" fmla="*/ 0 h 8"/>
                <a:gd name="T4" fmla="*/ 19 w 25"/>
                <a:gd name="T5" fmla="*/ 0 h 8"/>
                <a:gd name="T6" fmla="*/ 25 w 25"/>
                <a:gd name="T7" fmla="*/ 2 h 8"/>
                <a:gd name="T8" fmla="*/ 19 w 25"/>
                <a:gd name="T9" fmla="*/ 6 h 8"/>
                <a:gd name="T10" fmla="*/ 10 w 25"/>
                <a:gd name="T11" fmla="*/ 6 h 8"/>
                <a:gd name="T12" fmla="*/ 2 w 25"/>
                <a:gd name="T13" fmla="*/ 8 h 8"/>
                <a:gd name="T14" fmla="*/ 0 w 25"/>
                <a:gd name="T15" fmla="*/ 2 h 8"/>
                <a:gd name="T16" fmla="*/ 2 w 25"/>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
                  <a:moveTo>
                    <a:pt x="2" y="0"/>
                  </a:moveTo>
                  <a:lnTo>
                    <a:pt x="14" y="0"/>
                  </a:lnTo>
                  <a:lnTo>
                    <a:pt x="19" y="0"/>
                  </a:lnTo>
                  <a:lnTo>
                    <a:pt x="25" y="2"/>
                  </a:lnTo>
                  <a:lnTo>
                    <a:pt x="19" y="6"/>
                  </a:lnTo>
                  <a:lnTo>
                    <a:pt x="10" y="6"/>
                  </a:lnTo>
                  <a:lnTo>
                    <a:pt x="2" y="8"/>
                  </a:lnTo>
                  <a:lnTo>
                    <a:pt x="0" y="2"/>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95">
              <a:extLst>
                <a:ext uri="{FF2B5EF4-FFF2-40B4-BE49-F238E27FC236}">
                  <a16:creationId xmlns:a16="http://schemas.microsoft.com/office/drawing/2014/main" id="{BC4184F9-308F-4DB2-813A-F4464B316B82}"/>
                </a:ext>
              </a:extLst>
            </p:cNvPr>
            <p:cNvSpPr>
              <a:spLocks/>
            </p:cNvSpPr>
            <p:nvPr/>
          </p:nvSpPr>
          <p:spPr bwMode="auto">
            <a:xfrm>
              <a:off x="2636838" y="4090266"/>
              <a:ext cx="44450" cy="17471"/>
            </a:xfrm>
            <a:custGeom>
              <a:avLst/>
              <a:gdLst>
                <a:gd name="T0" fmla="*/ 5 w 28"/>
                <a:gd name="T1" fmla="*/ 0 h 11"/>
                <a:gd name="T2" fmla="*/ 9 w 28"/>
                <a:gd name="T3" fmla="*/ 0 h 11"/>
                <a:gd name="T4" fmla="*/ 19 w 28"/>
                <a:gd name="T5" fmla="*/ 2 h 11"/>
                <a:gd name="T6" fmla="*/ 26 w 28"/>
                <a:gd name="T7" fmla="*/ 4 h 11"/>
                <a:gd name="T8" fmla="*/ 28 w 28"/>
                <a:gd name="T9" fmla="*/ 8 h 11"/>
                <a:gd name="T10" fmla="*/ 19 w 28"/>
                <a:gd name="T11" fmla="*/ 8 h 11"/>
                <a:gd name="T12" fmla="*/ 15 w 28"/>
                <a:gd name="T13" fmla="*/ 11 h 11"/>
                <a:gd name="T14" fmla="*/ 7 w 28"/>
                <a:gd name="T15" fmla="*/ 8 h 11"/>
                <a:gd name="T16" fmla="*/ 0 w 28"/>
                <a:gd name="T17" fmla="*/ 2 h 11"/>
                <a:gd name="T18" fmla="*/ 1 w 28"/>
                <a:gd name="T19" fmla="*/ 0 h 11"/>
                <a:gd name="T20" fmla="*/ 5 w 28"/>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
                  <a:moveTo>
                    <a:pt x="5" y="0"/>
                  </a:moveTo>
                  <a:lnTo>
                    <a:pt x="9" y="0"/>
                  </a:lnTo>
                  <a:lnTo>
                    <a:pt x="19" y="2"/>
                  </a:lnTo>
                  <a:lnTo>
                    <a:pt x="26" y="4"/>
                  </a:lnTo>
                  <a:lnTo>
                    <a:pt x="28" y="8"/>
                  </a:lnTo>
                  <a:lnTo>
                    <a:pt x="19" y="8"/>
                  </a:lnTo>
                  <a:lnTo>
                    <a:pt x="15" y="11"/>
                  </a:lnTo>
                  <a:lnTo>
                    <a:pt x="7" y="8"/>
                  </a:lnTo>
                  <a:lnTo>
                    <a:pt x="0" y="2"/>
                  </a:lnTo>
                  <a:lnTo>
                    <a:pt x="1" y="0"/>
                  </a:lnTo>
                  <a:lnTo>
                    <a:pt x="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97">
              <a:extLst>
                <a:ext uri="{FF2B5EF4-FFF2-40B4-BE49-F238E27FC236}">
                  <a16:creationId xmlns:a16="http://schemas.microsoft.com/office/drawing/2014/main" id="{45BAF9BC-C1F7-4AC3-9766-D12210776971}"/>
                </a:ext>
              </a:extLst>
            </p:cNvPr>
            <p:cNvSpPr>
              <a:spLocks/>
            </p:cNvSpPr>
            <p:nvPr/>
          </p:nvSpPr>
          <p:spPr bwMode="auto">
            <a:xfrm>
              <a:off x="2720976" y="4056913"/>
              <a:ext cx="134938" cy="53999"/>
            </a:xfrm>
            <a:custGeom>
              <a:avLst/>
              <a:gdLst>
                <a:gd name="T0" fmla="*/ 18 w 85"/>
                <a:gd name="T1" fmla="*/ 0 h 34"/>
                <a:gd name="T2" fmla="*/ 27 w 85"/>
                <a:gd name="T3" fmla="*/ 0 h 34"/>
                <a:gd name="T4" fmla="*/ 39 w 85"/>
                <a:gd name="T5" fmla="*/ 2 h 34"/>
                <a:gd name="T6" fmla="*/ 41 w 85"/>
                <a:gd name="T7" fmla="*/ 11 h 34"/>
                <a:gd name="T8" fmla="*/ 39 w 85"/>
                <a:gd name="T9" fmla="*/ 2 h 34"/>
                <a:gd name="T10" fmla="*/ 41 w 85"/>
                <a:gd name="T11" fmla="*/ 0 h 34"/>
                <a:gd name="T12" fmla="*/ 50 w 85"/>
                <a:gd name="T13" fmla="*/ 0 h 34"/>
                <a:gd name="T14" fmla="*/ 58 w 85"/>
                <a:gd name="T15" fmla="*/ 4 h 34"/>
                <a:gd name="T16" fmla="*/ 64 w 85"/>
                <a:gd name="T17" fmla="*/ 4 h 34"/>
                <a:gd name="T18" fmla="*/ 66 w 85"/>
                <a:gd name="T19" fmla="*/ 9 h 34"/>
                <a:gd name="T20" fmla="*/ 73 w 85"/>
                <a:gd name="T21" fmla="*/ 9 h 34"/>
                <a:gd name="T22" fmla="*/ 71 w 85"/>
                <a:gd name="T23" fmla="*/ 13 h 34"/>
                <a:gd name="T24" fmla="*/ 79 w 85"/>
                <a:gd name="T25" fmla="*/ 13 h 34"/>
                <a:gd name="T26" fmla="*/ 85 w 85"/>
                <a:gd name="T27" fmla="*/ 19 h 34"/>
                <a:gd name="T28" fmla="*/ 81 w 85"/>
                <a:gd name="T29" fmla="*/ 23 h 34"/>
                <a:gd name="T30" fmla="*/ 73 w 85"/>
                <a:gd name="T31" fmla="*/ 21 h 34"/>
                <a:gd name="T32" fmla="*/ 67 w 85"/>
                <a:gd name="T33" fmla="*/ 23 h 34"/>
                <a:gd name="T34" fmla="*/ 64 w 85"/>
                <a:gd name="T35" fmla="*/ 21 h 34"/>
                <a:gd name="T36" fmla="*/ 60 w 85"/>
                <a:gd name="T37" fmla="*/ 23 h 34"/>
                <a:gd name="T38" fmla="*/ 54 w 85"/>
                <a:gd name="T39" fmla="*/ 25 h 34"/>
                <a:gd name="T40" fmla="*/ 52 w 85"/>
                <a:gd name="T41" fmla="*/ 21 h 34"/>
                <a:gd name="T42" fmla="*/ 48 w 85"/>
                <a:gd name="T43" fmla="*/ 23 h 34"/>
                <a:gd name="T44" fmla="*/ 43 w 85"/>
                <a:gd name="T45" fmla="*/ 34 h 34"/>
                <a:gd name="T46" fmla="*/ 39 w 85"/>
                <a:gd name="T47" fmla="*/ 30 h 34"/>
                <a:gd name="T48" fmla="*/ 39 w 85"/>
                <a:gd name="T49" fmla="*/ 27 h 34"/>
                <a:gd name="T50" fmla="*/ 39 w 85"/>
                <a:gd name="T51" fmla="*/ 23 h 34"/>
                <a:gd name="T52" fmla="*/ 39 w 85"/>
                <a:gd name="T53" fmla="*/ 27 h 34"/>
                <a:gd name="T54" fmla="*/ 29 w 85"/>
                <a:gd name="T55" fmla="*/ 23 h 34"/>
                <a:gd name="T56" fmla="*/ 23 w 85"/>
                <a:gd name="T57" fmla="*/ 25 h 34"/>
                <a:gd name="T58" fmla="*/ 14 w 85"/>
                <a:gd name="T59" fmla="*/ 23 h 34"/>
                <a:gd name="T60" fmla="*/ 8 w 85"/>
                <a:gd name="T61" fmla="*/ 27 h 34"/>
                <a:gd name="T62" fmla="*/ 0 w 85"/>
                <a:gd name="T63" fmla="*/ 23 h 34"/>
                <a:gd name="T64" fmla="*/ 2 w 85"/>
                <a:gd name="T65" fmla="*/ 17 h 34"/>
                <a:gd name="T66" fmla="*/ 14 w 85"/>
                <a:gd name="T67" fmla="*/ 21 h 34"/>
                <a:gd name="T68" fmla="*/ 25 w 85"/>
                <a:gd name="T69" fmla="*/ 21 h 34"/>
                <a:gd name="T70" fmla="*/ 29 w 85"/>
                <a:gd name="T71" fmla="*/ 17 h 34"/>
                <a:gd name="T72" fmla="*/ 23 w 85"/>
                <a:gd name="T73" fmla="*/ 13 h 34"/>
                <a:gd name="T74" fmla="*/ 23 w 85"/>
                <a:gd name="T75" fmla="*/ 9 h 34"/>
                <a:gd name="T76" fmla="*/ 23 w 85"/>
                <a:gd name="T77" fmla="*/ 5 h 34"/>
                <a:gd name="T78" fmla="*/ 14 w 85"/>
                <a:gd name="T79" fmla="*/ 4 h 34"/>
                <a:gd name="T80" fmla="*/ 18 w 85"/>
                <a:gd name="T8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5" h="34">
                  <a:moveTo>
                    <a:pt x="18" y="0"/>
                  </a:moveTo>
                  <a:lnTo>
                    <a:pt x="27" y="0"/>
                  </a:lnTo>
                  <a:lnTo>
                    <a:pt x="39" y="2"/>
                  </a:lnTo>
                  <a:lnTo>
                    <a:pt x="41" y="11"/>
                  </a:lnTo>
                  <a:lnTo>
                    <a:pt x="39" y="2"/>
                  </a:lnTo>
                  <a:lnTo>
                    <a:pt x="41" y="0"/>
                  </a:lnTo>
                  <a:lnTo>
                    <a:pt x="50" y="0"/>
                  </a:lnTo>
                  <a:lnTo>
                    <a:pt x="58" y="4"/>
                  </a:lnTo>
                  <a:lnTo>
                    <a:pt x="64" y="4"/>
                  </a:lnTo>
                  <a:lnTo>
                    <a:pt x="66" y="9"/>
                  </a:lnTo>
                  <a:lnTo>
                    <a:pt x="73" y="9"/>
                  </a:lnTo>
                  <a:lnTo>
                    <a:pt x="71" y="13"/>
                  </a:lnTo>
                  <a:lnTo>
                    <a:pt x="79" y="13"/>
                  </a:lnTo>
                  <a:lnTo>
                    <a:pt x="85" y="19"/>
                  </a:lnTo>
                  <a:lnTo>
                    <a:pt x="81" y="23"/>
                  </a:lnTo>
                  <a:lnTo>
                    <a:pt x="73" y="21"/>
                  </a:lnTo>
                  <a:lnTo>
                    <a:pt x="67" y="23"/>
                  </a:lnTo>
                  <a:lnTo>
                    <a:pt x="64" y="21"/>
                  </a:lnTo>
                  <a:lnTo>
                    <a:pt x="60" y="23"/>
                  </a:lnTo>
                  <a:lnTo>
                    <a:pt x="54" y="25"/>
                  </a:lnTo>
                  <a:lnTo>
                    <a:pt x="52" y="21"/>
                  </a:lnTo>
                  <a:lnTo>
                    <a:pt x="48" y="23"/>
                  </a:lnTo>
                  <a:lnTo>
                    <a:pt x="43" y="34"/>
                  </a:lnTo>
                  <a:lnTo>
                    <a:pt x="39" y="30"/>
                  </a:lnTo>
                  <a:lnTo>
                    <a:pt x="39" y="27"/>
                  </a:lnTo>
                  <a:lnTo>
                    <a:pt x="39" y="23"/>
                  </a:lnTo>
                  <a:lnTo>
                    <a:pt x="39" y="27"/>
                  </a:lnTo>
                  <a:lnTo>
                    <a:pt x="29" y="23"/>
                  </a:lnTo>
                  <a:lnTo>
                    <a:pt x="23" y="25"/>
                  </a:lnTo>
                  <a:lnTo>
                    <a:pt x="14" y="23"/>
                  </a:lnTo>
                  <a:lnTo>
                    <a:pt x="8" y="27"/>
                  </a:lnTo>
                  <a:lnTo>
                    <a:pt x="0" y="23"/>
                  </a:lnTo>
                  <a:lnTo>
                    <a:pt x="2" y="17"/>
                  </a:lnTo>
                  <a:lnTo>
                    <a:pt x="14" y="21"/>
                  </a:lnTo>
                  <a:lnTo>
                    <a:pt x="25" y="21"/>
                  </a:lnTo>
                  <a:lnTo>
                    <a:pt x="29" y="17"/>
                  </a:lnTo>
                  <a:lnTo>
                    <a:pt x="23" y="13"/>
                  </a:lnTo>
                  <a:lnTo>
                    <a:pt x="23" y="9"/>
                  </a:lnTo>
                  <a:lnTo>
                    <a:pt x="23" y="5"/>
                  </a:lnTo>
                  <a:lnTo>
                    <a:pt x="14" y="4"/>
                  </a:lnTo>
                  <a:lnTo>
                    <a:pt x="18"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99">
              <a:extLst>
                <a:ext uri="{FF2B5EF4-FFF2-40B4-BE49-F238E27FC236}">
                  <a16:creationId xmlns:a16="http://schemas.microsoft.com/office/drawing/2014/main" id="{AE90907B-33A9-4032-8DAC-57D686BF224B}"/>
                </a:ext>
              </a:extLst>
            </p:cNvPr>
            <p:cNvSpPr>
              <a:spLocks/>
            </p:cNvSpPr>
            <p:nvPr/>
          </p:nvSpPr>
          <p:spPr bwMode="auto">
            <a:xfrm>
              <a:off x="6769100" y="4050560"/>
              <a:ext cx="55563" cy="42882"/>
            </a:xfrm>
            <a:custGeom>
              <a:avLst/>
              <a:gdLst>
                <a:gd name="T0" fmla="*/ 23 w 35"/>
                <a:gd name="T1" fmla="*/ 0 h 27"/>
                <a:gd name="T2" fmla="*/ 31 w 35"/>
                <a:gd name="T3" fmla="*/ 0 h 27"/>
                <a:gd name="T4" fmla="*/ 35 w 35"/>
                <a:gd name="T5" fmla="*/ 6 h 27"/>
                <a:gd name="T6" fmla="*/ 27 w 35"/>
                <a:gd name="T7" fmla="*/ 13 h 27"/>
                <a:gd name="T8" fmla="*/ 25 w 35"/>
                <a:gd name="T9" fmla="*/ 21 h 27"/>
                <a:gd name="T10" fmla="*/ 14 w 35"/>
                <a:gd name="T11" fmla="*/ 27 h 27"/>
                <a:gd name="T12" fmla="*/ 0 w 35"/>
                <a:gd name="T13" fmla="*/ 25 h 27"/>
                <a:gd name="T14" fmla="*/ 0 w 35"/>
                <a:gd name="T15" fmla="*/ 11 h 27"/>
                <a:gd name="T16" fmla="*/ 8 w 35"/>
                <a:gd name="T17" fmla="*/ 4 h 27"/>
                <a:gd name="T18" fmla="*/ 23 w 35"/>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7">
                  <a:moveTo>
                    <a:pt x="23" y="0"/>
                  </a:moveTo>
                  <a:lnTo>
                    <a:pt x="31" y="0"/>
                  </a:lnTo>
                  <a:lnTo>
                    <a:pt x="35" y="6"/>
                  </a:lnTo>
                  <a:lnTo>
                    <a:pt x="27" y="13"/>
                  </a:lnTo>
                  <a:lnTo>
                    <a:pt x="25" y="21"/>
                  </a:lnTo>
                  <a:lnTo>
                    <a:pt x="14" y="27"/>
                  </a:lnTo>
                  <a:lnTo>
                    <a:pt x="0" y="25"/>
                  </a:lnTo>
                  <a:lnTo>
                    <a:pt x="0" y="11"/>
                  </a:lnTo>
                  <a:lnTo>
                    <a:pt x="8" y="4"/>
                  </a:lnTo>
                  <a:lnTo>
                    <a:pt x="2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101">
              <a:extLst>
                <a:ext uri="{FF2B5EF4-FFF2-40B4-BE49-F238E27FC236}">
                  <a16:creationId xmlns:a16="http://schemas.microsoft.com/office/drawing/2014/main" id="{FBDAC725-79E4-4424-BEA3-A05B4B093458}"/>
                </a:ext>
              </a:extLst>
            </p:cNvPr>
            <p:cNvSpPr>
              <a:spLocks/>
            </p:cNvSpPr>
            <p:nvPr/>
          </p:nvSpPr>
          <p:spPr bwMode="auto">
            <a:xfrm>
              <a:off x="917577" y="4050560"/>
              <a:ext cx="28575" cy="27000"/>
            </a:xfrm>
            <a:custGeom>
              <a:avLst/>
              <a:gdLst>
                <a:gd name="T0" fmla="*/ 2 w 18"/>
                <a:gd name="T1" fmla="*/ 0 h 17"/>
                <a:gd name="T2" fmla="*/ 4 w 18"/>
                <a:gd name="T3" fmla="*/ 0 h 17"/>
                <a:gd name="T4" fmla="*/ 10 w 18"/>
                <a:gd name="T5" fmla="*/ 0 h 17"/>
                <a:gd name="T6" fmla="*/ 12 w 18"/>
                <a:gd name="T7" fmla="*/ 2 h 17"/>
                <a:gd name="T8" fmla="*/ 14 w 18"/>
                <a:gd name="T9" fmla="*/ 4 h 17"/>
                <a:gd name="T10" fmla="*/ 18 w 18"/>
                <a:gd name="T11" fmla="*/ 9 h 17"/>
                <a:gd name="T12" fmla="*/ 18 w 18"/>
                <a:gd name="T13" fmla="*/ 11 h 17"/>
                <a:gd name="T14" fmla="*/ 12 w 18"/>
                <a:gd name="T15" fmla="*/ 13 h 17"/>
                <a:gd name="T16" fmla="*/ 8 w 18"/>
                <a:gd name="T17" fmla="*/ 17 h 17"/>
                <a:gd name="T18" fmla="*/ 6 w 18"/>
                <a:gd name="T19" fmla="*/ 17 h 17"/>
                <a:gd name="T20" fmla="*/ 2 w 18"/>
                <a:gd name="T21" fmla="*/ 17 h 17"/>
                <a:gd name="T22" fmla="*/ 2 w 18"/>
                <a:gd name="T23" fmla="*/ 13 h 17"/>
                <a:gd name="T24" fmla="*/ 0 w 18"/>
                <a:gd name="T25" fmla="*/ 6 h 17"/>
                <a:gd name="T26" fmla="*/ 0 w 18"/>
                <a:gd name="T27" fmla="*/ 4 h 17"/>
                <a:gd name="T28" fmla="*/ 4 w 18"/>
                <a:gd name="T29" fmla="*/ 2 h 17"/>
                <a:gd name="T30" fmla="*/ 2 w 18"/>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7">
                  <a:moveTo>
                    <a:pt x="2" y="0"/>
                  </a:moveTo>
                  <a:lnTo>
                    <a:pt x="4" y="0"/>
                  </a:lnTo>
                  <a:lnTo>
                    <a:pt x="10" y="0"/>
                  </a:lnTo>
                  <a:lnTo>
                    <a:pt x="12" y="2"/>
                  </a:lnTo>
                  <a:lnTo>
                    <a:pt x="14" y="4"/>
                  </a:lnTo>
                  <a:lnTo>
                    <a:pt x="18" y="9"/>
                  </a:lnTo>
                  <a:lnTo>
                    <a:pt x="18" y="11"/>
                  </a:lnTo>
                  <a:lnTo>
                    <a:pt x="12" y="13"/>
                  </a:lnTo>
                  <a:lnTo>
                    <a:pt x="8" y="17"/>
                  </a:lnTo>
                  <a:lnTo>
                    <a:pt x="6" y="17"/>
                  </a:lnTo>
                  <a:lnTo>
                    <a:pt x="2" y="17"/>
                  </a:lnTo>
                  <a:lnTo>
                    <a:pt x="2" y="13"/>
                  </a:lnTo>
                  <a:lnTo>
                    <a:pt x="0" y="6"/>
                  </a:lnTo>
                  <a:lnTo>
                    <a:pt x="0" y="4"/>
                  </a:lnTo>
                  <a:lnTo>
                    <a:pt x="4" y="2"/>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103">
              <a:extLst>
                <a:ext uri="{FF2B5EF4-FFF2-40B4-BE49-F238E27FC236}">
                  <a16:creationId xmlns:a16="http://schemas.microsoft.com/office/drawing/2014/main" id="{4E1FDD66-48F6-43CE-8FB1-29AE920F26BD}"/>
                </a:ext>
              </a:extLst>
            </p:cNvPr>
            <p:cNvSpPr>
              <a:spLocks/>
            </p:cNvSpPr>
            <p:nvPr/>
          </p:nvSpPr>
          <p:spPr bwMode="auto">
            <a:xfrm>
              <a:off x="903289" y="4031501"/>
              <a:ext cx="14288" cy="9529"/>
            </a:xfrm>
            <a:custGeom>
              <a:avLst/>
              <a:gdLst>
                <a:gd name="T0" fmla="*/ 2 w 9"/>
                <a:gd name="T1" fmla="*/ 0 h 6"/>
                <a:gd name="T2" fmla="*/ 6 w 9"/>
                <a:gd name="T3" fmla="*/ 2 h 6"/>
                <a:gd name="T4" fmla="*/ 9 w 9"/>
                <a:gd name="T5" fmla="*/ 2 h 6"/>
                <a:gd name="T6" fmla="*/ 9 w 9"/>
                <a:gd name="T7" fmla="*/ 4 h 6"/>
                <a:gd name="T8" fmla="*/ 4 w 9"/>
                <a:gd name="T9" fmla="*/ 6 h 6"/>
                <a:gd name="T10" fmla="*/ 2 w 9"/>
                <a:gd name="T11" fmla="*/ 2 h 6"/>
                <a:gd name="T12" fmla="*/ 0 w 9"/>
                <a:gd name="T13" fmla="*/ 2 h 6"/>
                <a:gd name="T14" fmla="*/ 2 w 9"/>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2" y="0"/>
                  </a:moveTo>
                  <a:lnTo>
                    <a:pt x="6" y="2"/>
                  </a:lnTo>
                  <a:lnTo>
                    <a:pt x="9" y="2"/>
                  </a:lnTo>
                  <a:lnTo>
                    <a:pt x="9" y="4"/>
                  </a:lnTo>
                  <a:lnTo>
                    <a:pt x="4" y="6"/>
                  </a:lnTo>
                  <a:lnTo>
                    <a:pt x="2" y="2"/>
                  </a:lnTo>
                  <a:lnTo>
                    <a:pt x="0" y="2"/>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105">
              <a:extLst>
                <a:ext uri="{FF2B5EF4-FFF2-40B4-BE49-F238E27FC236}">
                  <a16:creationId xmlns:a16="http://schemas.microsoft.com/office/drawing/2014/main" id="{EA8ECA2B-A277-4C1A-9ED0-9967A366BC17}"/>
                </a:ext>
              </a:extLst>
            </p:cNvPr>
            <p:cNvSpPr>
              <a:spLocks/>
            </p:cNvSpPr>
            <p:nvPr/>
          </p:nvSpPr>
          <p:spPr bwMode="auto">
            <a:xfrm>
              <a:off x="890589" y="4026737"/>
              <a:ext cx="12700" cy="4765"/>
            </a:xfrm>
            <a:custGeom>
              <a:avLst/>
              <a:gdLst>
                <a:gd name="T0" fmla="*/ 0 w 8"/>
                <a:gd name="T1" fmla="*/ 0 h 3"/>
                <a:gd name="T2" fmla="*/ 8 w 8"/>
                <a:gd name="T3" fmla="*/ 1 h 3"/>
                <a:gd name="T4" fmla="*/ 8 w 8"/>
                <a:gd name="T5" fmla="*/ 3 h 3"/>
                <a:gd name="T6" fmla="*/ 0 w 8"/>
                <a:gd name="T7" fmla="*/ 1 h 3"/>
                <a:gd name="T8" fmla="*/ 0 w 8"/>
                <a:gd name="T9" fmla="*/ 0 h 3"/>
              </a:gdLst>
              <a:ahLst/>
              <a:cxnLst>
                <a:cxn ang="0">
                  <a:pos x="T0" y="T1"/>
                </a:cxn>
                <a:cxn ang="0">
                  <a:pos x="T2" y="T3"/>
                </a:cxn>
                <a:cxn ang="0">
                  <a:pos x="T4" y="T5"/>
                </a:cxn>
                <a:cxn ang="0">
                  <a:pos x="T6" y="T7"/>
                </a:cxn>
                <a:cxn ang="0">
                  <a:pos x="T8" y="T9"/>
                </a:cxn>
              </a:cxnLst>
              <a:rect l="0" t="0" r="r" b="b"/>
              <a:pathLst>
                <a:path w="8" h="3">
                  <a:moveTo>
                    <a:pt x="0" y="0"/>
                  </a:moveTo>
                  <a:lnTo>
                    <a:pt x="8" y="1"/>
                  </a:lnTo>
                  <a:lnTo>
                    <a:pt x="8" y="3"/>
                  </a:lnTo>
                  <a:lnTo>
                    <a:pt x="0" y="1"/>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107">
              <a:extLst>
                <a:ext uri="{FF2B5EF4-FFF2-40B4-BE49-F238E27FC236}">
                  <a16:creationId xmlns:a16="http://schemas.microsoft.com/office/drawing/2014/main" id="{13DA351B-BED9-48FE-AD3D-0DC682273886}"/>
                </a:ext>
              </a:extLst>
            </p:cNvPr>
            <p:cNvSpPr>
              <a:spLocks/>
            </p:cNvSpPr>
            <p:nvPr/>
          </p:nvSpPr>
          <p:spPr bwMode="auto">
            <a:xfrm>
              <a:off x="869952" y="4014032"/>
              <a:ext cx="14288" cy="12706"/>
            </a:xfrm>
            <a:custGeom>
              <a:avLst/>
              <a:gdLst>
                <a:gd name="T0" fmla="*/ 2 w 9"/>
                <a:gd name="T1" fmla="*/ 0 h 8"/>
                <a:gd name="T2" fmla="*/ 3 w 9"/>
                <a:gd name="T3" fmla="*/ 0 h 8"/>
                <a:gd name="T4" fmla="*/ 9 w 9"/>
                <a:gd name="T5" fmla="*/ 6 h 8"/>
                <a:gd name="T6" fmla="*/ 7 w 9"/>
                <a:gd name="T7" fmla="*/ 8 h 8"/>
                <a:gd name="T8" fmla="*/ 5 w 9"/>
                <a:gd name="T9" fmla="*/ 8 h 8"/>
                <a:gd name="T10" fmla="*/ 2 w 9"/>
                <a:gd name="T11" fmla="*/ 6 h 8"/>
                <a:gd name="T12" fmla="*/ 0 w 9"/>
                <a:gd name="T13" fmla="*/ 2 h 8"/>
                <a:gd name="T14" fmla="*/ 0 w 9"/>
                <a:gd name="T15" fmla="*/ 2 h 8"/>
                <a:gd name="T16" fmla="*/ 2 w 9"/>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2" y="0"/>
                  </a:moveTo>
                  <a:lnTo>
                    <a:pt x="3" y="0"/>
                  </a:lnTo>
                  <a:lnTo>
                    <a:pt x="9" y="6"/>
                  </a:lnTo>
                  <a:lnTo>
                    <a:pt x="7" y="8"/>
                  </a:lnTo>
                  <a:lnTo>
                    <a:pt x="5" y="8"/>
                  </a:lnTo>
                  <a:lnTo>
                    <a:pt x="2" y="6"/>
                  </a:lnTo>
                  <a:lnTo>
                    <a:pt x="0" y="2"/>
                  </a:lnTo>
                  <a:lnTo>
                    <a:pt x="0" y="2"/>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109">
              <a:extLst>
                <a:ext uri="{FF2B5EF4-FFF2-40B4-BE49-F238E27FC236}">
                  <a16:creationId xmlns:a16="http://schemas.microsoft.com/office/drawing/2014/main" id="{8D932769-77AE-4FCA-87EF-C66D2D5AC49D}"/>
                </a:ext>
              </a:extLst>
            </p:cNvPr>
            <p:cNvSpPr>
              <a:spLocks/>
            </p:cNvSpPr>
            <p:nvPr/>
          </p:nvSpPr>
          <p:spPr bwMode="auto">
            <a:xfrm>
              <a:off x="836614" y="4001326"/>
              <a:ext cx="7938" cy="9529"/>
            </a:xfrm>
            <a:custGeom>
              <a:avLst/>
              <a:gdLst>
                <a:gd name="T0" fmla="*/ 1 w 5"/>
                <a:gd name="T1" fmla="*/ 0 h 6"/>
                <a:gd name="T2" fmla="*/ 5 w 5"/>
                <a:gd name="T3" fmla="*/ 2 h 6"/>
                <a:gd name="T4" fmla="*/ 5 w 5"/>
                <a:gd name="T5" fmla="*/ 6 h 6"/>
                <a:gd name="T6" fmla="*/ 3 w 5"/>
                <a:gd name="T7" fmla="*/ 6 h 6"/>
                <a:gd name="T8" fmla="*/ 0 w 5"/>
                <a:gd name="T9" fmla="*/ 4 h 6"/>
                <a:gd name="T10" fmla="*/ 0 w 5"/>
                <a:gd name="T11" fmla="*/ 2 h 6"/>
                <a:gd name="T12" fmla="*/ 1 w 5"/>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1" y="0"/>
                  </a:moveTo>
                  <a:lnTo>
                    <a:pt x="5" y="2"/>
                  </a:lnTo>
                  <a:lnTo>
                    <a:pt x="5" y="6"/>
                  </a:lnTo>
                  <a:lnTo>
                    <a:pt x="3" y="6"/>
                  </a:lnTo>
                  <a:lnTo>
                    <a:pt x="0" y="4"/>
                  </a:lnTo>
                  <a:lnTo>
                    <a:pt x="0" y="2"/>
                  </a:lnTo>
                  <a:lnTo>
                    <a:pt x="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111">
              <a:extLst>
                <a:ext uri="{FF2B5EF4-FFF2-40B4-BE49-F238E27FC236}">
                  <a16:creationId xmlns:a16="http://schemas.microsoft.com/office/drawing/2014/main" id="{080846FC-9D3B-4936-B032-4DC2C6CE7473}"/>
                </a:ext>
              </a:extLst>
            </p:cNvPr>
            <p:cNvSpPr>
              <a:spLocks/>
            </p:cNvSpPr>
            <p:nvPr/>
          </p:nvSpPr>
          <p:spPr bwMode="auto">
            <a:xfrm>
              <a:off x="2489202" y="3980679"/>
              <a:ext cx="238125" cy="76234"/>
            </a:xfrm>
            <a:custGeom>
              <a:avLst/>
              <a:gdLst>
                <a:gd name="T0" fmla="*/ 37 w 150"/>
                <a:gd name="T1" fmla="*/ 0 h 48"/>
                <a:gd name="T2" fmla="*/ 48 w 150"/>
                <a:gd name="T3" fmla="*/ 2 h 48"/>
                <a:gd name="T4" fmla="*/ 60 w 150"/>
                <a:gd name="T5" fmla="*/ 2 h 48"/>
                <a:gd name="T6" fmla="*/ 73 w 150"/>
                <a:gd name="T7" fmla="*/ 6 h 48"/>
                <a:gd name="T8" fmla="*/ 79 w 150"/>
                <a:gd name="T9" fmla="*/ 11 h 48"/>
                <a:gd name="T10" fmla="*/ 93 w 150"/>
                <a:gd name="T11" fmla="*/ 9 h 48"/>
                <a:gd name="T12" fmla="*/ 96 w 150"/>
                <a:gd name="T13" fmla="*/ 13 h 48"/>
                <a:gd name="T14" fmla="*/ 110 w 150"/>
                <a:gd name="T15" fmla="*/ 21 h 48"/>
                <a:gd name="T16" fmla="*/ 118 w 150"/>
                <a:gd name="T17" fmla="*/ 29 h 48"/>
                <a:gd name="T18" fmla="*/ 121 w 150"/>
                <a:gd name="T19" fmla="*/ 29 h 48"/>
                <a:gd name="T20" fmla="*/ 131 w 150"/>
                <a:gd name="T21" fmla="*/ 32 h 48"/>
                <a:gd name="T22" fmla="*/ 129 w 150"/>
                <a:gd name="T23" fmla="*/ 34 h 48"/>
                <a:gd name="T24" fmla="*/ 139 w 150"/>
                <a:gd name="T25" fmla="*/ 36 h 48"/>
                <a:gd name="T26" fmla="*/ 150 w 150"/>
                <a:gd name="T27" fmla="*/ 42 h 48"/>
                <a:gd name="T28" fmla="*/ 148 w 150"/>
                <a:gd name="T29" fmla="*/ 44 h 48"/>
                <a:gd name="T30" fmla="*/ 139 w 150"/>
                <a:gd name="T31" fmla="*/ 48 h 48"/>
                <a:gd name="T32" fmla="*/ 129 w 150"/>
                <a:gd name="T33" fmla="*/ 48 h 48"/>
                <a:gd name="T34" fmla="*/ 121 w 150"/>
                <a:gd name="T35" fmla="*/ 46 h 48"/>
                <a:gd name="T36" fmla="*/ 100 w 150"/>
                <a:gd name="T37" fmla="*/ 48 h 48"/>
                <a:gd name="T38" fmla="*/ 110 w 150"/>
                <a:gd name="T39" fmla="*/ 40 h 48"/>
                <a:gd name="T40" fmla="*/ 104 w 150"/>
                <a:gd name="T41" fmla="*/ 36 h 48"/>
                <a:gd name="T42" fmla="*/ 94 w 150"/>
                <a:gd name="T43" fmla="*/ 34 h 48"/>
                <a:gd name="T44" fmla="*/ 91 w 150"/>
                <a:gd name="T45" fmla="*/ 32 h 48"/>
                <a:gd name="T46" fmla="*/ 87 w 150"/>
                <a:gd name="T47" fmla="*/ 23 h 48"/>
                <a:gd name="T48" fmla="*/ 79 w 150"/>
                <a:gd name="T49" fmla="*/ 23 h 48"/>
                <a:gd name="T50" fmla="*/ 66 w 150"/>
                <a:gd name="T51" fmla="*/ 21 h 48"/>
                <a:gd name="T52" fmla="*/ 62 w 150"/>
                <a:gd name="T53" fmla="*/ 17 h 48"/>
                <a:gd name="T54" fmla="*/ 45 w 150"/>
                <a:gd name="T55" fmla="*/ 15 h 48"/>
                <a:gd name="T56" fmla="*/ 39 w 150"/>
                <a:gd name="T57" fmla="*/ 11 h 48"/>
                <a:gd name="T58" fmla="*/ 45 w 150"/>
                <a:gd name="T59" fmla="*/ 7 h 48"/>
                <a:gd name="T60" fmla="*/ 31 w 150"/>
                <a:gd name="T61" fmla="*/ 6 h 48"/>
                <a:gd name="T62" fmla="*/ 20 w 150"/>
                <a:gd name="T63" fmla="*/ 15 h 48"/>
                <a:gd name="T64" fmla="*/ 14 w 150"/>
                <a:gd name="T65" fmla="*/ 15 h 48"/>
                <a:gd name="T66" fmla="*/ 12 w 150"/>
                <a:gd name="T67" fmla="*/ 19 h 48"/>
                <a:gd name="T68" fmla="*/ 6 w 150"/>
                <a:gd name="T69" fmla="*/ 21 h 48"/>
                <a:gd name="T70" fmla="*/ 0 w 150"/>
                <a:gd name="T71" fmla="*/ 19 h 48"/>
                <a:gd name="T72" fmla="*/ 8 w 150"/>
                <a:gd name="T73" fmla="*/ 15 h 48"/>
                <a:gd name="T74" fmla="*/ 10 w 150"/>
                <a:gd name="T75" fmla="*/ 9 h 48"/>
                <a:gd name="T76" fmla="*/ 18 w 150"/>
                <a:gd name="T77" fmla="*/ 6 h 48"/>
                <a:gd name="T78" fmla="*/ 23 w 150"/>
                <a:gd name="T79" fmla="*/ 4 h 48"/>
                <a:gd name="T80" fmla="*/ 33 w 150"/>
                <a:gd name="T81" fmla="*/ 2 h 48"/>
                <a:gd name="T82" fmla="*/ 37 w 150"/>
                <a:gd name="T8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48">
                  <a:moveTo>
                    <a:pt x="37" y="0"/>
                  </a:moveTo>
                  <a:lnTo>
                    <a:pt x="48" y="2"/>
                  </a:lnTo>
                  <a:lnTo>
                    <a:pt x="60" y="2"/>
                  </a:lnTo>
                  <a:lnTo>
                    <a:pt x="73" y="6"/>
                  </a:lnTo>
                  <a:lnTo>
                    <a:pt x="79" y="11"/>
                  </a:lnTo>
                  <a:lnTo>
                    <a:pt x="93" y="9"/>
                  </a:lnTo>
                  <a:lnTo>
                    <a:pt x="96" y="13"/>
                  </a:lnTo>
                  <a:lnTo>
                    <a:pt x="110" y="21"/>
                  </a:lnTo>
                  <a:lnTo>
                    <a:pt x="118" y="29"/>
                  </a:lnTo>
                  <a:lnTo>
                    <a:pt x="121" y="29"/>
                  </a:lnTo>
                  <a:lnTo>
                    <a:pt x="131" y="32"/>
                  </a:lnTo>
                  <a:lnTo>
                    <a:pt x="129" y="34"/>
                  </a:lnTo>
                  <a:lnTo>
                    <a:pt x="139" y="36"/>
                  </a:lnTo>
                  <a:lnTo>
                    <a:pt x="150" y="42"/>
                  </a:lnTo>
                  <a:lnTo>
                    <a:pt x="148" y="44"/>
                  </a:lnTo>
                  <a:lnTo>
                    <a:pt x="139" y="48"/>
                  </a:lnTo>
                  <a:lnTo>
                    <a:pt x="129" y="48"/>
                  </a:lnTo>
                  <a:lnTo>
                    <a:pt x="121" y="46"/>
                  </a:lnTo>
                  <a:lnTo>
                    <a:pt x="100" y="48"/>
                  </a:lnTo>
                  <a:lnTo>
                    <a:pt x="110" y="40"/>
                  </a:lnTo>
                  <a:lnTo>
                    <a:pt x="104" y="36"/>
                  </a:lnTo>
                  <a:lnTo>
                    <a:pt x="94" y="34"/>
                  </a:lnTo>
                  <a:lnTo>
                    <a:pt x="91" y="32"/>
                  </a:lnTo>
                  <a:lnTo>
                    <a:pt x="87" y="23"/>
                  </a:lnTo>
                  <a:lnTo>
                    <a:pt x="79" y="23"/>
                  </a:lnTo>
                  <a:lnTo>
                    <a:pt x="66" y="21"/>
                  </a:lnTo>
                  <a:lnTo>
                    <a:pt x="62" y="17"/>
                  </a:lnTo>
                  <a:lnTo>
                    <a:pt x="45" y="15"/>
                  </a:lnTo>
                  <a:lnTo>
                    <a:pt x="39" y="11"/>
                  </a:lnTo>
                  <a:lnTo>
                    <a:pt x="45" y="7"/>
                  </a:lnTo>
                  <a:lnTo>
                    <a:pt x="31" y="6"/>
                  </a:lnTo>
                  <a:lnTo>
                    <a:pt x="20" y="15"/>
                  </a:lnTo>
                  <a:lnTo>
                    <a:pt x="14" y="15"/>
                  </a:lnTo>
                  <a:lnTo>
                    <a:pt x="12" y="19"/>
                  </a:lnTo>
                  <a:lnTo>
                    <a:pt x="6" y="21"/>
                  </a:lnTo>
                  <a:lnTo>
                    <a:pt x="0" y="19"/>
                  </a:lnTo>
                  <a:lnTo>
                    <a:pt x="8" y="15"/>
                  </a:lnTo>
                  <a:lnTo>
                    <a:pt x="10" y="9"/>
                  </a:lnTo>
                  <a:lnTo>
                    <a:pt x="18" y="6"/>
                  </a:lnTo>
                  <a:lnTo>
                    <a:pt x="23" y="4"/>
                  </a:lnTo>
                  <a:lnTo>
                    <a:pt x="33" y="2"/>
                  </a:lnTo>
                  <a:lnTo>
                    <a:pt x="3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113">
              <a:extLst>
                <a:ext uri="{FF2B5EF4-FFF2-40B4-BE49-F238E27FC236}">
                  <a16:creationId xmlns:a16="http://schemas.microsoft.com/office/drawing/2014/main" id="{1E185463-0F4E-4E10-A2DC-0B9B0F15D28E}"/>
                </a:ext>
              </a:extLst>
            </p:cNvPr>
            <p:cNvSpPr>
              <a:spLocks/>
            </p:cNvSpPr>
            <p:nvPr/>
          </p:nvSpPr>
          <p:spPr bwMode="auto">
            <a:xfrm>
              <a:off x="2633663" y="3931444"/>
              <a:ext cx="17463" cy="36530"/>
            </a:xfrm>
            <a:custGeom>
              <a:avLst/>
              <a:gdLst>
                <a:gd name="T0" fmla="*/ 3 w 11"/>
                <a:gd name="T1" fmla="*/ 0 h 23"/>
                <a:gd name="T2" fmla="*/ 7 w 11"/>
                <a:gd name="T3" fmla="*/ 2 h 23"/>
                <a:gd name="T4" fmla="*/ 11 w 11"/>
                <a:gd name="T5" fmla="*/ 13 h 23"/>
                <a:gd name="T6" fmla="*/ 11 w 11"/>
                <a:gd name="T7" fmla="*/ 23 h 23"/>
                <a:gd name="T8" fmla="*/ 7 w 11"/>
                <a:gd name="T9" fmla="*/ 23 h 23"/>
                <a:gd name="T10" fmla="*/ 3 w 11"/>
                <a:gd name="T11" fmla="*/ 13 h 23"/>
                <a:gd name="T12" fmla="*/ 0 w 11"/>
                <a:gd name="T13" fmla="*/ 12 h 23"/>
                <a:gd name="T14" fmla="*/ 3 w 11"/>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3">
                  <a:moveTo>
                    <a:pt x="3" y="0"/>
                  </a:moveTo>
                  <a:lnTo>
                    <a:pt x="7" y="2"/>
                  </a:lnTo>
                  <a:lnTo>
                    <a:pt x="11" y="13"/>
                  </a:lnTo>
                  <a:lnTo>
                    <a:pt x="11" y="23"/>
                  </a:lnTo>
                  <a:lnTo>
                    <a:pt x="7" y="23"/>
                  </a:lnTo>
                  <a:lnTo>
                    <a:pt x="3" y="13"/>
                  </a:lnTo>
                  <a:lnTo>
                    <a:pt x="0" y="12"/>
                  </a:lnTo>
                  <a:lnTo>
                    <a:pt x="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115">
              <a:extLst>
                <a:ext uri="{FF2B5EF4-FFF2-40B4-BE49-F238E27FC236}">
                  <a16:creationId xmlns:a16="http://schemas.microsoft.com/office/drawing/2014/main" id="{62C7EA61-3058-4F25-BC8B-8C21B67A39EF}"/>
                </a:ext>
              </a:extLst>
            </p:cNvPr>
            <p:cNvSpPr>
              <a:spLocks/>
            </p:cNvSpPr>
            <p:nvPr/>
          </p:nvSpPr>
          <p:spPr bwMode="auto">
            <a:xfrm>
              <a:off x="7023100" y="3928268"/>
              <a:ext cx="42863" cy="82587"/>
            </a:xfrm>
            <a:custGeom>
              <a:avLst/>
              <a:gdLst>
                <a:gd name="T0" fmla="*/ 21 w 27"/>
                <a:gd name="T1" fmla="*/ 0 h 52"/>
                <a:gd name="T2" fmla="*/ 27 w 27"/>
                <a:gd name="T3" fmla="*/ 6 h 52"/>
                <a:gd name="T4" fmla="*/ 25 w 27"/>
                <a:gd name="T5" fmla="*/ 14 h 52"/>
                <a:gd name="T6" fmla="*/ 15 w 27"/>
                <a:gd name="T7" fmla="*/ 39 h 52"/>
                <a:gd name="T8" fmla="*/ 9 w 27"/>
                <a:gd name="T9" fmla="*/ 52 h 52"/>
                <a:gd name="T10" fmla="*/ 2 w 27"/>
                <a:gd name="T11" fmla="*/ 39 h 52"/>
                <a:gd name="T12" fmla="*/ 0 w 27"/>
                <a:gd name="T13" fmla="*/ 29 h 52"/>
                <a:gd name="T14" fmla="*/ 9 w 27"/>
                <a:gd name="T15" fmla="*/ 14 h 52"/>
                <a:gd name="T16" fmla="*/ 21 w 27"/>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2">
                  <a:moveTo>
                    <a:pt x="21" y="0"/>
                  </a:moveTo>
                  <a:lnTo>
                    <a:pt x="27" y="6"/>
                  </a:lnTo>
                  <a:lnTo>
                    <a:pt x="25" y="14"/>
                  </a:lnTo>
                  <a:lnTo>
                    <a:pt x="15" y="39"/>
                  </a:lnTo>
                  <a:lnTo>
                    <a:pt x="9" y="52"/>
                  </a:lnTo>
                  <a:lnTo>
                    <a:pt x="2" y="39"/>
                  </a:lnTo>
                  <a:lnTo>
                    <a:pt x="0" y="29"/>
                  </a:lnTo>
                  <a:lnTo>
                    <a:pt x="9" y="14"/>
                  </a:lnTo>
                  <a:lnTo>
                    <a:pt x="2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117">
              <a:extLst>
                <a:ext uri="{FF2B5EF4-FFF2-40B4-BE49-F238E27FC236}">
                  <a16:creationId xmlns:a16="http://schemas.microsoft.com/office/drawing/2014/main" id="{74062FA8-DA72-4752-8A8D-EF8DFCF0BE09}"/>
                </a:ext>
              </a:extLst>
            </p:cNvPr>
            <p:cNvSpPr>
              <a:spLocks/>
            </p:cNvSpPr>
            <p:nvPr/>
          </p:nvSpPr>
          <p:spPr bwMode="auto">
            <a:xfrm>
              <a:off x="5608638" y="3907621"/>
              <a:ext cx="9525" cy="14294"/>
            </a:xfrm>
            <a:custGeom>
              <a:avLst/>
              <a:gdLst>
                <a:gd name="T0" fmla="*/ 4 w 6"/>
                <a:gd name="T1" fmla="*/ 0 h 9"/>
                <a:gd name="T2" fmla="*/ 6 w 6"/>
                <a:gd name="T3" fmla="*/ 0 h 9"/>
                <a:gd name="T4" fmla="*/ 4 w 6"/>
                <a:gd name="T5" fmla="*/ 5 h 9"/>
                <a:gd name="T6" fmla="*/ 2 w 6"/>
                <a:gd name="T7" fmla="*/ 9 h 9"/>
                <a:gd name="T8" fmla="*/ 0 w 6"/>
                <a:gd name="T9" fmla="*/ 4 h 9"/>
                <a:gd name="T10" fmla="*/ 4 w 6"/>
                <a:gd name="T11" fmla="*/ 0 h 9"/>
              </a:gdLst>
              <a:ahLst/>
              <a:cxnLst>
                <a:cxn ang="0">
                  <a:pos x="T0" y="T1"/>
                </a:cxn>
                <a:cxn ang="0">
                  <a:pos x="T2" y="T3"/>
                </a:cxn>
                <a:cxn ang="0">
                  <a:pos x="T4" y="T5"/>
                </a:cxn>
                <a:cxn ang="0">
                  <a:pos x="T6" y="T7"/>
                </a:cxn>
                <a:cxn ang="0">
                  <a:pos x="T8" y="T9"/>
                </a:cxn>
                <a:cxn ang="0">
                  <a:pos x="T10" y="T11"/>
                </a:cxn>
              </a:cxnLst>
              <a:rect l="0" t="0" r="r" b="b"/>
              <a:pathLst>
                <a:path w="6" h="9">
                  <a:moveTo>
                    <a:pt x="4" y="0"/>
                  </a:moveTo>
                  <a:lnTo>
                    <a:pt x="6" y="0"/>
                  </a:lnTo>
                  <a:lnTo>
                    <a:pt x="4" y="5"/>
                  </a:lnTo>
                  <a:lnTo>
                    <a:pt x="2" y="9"/>
                  </a:lnTo>
                  <a:lnTo>
                    <a:pt x="0" y="4"/>
                  </a:lnTo>
                  <a:lnTo>
                    <a:pt x="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119">
              <a:extLst>
                <a:ext uri="{FF2B5EF4-FFF2-40B4-BE49-F238E27FC236}">
                  <a16:creationId xmlns:a16="http://schemas.microsoft.com/office/drawing/2014/main" id="{031D4A47-A1DB-460E-8271-17EBD81654B2}"/>
                </a:ext>
              </a:extLst>
            </p:cNvPr>
            <p:cNvSpPr>
              <a:spLocks/>
            </p:cNvSpPr>
            <p:nvPr/>
          </p:nvSpPr>
          <p:spPr bwMode="auto">
            <a:xfrm>
              <a:off x="2620963" y="3891738"/>
              <a:ext cx="23813" cy="12706"/>
            </a:xfrm>
            <a:custGeom>
              <a:avLst/>
              <a:gdLst>
                <a:gd name="T0" fmla="*/ 6 w 15"/>
                <a:gd name="T1" fmla="*/ 0 h 8"/>
                <a:gd name="T2" fmla="*/ 15 w 15"/>
                <a:gd name="T3" fmla="*/ 2 h 8"/>
                <a:gd name="T4" fmla="*/ 15 w 15"/>
                <a:gd name="T5" fmla="*/ 6 h 8"/>
                <a:gd name="T6" fmla="*/ 2 w 15"/>
                <a:gd name="T7" fmla="*/ 8 h 8"/>
                <a:gd name="T8" fmla="*/ 0 w 15"/>
                <a:gd name="T9" fmla="*/ 2 h 8"/>
                <a:gd name="T10" fmla="*/ 6 w 15"/>
                <a:gd name="T11" fmla="*/ 0 h 8"/>
              </a:gdLst>
              <a:ahLst/>
              <a:cxnLst>
                <a:cxn ang="0">
                  <a:pos x="T0" y="T1"/>
                </a:cxn>
                <a:cxn ang="0">
                  <a:pos x="T2" y="T3"/>
                </a:cxn>
                <a:cxn ang="0">
                  <a:pos x="T4" y="T5"/>
                </a:cxn>
                <a:cxn ang="0">
                  <a:pos x="T6" y="T7"/>
                </a:cxn>
                <a:cxn ang="0">
                  <a:pos x="T8" y="T9"/>
                </a:cxn>
                <a:cxn ang="0">
                  <a:pos x="T10" y="T11"/>
                </a:cxn>
              </a:cxnLst>
              <a:rect l="0" t="0" r="r" b="b"/>
              <a:pathLst>
                <a:path w="15" h="8">
                  <a:moveTo>
                    <a:pt x="6" y="0"/>
                  </a:moveTo>
                  <a:lnTo>
                    <a:pt x="15" y="2"/>
                  </a:lnTo>
                  <a:lnTo>
                    <a:pt x="15" y="6"/>
                  </a:lnTo>
                  <a:lnTo>
                    <a:pt x="2" y="8"/>
                  </a:lnTo>
                  <a:lnTo>
                    <a:pt x="0" y="2"/>
                  </a:lnTo>
                  <a:lnTo>
                    <a:pt x="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121">
              <a:extLst>
                <a:ext uri="{FF2B5EF4-FFF2-40B4-BE49-F238E27FC236}">
                  <a16:creationId xmlns:a16="http://schemas.microsoft.com/office/drawing/2014/main" id="{BA79A05C-1693-41E3-A7EC-9489039F3487}"/>
                </a:ext>
              </a:extLst>
            </p:cNvPr>
            <p:cNvSpPr>
              <a:spLocks/>
            </p:cNvSpPr>
            <p:nvPr/>
          </p:nvSpPr>
          <p:spPr bwMode="auto">
            <a:xfrm>
              <a:off x="2644776" y="3888562"/>
              <a:ext cx="22225" cy="27000"/>
            </a:xfrm>
            <a:custGeom>
              <a:avLst/>
              <a:gdLst>
                <a:gd name="T0" fmla="*/ 0 w 14"/>
                <a:gd name="T1" fmla="*/ 0 h 17"/>
                <a:gd name="T2" fmla="*/ 14 w 14"/>
                <a:gd name="T3" fmla="*/ 8 h 17"/>
                <a:gd name="T4" fmla="*/ 10 w 14"/>
                <a:gd name="T5" fmla="*/ 17 h 17"/>
                <a:gd name="T6" fmla="*/ 8 w 14"/>
                <a:gd name="T7" fmla="*/ 16 h 17"/>
                <a:gd name="T8" fmla="*/ 8 w 14"/>
                <a:gd name="T9" fmla="*/ 8 h 17"/>
                <a:gd name="T10" fmla="*/ 0 w 14"/>
                <a:gd name="T11" fmla="*/ 2 h 17"/>
                <a:gd name="T12" fmla="*/ 0 w 1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4" h="17">
                  <a:moveTo>
                    <a:pt x="0" y="0"/>
                  </a:moveTo>
                  <a:lnTo>
                    <a:pt x="14" y="8"/>
                  </a:lnTo>
                  <a:lnTo>
                    <a:pt x="10" y="17"/>
                  </a:lnTo>
                  <a:lnTo>
                    <a:pt x="8" y="16"/>
                  </a:lnTo>
                  <a:lnTo>
                    <a:pt x="8" y="8"/>
                  </a:lnTo>
                  <a:lnTo>
                    <a:pt x="0" y="2"/>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123">
              <a:extLst>
                <a:ext uri="{FF2B5EF4-FFF2-40B4-BE49-F238E27FC236}">
                  <a16:creationId xmlns:a16="http://schemas.microsoft.com/office/drawing/2014/main" id="{147A2CCF-892A-430E-8A35-6D763F927C9F}"/>
                </a:ext>
              </a:extLst>
            </p:cNvPr>
            <p:cNvSpPr>
              <a:spLocks/>
            </p:cNvSpPr>
            <p:nvPr/>
          </p:nvSpPr>
          <p:spPr bwMode="auto">
            <a:xfrm>
              <a:off x="7292975" y="3712270"/>
              <a:ext cx="55563" cy="39706"/>
            </a:xfrm>
            <a:custGeom>
              <a:avLst/>
              <a:gdLst>
                <a:gd name="T0" fmla="*/ 22 w 35"/>
                <a:gd name="T1" fmla="*/ 0 h 25"/>
                <a:gd name="T2" fmla="*/ 33 w 35"/>
                <a:gd name="T3" fmla="*/ 4 h 25"/>
                <a:gd name="T4" fmla="*/ 35 w 35"/>
                <a:gd name="T5" fmla="*/ 8 h 25"/>
                <a:gd name="T6" fmla="*/ 27 w 35"/>
                <a:gd name="T7" fmla="*/ 19 h 25"/>
                <a:gd name="T8" fmla="*/ 20 w 35"/>
                <a:gd name="T9" fmla="*/ 13 h 25"/>
                <a:gd name="T10" fmla="*/ 14 w 35"/>
                <a:gd name="T11" fmla="*/ 17 h 25"/>
                <a:gd name="T12" fmla="*/ 10 w 35"/>
                <a:gd name="T13" fmla="*/ 25 h 25"/>
                <a:gd name="T14" fmla="*/ 0 w 35"/>
                <a:gd name="T15" fmla="*/ 23 h 25"/>
                <a:gd name="T16" fmla="*/ 0 w 35"/>
                <a:gd name="T17" fmla="*/ 13 h 25"/>
                <a:gd name="T18" fmla="*/ 10 w 35"/>
                <a:gd name="T19" fmla="*/ 6 h 25"/>
                <a:gd name="T20" fmla="*/ 18 w 35"/>
                <a:gd name="T21" fmla="*/ 6 h 25"/>
                <a:gd name="T22" fmla="*/ 22 w 35"/>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25">
                  <a:moveTo>
                    <a:pt x="22" y="0"/>
                  </a:moveTo>
                  <a:lnTo>
                    <a:pt x="33" y="4"/>
                  </a:lnTo>
                  <a:lnTo>
                    <a:pt x="35" y="8"/>
                  </a:lnTo>
                  <a:lnTo>
                    <a:pt x="27" y="19"/>
                  </a:lnTo>
                  <a:lnTo>
                    <a:pt x="20" y="13"/>
                  </a:lnTo>
                  <a:lnTo>
                    <a:pt x="14" y="17"/>
                  </a:lnTo>
                  <a:lnTo>
                    <a:pt x="10" y="25"/>
                  </a:lnTo>
                  <a:lnTo>
                    <a:pt x="0" y="23"/>
                  </a:lnTo>
                  <a:lnTo>
                    <a:pt x="0" y="13"/>
                  </a:lnTo>
                  <a:lnTo>
                    <a:pt x="10" y="6"/>
                  </a:lnTo>
                  <a:lnTo>
                    <a:pt x="18" y="6"/>
                  </a:lnTo>
                  <a:lnTo>
                    <a:pt x="2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125">
              <a:extLst>
                <a:ext uri="{FF2B5EF4-FFF2-40B4-BE49-F238E27FC236}">
                  <a16:creationId xmlns:a16="http://schemas.microsoft.com/office/drawing/2014/main" id="{29785A94-0B88-4940-A41C-A6CE0913B63B}"/>
                </a:ext>
              </a:extLst>
            </p:cNvPr>
            <p:cNvSpPr>
              <a:spLocks/>
            </p:cNvSpPr>
            <p:nvPr/>
          </p:nvSpPr>
          <p:spPr bwMode="auto">
            <a:xfrm>
              <a:off x="5078413" y="3678917"/>
              <a:ext cx="52388" cy="27000"/>
            </a:xfrm>
            <a:custGeom>
              <a:avLst/>
              <a:gdLst>
                <a:gd name="T0" fmla="*/ 33 w 33"/>
                <a:gd name="T1" fmla="*/ 0 h 17"/>
                <a:gd name="T2" fmla="*/ 24 w 33"/>
                <a:gd name="T3" fmla="*/ 7 h 17"/>
                <a:gd name="T4" fmla="*/ 25 w 33"/>
                <a:gd name="T5" fmla="*/ 9 h 17"/>
                <a:gd name="T6" fmla="*/ 25 w 33"/>
                <a:gd name="T7" fmla="*/ 11 h 17"/>
                <a:gd name="T8" fmla="*/ 10 w 33"/>
                <a:gd name="T9" fmla="*/ 17 h 17"/>
                <a:gd name="T10" fmla="*/ 4 w 33"/>
                <a:gd name="T11" fmla="*/ 15 h 17"/>
                <a:gd name="T12" fmla="*/ 0 w 33"/>
                <a:gd name="T13" fmla="*/ 9 h 17"/>
                <a:gd name="T14" fmla="*/ 8 w 33"/>
                <a:gd name="T15" fmla="*/ 9 h 17"/>
                <a:gd name="T16" fmla="*/ 10 w 33"/>
                <a:gd name="T17" fmla="*/ 9 h 17"/>
                <a:gd name="T18" fmla="*/ 14 w 33"/>
                <a:gd name="T19" fmla="*/ 7 h 17"/>
                <a:gd name="T20" fmla="*/ 10 w 33"/>
                <a:gd name="T21" fmla="*/ 9 h 17"/>
                <a:gd name="T22" fmla="*/ 8 w 33"/>
                <a:gd name="T23" fmla="*/ 9 h 17"/>
                <a:gd name="T24" fmla="*/ 10 w 33"/>
                <a:gd name="T25" fmla="*/ 7 h 17"/>
                <a:gd name="T26" fmla="*/ 10 w 33"/>
                <a:gd name="T27" fmla="*/ 6 h 17"/>
                <a:gd name="T28" fmla="*/ 20 w 33"/>
                <a:gd name="T29" fmla="*/ 6 h 17"/>
                <a:gd name="T30" fmla="*/ 33 w 33"/>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17">
                  <a:moveTo>
                    <a:pt x="33" y="0"/>
                  </a:moveTo>
                  <a:lnTo>
                    <a:pt x="24" y="7"/>
                  </a:lnTo>
                  <a:lnTo>
                    <a:pt x="25" y="9"/>
                  </a:lnTo>
                  <a:lnTo>
                    <a:pt x="25" y="11"/>
                  </a:lnTo>
                  <a:lnTo>
                    <a:pt x="10" y="17"/>
                  </a:lnTo>
                  <a:lnTo>
                    <a:pt x="4" y="15"/>
                  </a:lnTo>
                  <a:lnTo>
                    <a:pt x="0" y="9"/>
                  </a:lnTo>
                  <a:lnTo>
                    <a:pt x="8" y="9"/>
                  </a:lnTo>
                  <a:lnTo>
                    <a:pt x="10" y="9"/>
                  </a:lnTo>
                  <a:lnTo>
                    <a:pt x="14" y="7"/>
                  </a:lnTo>
                  <a:lnTo>
                    <a:pt x="10" y="9"/>
                  </a:lnTo>
                  <a:lnTo>
                    <a:pt x="8" y="9"/>
                  </a:lnTo>
                  <a:lnTo>
                    <a:pt x="10" y="7"/>
                  </a:lnTo>
                  <a:lnTo>
                    <a:pt x="10" y="6"/>
                  </a:lnTo>
                  <a:lnTo>
                    <a:pt x="20" y="6"/>
                  </a:lnTo>
                  <a:lnTo>
                    <a:pt x="3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127">
              <a:extLst>
                <a:ext uri="{FF2B5EF4-FFF2-40B4-BE49-F238E27FC236}">
                  <a16:creationId xmlns:a16="http://schemas.microsoft.com/office/drawing/2014/main" id="{6DA84B56-58AE-40B0-8C1D-62A52561B87B}"/>
                </a:ext>
              </a:extLst>
            </p:cNvPr>
            <p:cNvSpPr>
              <a:spLocks/>
            </p:cNvSpPr>
            <p:nvPr/>
          </p:nvSpPr>
          <p:spPr bwMode="auto">
            <a:xfrm>
              <a:off x="4887913" y="3678917"/>
              <a:ext cx="60325" cy="20647"/>
            </a:xfrm>
            <a:custGeom>
              <a:avLst/>
              <a:gdLst>
                <a:gd name="T0" fmla="*/ 2 w 38"/>
                <a:gd name="T1" fmla="*/ 0 h 13"/>
                <a:gd name="T2" fmla="*/ 9 w 38"/>
                <a:gd name="T3" fmla="*/ 6 h 13"/>
                <a:gd name="T4" fmla="*/ 21 w 38"/>
                <a:gd name="T5" fmla="*/ 6 h 13"/>
                <a:gd name="T6" fmla="*/ 30 w 38"/>
                <a:gd name="T7" fmla="*/ 6 h 13"/>
                <a:gd name="T8" fmla="*/ 30 w 38"/>
                <a:gd name="T9" fmla="*/ 7 h 13"/>
                <a:gd name="T10" fmla="*/ 38 w 38"/>
                <a:gd name="T11" fmla="*/ 6 h 13"/>
                <a:gd name="T12" fmla="*/ 36 w 38"/>
                <a:gd name="T13" fmla="*/ 11 h 13"/>
                <a:gd name="T14" fmla="*/ 17 w 38"/>
                <a:gd name="T15" fmla="*/ 13 h 13"/>
                <a:gd name="T16" fmla="*/ 17 w 38"/>
                <a:gd name="T17" fmla="*/ 9 h 13"/>
                <a:gd name="T18" fmla="*/ 0 w 38"/>
                <a:gd name="T19" fmla="*/ 6 h 13"/>
                <a:gd name="T20" fmla="*/ 2 w 38"/>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13">
                  <a:moveTo>
                    <a:pt x="2" y="0"/>
                  </a:moveTo>
                  <a:lnTo>
                    <a:pt x="9" y="6"/>
                  </a:lnTo>
                  <a:lnTo>
                    <a:pt x="21" y="6"/>
                  </a:lnTo>
                  <a:lnTo>
                    <a:pt x="30" y="6"/>
                  </a:lnTo>
                  <a:lnTo>
                    <a:pt x="30" y="7"/>
                  </a:lnTo>
                  <a:lnTo>
                    <a:pt x="38" y="6"/>
                  </a:lnTo>
                  <a:lnTo>
                    <a:pt x="36" y="11"/>
                  </a:lnTo>
                  <a:lnTo>
                    <a:pt x="17" y="13"/>
                  </a:lnTo>
                  <a:lnTo>
                    <a:pt x="17" y="9"/>
                  </a:lnTo>
                  <a:lnTo>
                    <a:pt x="0" y="6"/>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129">
              <a:extLst>
                <a:ext uri="{FF2B5EF4-FFF2-40B4-BE49-F238E27FC236}">
                  <a16:creationId xmlns:a16="http://schemas.microsoft.com/office/drawing/2014/main" id="{9C5EE5EC-417D-4848-A81F-DC8B9B31745D}"/>
                </a:ext>
              </a:extLst>
            </p:cNvPr>
            <p:cNvSpPr>
              <a:spLocks/>
            </p:cNvSpPr>
            <p:nvPr/>
          </p:nvSpPr>
          <p:spPr bwMode="auto">
            <a:xfrm>
              <a:off x="4640263" y="3613801"/>
              <a:ext cx="69850" cy="39706"/>
            </a:xfrm>
            <a:custGeom>
              <a:avLst/>
              <a:gdLst>
                <a:gd name="T0" fmla="*/ 44 w 44"/>
                <a:gd name="T1" fmla="*/ 0 h 25"/>
                <a:gd name="T2" fmla="*/ 39 w 44"/>
                <a:gd name="T3" fmla="*/ 14 h 25"/>
                <a:gd name="T4" fmla="*/ 40 w 44"/>
                <a:gd name="T5" fmla="*/ 18 h 25"/>
                <a:gd name="T6" fmla="*/ 39 w 44"/>
                <a:gd name="T7" fmla="*/ 25 h 25"/>
                <a:gd name="T8" fmla="*/ 27 w 44"/>
                <a:gd name="T9" fmla="*/ 20 h 25"/>
                <a:gd name="T10" fmla="*/ 19 w 44"/>
                <a:gd name="T11" fmla="*/ 18 h 25"/>
                <a:gd name="T12" fmla="*/ 0 w 44"/>
                <a:gd name="T13" fmla="*/ 10 h 25"/>
                <a:gd name="T14" fmla="*/ 4 w 44"/>
                <a:gd name="T15" fmla="*/ 2 h 25"/>
                <a:gd name="T16" fmla="*/ 19 w 44"/>
                <a:gd name="T17" fmla="*/ 4 h 25"/>
                <a:gd name="T18" fmla="*/ 35 w 44"/>
                <a:gd name="T19" fmla="*/ 2 h 25"/>
                <a:gd name="T20" fmla="*/ 44 w 44"/>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25">
                  <a:moveTo>
                    <a:pt x="44" y="0"/>
                  </a:moveTo>
                  <a:lnTo>
                    <a:pt x="39" y="14"/>
                  </a:lnTo>
                  <a:lnTo>
                    <a:pt x="40" y="18"/>
                  </a:lnTo>
                  <a:lnTo>
                    <a:pt x="39" y="25"/>
                  </a:lnTo>
                  <a:lnTo>
                    <a:pt x="27" y="20"/>
                  </a:lnTo>
                  <a:lnTo>
                    <a:pt x="19" y="18"/>
                  </a:lnTo>
                  <a:lnTo>
                    <a:pt x="0" y="10"/>
                  </a:lnTo>
                  <a:lnTo>
                    <a:pt x="4" y="2"/>
                  </a:lnTo>
                  <a:lnTo>
                    <a:pt x="19" y="4"/>
                  </a:lnTo>
                  <a:lnTo>
                    <a:pt x="35" y="2"/>
                  </a:lnTo>
                  <a:lnTo>
                    <a:pt x="4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131">
              <a:extLst>
                <a:ext uri="{FF2B5EF4-FFF2-40B4-BE49-F238E27FC236}">
                  <a16:creationId xmlns:a16="http://schemas.microsoft.com/office/drawing/2014/main" id="{D82F408F-197E-44E9-8072-3A1D3A390CB3}"/>
                </a:ext>
              </a:extLst>
            </p:cNvPr>
            <p:cNvSpPr>
              <a:spLocks/>
            </p:cNvSpPr>
            <p:nvPr/>
          </p:nvSpPr>
          <p:spPr bwMode="auto">
            <a:xfrm>
              <a:off x="4549776" y="3537566"/>
              <a:ext cx="36513" cy="58765"/>
            </a:xfrm>
            <a:custGeom>
              <a:avLst/>
              <a:gdLst>
                <a:gd name="T0" fmla="*/ 13 w 23"/>
                <a:gd name="T1" fmla="*/ 0 h 37"/>
                <a:gd name="T2" fmla="*/ 23 w 23"/>
                <a:gd name="T3" fmla="*/ 12 h 37"/>
                <a:gd name="T4" fmla="*/ 19 w 23"/>
                <a:gd name="T5" fmla="*/ 33 h 37"/>
                <a:gd name="T6" fmla="*/ 13 w 23"/>
                <a:gd name="T7" fmla="*/ 31 h 37"/>
                <a:gd name="T8" fmla="*/ 7 w 23"/>
                <a:gd name="T9" fmla="*/ 37 h 37"/>
                <a:gd name="T10" fmla="*/ 2 w 23"/>
                <a:gd name="T11" fmla="*/ 33 h 37"/>
                <a:gd name="T12" fmla="*/ 2 w 23"/>
                <a:gd name="T13" fmla="*/ 12 h 37"/>
                <a:gd name="T14" fmla="*/ 0 w 23"/>
                <a:gd name="T15" fmla="*/ 2 h 37"/>
                <a:gd name="T16" fmla="*/ 5 w 23"/>
                <a:gd name="T17" fmla="*/ 4 h 37"/>
                <a:gd name="T18" fmla="*/ 13 w 23"/>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37">
                  <a:moveTo>
                    <a:pt x="13" y="0"/>
                  </a:moveTo>
                  <a:lnTo>
                    <a:pt x="23" y="12"/>
                  </a:lnTo>
                  <a:lnTo>
                    <a:pt x="19" y="33"/>
                  </a:lnTo>
                  <a:lnTo>
                    <a:pt x="13" y="31"/>
                  </a:lnTo>
                  <a:lnTo>
                    <a:pt x="7" y="37"/>
                  </a:lnTo>
                  <a:lnTo>
                    <a:pt x="2" y="33"/>
                  </a:lnTo>
                  <a:lnTo>
                    <a:pt x="2" y="12"/>
                  </a:lnTo>
                  <a:lnTo>
                    <a:pt x="0" y="2"/>
                  </a:lnTo>
                  <a:lnTo>
                    <a:pt x="5" y="4"/>
                  </a:lnTo>
                  <a:lnTo>
                    <a:pt x="1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133">
              <a:extLst>
                <a:ext uri="{FF2B5EF4-FFF2-40B4-BE49-F238E27FC236}">
                  <a16:creationId xmlns:a16="http://schemas.microsoft.com/office/drawing/2014/main" id="{70F5A8AD-0C9B-440F-9956-802E0BD548C6}"/>
                </a:ext>
              </a:extLst>
            </p:cNvPr>
            <p:cNvSpPr>
              <a:spLocks/>
            </p:cNvSpPr>
            <p:nvPr/>
          </p:nvSpPr>
          <p:spPr bwMode="auto">
            <a:xfrm>
              <a:off x="7229475" y="3532801"/>
              <a:ext cx="277813" cy="262056"/>
            </a:xfrm>
            <a:custGeom>
              <a:avLst/>
              <a:gdLst>
                <a:gd name="T0" fmla="*/ 165 w 175"/>
                <a:gd name="T1" fmla="*/ 0 h 165"/>
                <a:gd name="T2" fmla="*/ 175 w 175"/>
                <a:gd name="T3" fmla="*/ 23 h 165"/>
                <a:gd name="T4" fmla="*/ 175 w 175"/>
                <a:gd name="T5" fmla="*/ 36 h 165"/>
                <a:gd name="T6" fmla="*/ 161 w 175"/>
                <a:gd name="T7" fmla="*/ 53 h 165"/>
                <a:gd name="T8" fmla="*/ 161 w 175"/>
                <a:gd name="T9" fmla="*/ 59 h 165"/>
                <a:gd name="T10" fmla="*/ 161 w 175"/>
                <a:gd name="T11" fmla="*/ 69 h 165"/>
                <a:gd name="T12" fmla="*/ 156 w 175"/>
                <a:gd name="T13" fmla="*/ 80 h 165"/>
                <a:gd name="T14" fmla="*/ 158 w 175"/>
                <a:gd name="T15" fmla="*/ 90 h 165"/>
                <a:gd name="T16" fmla="*/ 152 w 175"/>
                <a:gd name="T17" fmla="*/ 101 h 165"/>
                <a:gd name="T18" fmla="*/ 133 w 175"/>
                <a:gd name="T19" fmla="*/ 107 h 165"/>
                <a:gd name="T20" fmla="*/ 110 w 175"/>
                <a:gd name="T21" fmla="*/ 109 h 165"/>
                <a:gd name="T22" fmla="*/ 88 w 175"/>
                <a:gd name="T23" fmla="*/ 126 h 165"/>
                <a:gd name="T24" fmla="*/ 79 w 175"/>
                <a:gd name="T25" fmla="*/ 121 h 165"/>
                <a:gd name="T26" fmla="*/ 79 w 175"/>
                <a:gd name="T27" fmla="*/ 109 h 165"/>
                <a:gd name="T28" fmla="*/ 54 w 175"/>
                <a:gd name="T29" fmla="*/ 113 h 165"/>
                <a:gd name="T30" fmla="*/ 39 w 175"/>
                <a:gd name="T31" fmla="*/ 119 h 165"/>
                <a:gd name="T32" fmla="*/ 21 w 175"/>
                <a:gd name="T33" fmla="*/ 119 h 165"/>
                <a:gd name="T34" fmla="*/ 37 w 175"/>
                <a:gd name="T35" fmla="*/ 132 h 165"/>
                <a:gd name="T36" fmla="*/ 27 w 175"/>
                <a:gd name="T37" fmla="*/ 159 h 165"/>
                <a:gd name="T38" fmla="*/ 17 w 175"/>
                <a:gd name="T39" fmla="*/ 165 h 165"/>
                <a:gd name="T40" fmla="*/ 12 w 175"/>
                <a:gd name="T41" fmla="*/ 159 h 165"/>
                <a:gd name="T42" fmla="*/ 14 w 175"/>
                <a:gd name="T43" fmla="*/ 145 h 165"/>
                <a:gd name="T44" fmla="*/ 6 w 175"/>
                <a:gd name="T45" fmla="*/ 140 h 165"/>
                <a:gd name="T46" fmla="*/ 0 w 175"/>
                <a:gd name="T47" fmla="*/ 130 h 165"/>
                <a:gd name="T48" fmla="*/ 14 w 175"/>
                <a:gd name="T49" fmla="*/ 124 h 165"/>
                <a:gd name="T50" fmla="*/ 21 w 175"/>
                <a:gd name="T51" fmla="*/ 115 h 165"/>
                <a:gd name="T52" fmla="*/ 35 w 175"/>
                <a:gd name="T53" fmla="*/ 107 h 165"/>
                <a:gd name="T54" fmla="*/ 44 w 175"/>
                <a:gd name="T55" fmla="*/ 98 h 165"/>
                <a:gd name="T56" fmla="*/ 73 w 175"/>
                <a:gd name="T57" fmla="*/ 92 h 165"/>
                <a:gd name="T58" fmla="*/ 88 w 175"/>
                <a:gd name="T59" fmla="*/ 96 h 165"/>
                <a:gd name="T60" fmla="*/ 102 w 175"/>
                <a:gd name="T61" fmla="*/ 67 h 165"/>
                <a:gd name="T62" fmla="*/ 111 w 175"/>
                <a:gd name="T63" fmla="*/ 73 h 165"/>
                <a:gd name="T64" fmla="*/ 131 w 175"/>
                <a:gd name="T65" fmla="*/ 57 h 165"/>
                <a:gd name="T66" fmla="*/ 140 w 175"/>
                <a:gd name="T67" fmla="*/ 51 h 165"/>
                <a:gd name="T68" fmla="*/ 148 w 175"/>
                <a:gd name="T69" fmla="*/ 32 h 165"/>
                <a:gd name="T70" fmla="*/ 146 w 175"/>
                <a:gd name="T71" fmla="*/ 13 h 165"/>
                <a:gd name="T72" fmla="*/ 152 w 175"/>
                <a:gd name="T73" fmla="*/ 3 h 165"/>
                <a:gd name="T74" fmla="*/ 165 w 175"/>
                <a:gd name="T7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5" h="165">
                  <a:moveTo>
                    <a:pt x="165" y="0"/>
                  </a:moveTo>
                  <a:lnTo>
                    <a:pt x="175" y="23"/>
                  </a:lnTo>
                  <a:lnTo>
                    <a:pt x="175" y="36"/>
                  </a:lnTo>
                  <a:lnTo>
                    <a:pt x="161" y="53"/>
                  </a:lnTo>
                  <a:lnTo>
                    <a:pt x="161" y="59"/>
                  </a:lnTo>
                  <a:lnTo>
                    <a:pt x="161" y="69"/>
                  </a:lnTo>
                  <a:lnTo>
                    <a:pt x="156" y="80"/>
                  </a:lnTo>
                  <a:lnTo>
                    <a:pt x="158" y="90"/>
                  </a:lnTo>
                  <a:lnTo>
                    <a:pt x="152" y="101"/>
                  </a:lnTo>
                  <a:lnTo>
                    <a:pt x="133" y="107"/>
                  </a:lnTo>
                  <a:lnTo>
                    <a:pt x="110" y="109"/>
                  </a:lnTo>
                  <a:lnTo>
                    <a:pt x="88" y="126"/>
                  </a:lnTo>
                  <a:lnTo>
                    <a:pt x="79" y="121"/>
                  </a:lnTo>
                  <a:lnTo>
                    <a:pt x="79" y="109"/>
                  </a:lnTo>
                  <a:lnTo>
                    <a:pt x="54" y="113"/>
                  </a:lnTo>
                  <a:lnTo>
                    <a:pt x="39" y="119"/>
                  </a:lnTo>
                  <a:lnTo>
                    <a:pt x="21" y="119"/>
                  </a:lnTo>
                  <a:lnTo>
                    <a:pt x="37" y="132"/>
                  </a:lnTo>
                  <a:lnTo>
                    <a:pt x="27" y="159"/>
                  </a:lnTo>
                  <a:lnTo>
                    <a:pt x="17" y="165"/>
                  </a:lnTo>
                  <a:lnTo>
                    <a:pt x="12" y="159"/>
                  </a:lnTo>
                  <a:lnTo>
                    <a:pt x="14" y="145"/>
                  </a:lnTo>
                  <a:lnTo>
                    <a:pt x="6" y="140"/>
                  </a:lnTo>
                  <a:lnTo>
                    <a:pt x="0" y="130"/>
                  </a:lnTo>
                  <a:lnTo>
                    <a:pt x="14" y="124"/>
                  </a:lnTo>
                  <a:lnTo>
                    <a:pt x="21" y="115"/>
                  </a:lnTo>
                  <a:lnTo>
                    <a:pt x="35" y="107"/>
                  </a:lnTo>
                  <a:lnTo>
                    <a:pt x="44" y="98"/>
                  </a:lnTo>
                  <a:lnTo>
                    <a:pt x="73" y="92"/>
                  </a:lnTo>
                  <a:lnTo>
                    <a:pt x="88" y="96"/>
                  </a:lnTo>
                  <a:lnTo>
                    <a:pt x="102" y="67"/>
                  </a:lnTo>
                  <a:lnTo>
                    <a:pt x="111" y="73"/>
                  </a:lnTo>
                  <a:lnTo>
                    <a:pt x="131" y="57"/>
                  </a:lnTo>
                  <a:lnTo>
                    <a:pt x="140" y="51"/>
                  </a:lnTo>
                  <a:lnTo>
                    <a:pt x="148" y="32"/>
                  </a:lnTo>
                  <a:lnTo>
                    <a:pt x="146" y="13"/>
                  </a:lnTo>
                  <a:lnTo>
                    <a:pt x="152" y="3"/>
                  </a:lnTo>
                  <a:lnTo>
                    <a:pt x="16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135">
              <a:extLst>
                <a:ext uri="{FF2B5EF4-FFF2-40B4-BE49-F238E27FC236}">
                  <a16:creationId xmlns:a16="http://schemas.microsoft.com/office/drawing/2014/main" id="{9BBE1DDE-0D98-45F5-BFC1-241EACF47248}"/>
                </a:ext>
              </a:extLst>
            </p:cNvPr>
            <p:cNvSpPr>
              <a:spLocks/>
            </p:cNvSpPr>
            <p:nvPr/>
          </p:nvSpPr>
          <p:spPr bwMode="auto">
            <a:xfrm>
              <a:off x="4554538" y="3489920"/>
              <a:ext cx="22225" cy="42882"/>
            </a:xfrm>
            <a:custGeom>
              <a:avLst/>
              <a:gdLst>
                <a:gd name="T0" fmla="*/ 12 w 14"/>
                <a:gd name="T1" fmla="*/ 0 h 27"/>
                <a:gd name="T2" fmla="*/ 14 w 14"/>
                <a:gd name="T3" fmla="*/ 13 h 27"/>
                <a:gd name="T4" fmla="*/ 10 w 14"/>
                <a:gd name="T5" fmla="*/ 27 h 27"/>
                <a:gd name="T6" fmla="*/ 4 w 14"/>
                <a:gd name="T7" fmla="*/ 23 h 27"/>
                <a:gd name="T8" fmla="*/ 0 w 14"/>
                <a:gd name="T9" fmla="*/ 11 h 27"/>
                <a:gd name="T10" fmla="*/ 4 w 14"/>
                <a:gd name="T11" fmla="*/ 6 h 27"/>
                <a:gd name="T12" fmla="*/ 12 w 14"/>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4" h="27">
                  <a:moveTo>
                    <a:pt x="12" y="0"/>
                  </a:moveTo>
                  <a:lnTo>
                    <a:pt x="14" y="13"/>
                  </a:lnTo>
                  <a:lnTo>
                    <a:pt x="10" y="27"/>
                  </a:lnTo>
                  <a:lnTo>
                    <a:pt x="4" y="23"/>
                  </a:lnTo>
                  <a:lnTo>
                    <a:pt x="0" y="11"/>
                  </a:lnTo>
                  <a:lnTo>
                    <a:pt x="4" y="6"/>
                  </a:lnTo>
                  <a:lnTo>
                    <a:pt x="1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136">
              <a:extLst>
                <a:ext uri="{FF2B5EF4-FFF2-40B4-BE49-F238E27FC236}">
                  <a16:creationId xmlns:a16="http://schemas.microsoft.com/office/drawing/2014/main" id="{B3DAF428-BB11-4598-8F07-85335E6B9F7C}"/>
                </a:ext>
              </a:extLst>
            </p:cNvPr>
            <p:cNvSpPr>
              <a:spLocks/>
            </p:cNvSpPr>
            <p:nvPr/>
          </p:nvSpPr>
          <p:spPr bwMode="auto">
            <a:xfrm>
              <a:off x="2789238" y="3427979"/>
              <a:ext cx="0" cy="3176"/>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138">
              <a:extLst>
                <a:ext uri="{FF2B5EF4-FFF2-40B4-BE49-F238E27FC236}">
                  <a16:creationId xmlns:a16="http://schemas.microsoft.com/office/drawing/2014/main" id="{30B60972-8832-450C-A6EB-6125FE9B878C}"/>
                </a:ext>
              </a:extLst>
            </p:cNvPr>
            <p:cNvSpPr>
              <a:spLocks/>
            </p:cNvSpPr>
            <p:nvPr/>
          </p:nvSpPr>
          <p:spPr bwMode="auto">
            <a:xfrm>
              <a:off x="7458075" y="3420038"/>
              <a:ext cx="128588" cy="106411"/>
            </a:xfrm>
            <a:custGeom>
              <a:avLst/>
              <a:gdLst>
                <a:gd name="T0" fmla="*/ 31 w 81"/>
                <a:gd name="T1" fmla="*/ 0 h 67"/>
                <a:gd name="T2" fmla="*/ 48 w 81"/>
                <a:gd name="T3" fmla="*/ 19 h 67"/>
                <a:gd name="T4" fmla="*/ 58 w 81"/>
                <a:gd name="T5" fmla="*/ 25 h 67"/>
                <a:gd name="T6" fmla="*/ 67 w 81"/>
                <a:gd name="T7" fmla="*/ 26 h 67"/>
                <a:gd name="T8" fmla="*/ 77 w 81"/>
                <a:gd name="T9" fmla="*/ 21 h 67"/>
                <a:gd name="T10" fmla="*/ 81 w 81"/>
                <a:gd name="T11" fmla="*/ 38 h 67"/>
                <a:gd name="T12" fmla="*/ 60 w 81"/>
                <a:gd name="T13" fmla="*/ 44 h 67"/>
                <a:gd name="T14" fmla="*/ 48 w 81"/>
                <a:gd name="T15" fmla="*/ 61 h 67"/>
                <a:gd name="T16" fmla="*/ 25 w 81"/>
                <a:gd name="T17" fmla="*/ 48 h 67"/>
                <a:gd name="T18" fmla="*/ 19 w 81"/>
                <a:gd name="T19" fmla="*/ 67 h 67"/>
                <a:gd name="T20" fmla="*/ 2 w 81"/>
                <a:gd name="T21" fmla="*/ 67 h 67"/>
                <a:gd name="T22" fmla="*/ 0 w 81"/>
                <a:gd name="T23" fmla="*/ 50 h 67"/>
                <a:gd name="T24" fmla="*/ 8 w 81"/>
                <a:gd name="T25" fmla="*/ 38 h 67"/>
                <a:gd name="T26" fmla="*/ 21 w 81"/>
                <a:gd name="T27" fmla="*/ 36 h 67"/>
                <a:gd name="T28" fmla="*/ 27 w 81"/>
                <a:gd name="T29" fmla="*/ 13 h 67"/>
                <a:gd name="T30" fmla="*/ 31 w 81"/>
                <a:gd name="T3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 h="67">
                  <a:moveTo>
                    <a:pt x="31" y="0"/>
                  </a:moveTo>
                  <a:lnTo>
                    <a:pt x="48" y="19"/>
                  </a:lnTo>
                  <a:lnTo>
                    <a:pt x="58" y="25"/>
                  </a:lnTo>
                  <a:lnTo>
                    <a:pt x="67" y="26"/>
                  </a:lnTo>
                  <a:lnTo>
                    <a:pt x="77" y="21"/>
                  </a:lnTo>
                  <a:lnTo>
                    <a:pt x="81" y="38"/>
                  </a:lnTo>
                  <a:lnTo>
                    <a:pt x="60" y="44"/>
                  </a:lnTo>
                  <a:lnTo>
                    <a:pt x="48" y="61"/>
                  </a:lnTo>
                  <a:lnTo>
                    <a:pt x="25" y="48"/>
                  </a:lnTo>
                  <a:lnTo>
                    <a:pt x="19" y="67"/>
                  </a:lnTo>
                  <a:lnTo>
                    <a:pt x="2" y="67"/>
                  </a:lnTo>
                  <a:lnTo>
                    <a:pt x="0" y="50"/>
                  </a:lnTo>
                  <a:lnTo>
                    <a:pt x="8" y="38"/>
                  </a:lnTo>
                  <a:lnTo>
                    <a:pt x="21" y="36"/>
                  </a:lnTo>
                  <a:lnTo>
                    <a:pt x="27" y="13"/>
                  </a:lnTo>
                  <a:lnTo>
                    <a:pt x="3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140">
              <a:extLst>
                <a:ext uri="{FF2B5EF4-FFF2-40B4-BE49-F238E27FC236}">
                  <a16:creationId xmlns:a16="http://schemas.microsoft.com/office/drawing/2014/main" id="{272A235A-A103-46A4-ABED-110B954385FF}"/>
                </a:ext>
              </a:extLst>
            </p:cNvPr>
            <p:cNvSpPr>
              <a:spLocks/>
            </p:cNvSpPr>
            <p:nvPr/>
          </p:nvSpPr>
          <p:spPr bwMode="auto">
            <a:xfrm>
              <a:off x="2943226" y="3377156"/>
              <a:ext cx="55563" cy="33353"/>
            </a:xfrm>
            <a:custGeom>
              <a:avLst/>
              <a:gdLst>
                <a:gd name="T0" fmla="*/ 6 w 35"/>
                <a:gd name="T1" fmla="*/ 0 h 21"/>
                <a:gd name="T2" fmla="*/ 12 w 35"/>
                <a:gd name="T3" fmla="*/ 9 h 21"/>
                <a:gd name="T4" fmla="*/ 21 w 35"/>
                <a:gd name="T5" fmla="*/ 11 h 21"/>
                <a:gd name="T6" fmla="*/ 35 w 35"/>
                <a:gd name="T7" fmla="*/ 11 h 21"/>
                <a:gd name="T8" fmla="*/ 27 w 35"/>
                <a:gd name="T9" fmla="*/ 19 h 21"/>
                <a:gd name="T10" fmla="*/ 23 w 35"/>
                <a:gd name="T11" fmla="*/ 21 h 21"/>
                <a:gd name="T12" fmla="*/ 4 w 35"/>
                <a:gd name="T13" fmla="*/ 11 h 21"/>
                <a:gd name="T14" fmla="*/ 0 w 35"/>
                <a:gd name="T15" fmla="*/ 7 h 21"/>
                <a:gd name="T16" fmla="*/ 6 w 35"/>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1">
                  <a:moveTo>
                    <a:pt x="6" y="0"/>
                  </a:moveTo>
                  <a:lnTo>
                    <a:pt x="12" y="9"/>
                  </a:lnTo>
                  <a:lnTo>
                    <a:pt x="21" y="11"/>
                  </a:lnTo>
                  <a:lnTo>
                    <a:pt x="35" y="11"/>
                  </a:lnTo>
                  <a:lnTo>
                    <a:pt x="27" y="19"/>
                  </a:lnTo>
                  <a:lnTo>
                    <a:pt x="23" y="21"/>
                  </a:lnTo>
                  <a:lnTo>
                    <a:pt x="4" y="11"/>
                  </a:lnTo>
                  <a:lnTo>
                    <a:pt x="0" y="7"/>
                  </a:lnTo>
                  <a:lnTo>
                    <a:pt x="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141">
              <a:extLst>
                <a:ext uri="{FF2B5EF4-FFF2-40B4-BE49-F238E27FC236}">
                  <a16:creationId xmlns:a16="http://schemas.microsoft.com/office/drawing/2014/main" id="{5980AFFE-3063-4552-B37F-7E8E2DFAFE9F}"/>
                </a:ext>
              </a:extLst>
            </p:cNvPr>
            <p:cNvSpPr>
              <a:spLocks/>
            </p:cNvSpPr>
            <p:nvPr/>
          </p:nvSpPr>
          <p:spPr bwMode="auto">
            <a:xfrm>
              <a:off x="2803526" y="3373979"/>
              <a:ext cx="30163" cy="49235"/>
            </a:xfrm>
            <a:custGeom>
              <a:avLst/>
              <a:gdLst>
                <a:gd name="T0" fmla="*/ 19 w 19"/>
                <a:gd name="T1" fmla="*/ 0 h 31"/>
                <a:gd name="T2" fmla="*/ 10 w 19"/>
                <a:gd name="T3" fmla="*/ 9 h 31"/>
                <a:gd name="T4" fmla="*/ 6 w 19"/>
                <a:gd name="T5" fmla="*/ 23 h 31"/>
                <a:gd name="T6" fmla="*/ 0 w 19"/>
                <a:gd name="T7" fmla="*/ 31 h 31"/>
                <a:gd name="T8" fmla="*/ 6 w 19"/>
                <a:gd name="T9" fmla="*/ 23 h 31"/>
                <a:gd name="T10" fmla="*/ 10 w 19"/>
                <a:gd name="T11" fmla="*/ 9 h 31"/>
                <a:gd name="T12" fmla="*/ 19 w 19"/>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19" h="31">
                  <a:moveTo>
                    <a:pt x="19" y="0"/>
                  </a:moveTo>
                  <a:lnTo>
                    <a:pt x="10" y="9"/>
                  </a:lnTo>
                  <a:lnTo>
                    <a:pt x="6" y="23"/>
                  </a:lnTo>
                  <a:lnTo>
                    <a:pt x="0" y="31"/>
                  </a:lnTo>
                  <a:lnTo>
                    <a:pt x="6" y="23"/>
                  </a:lnTo>
                  <a:lnTo>
                    <a:pt x="10" y="9"/>
                  </a:lnTo>
                  <a:lnTo>
                    <a:pt x="1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143">
              <a:extLst>
                <a:ext uri="{FF2B5EF4-FFF2-40B4-BE49-F238E27FC236}">
                  <a16:creationId xmlns:a16="http://schemas.microsoft.com/office/drawing/2014/main" id="{F73374A3-2A80-4F07-BC4F-35CBCDE6532C}"/>
                </a:ext>
              </a:extLst>
            </p:cNvPr>
            <p:cNvSpPr>
              <a:spLocks/>
            </p:cNvSpPr>
            <p:nvPr/>
          </p:nvSpPr>
          <p:spPr bwMode="auto">
            <a:xfrm>
              <a:off x="2940051" y="3297745"/>
              <a:ext cx="61913" cy="23824"/>
            </a:xfrm>
            <a:custGeom>
              <a:avLst/>
              <a:gdLst>
                <a:gd name="T0" fmla="*/ 6 w 39"/>
                <a:gd name="T1" fmla="*/ 0 h 15"/>
                <a:gd name="T2" fmla="*/ 25 w 39"/>
                <a:gd name="T3" fmla="*/ 4 h 15"/>
                <a:gd name="T4" fmla="*/ 39 w 39"/>
                <a:gd name="T5" fmla="*/ 9 h 15"/>
                <a:gd name="T6" fmla="*/ 39 w 39"/>
                <a:gd name="T7" fmla="*/ 13 h 15"/>
                <a:gd name="T8" fmla="*/ 31 w 39"/>
                <a:gd name="T9" fmla="*/ 15 h 15"/>
                <a:gd name="T10" fmla="*/ 16 w 39"/>
                <a:gd name="T11" fmla="*/ 9 h 15"/>
                <a:gd name="T12" fmla="*/ 0 w 39"/>
                <a:gd name="T13" fmla="*/ 0 h 15"/>
                <a:gd name="T14" fmla="*/ 6 w 39"/>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5">
                  <a:moveTo>
                    <a:pt x="6" y="0"/>
                  </a:moveTo>
                  <a:lnTo>
                    <a:pt x="25" y="4"/>
                  </a:lnTo>
                  <a:lnTo>
                    <a:pt x="39" y="9"/>
                  </a:lnTo>
                  <a:lnTo>
                    <a:pt x="39" y="13"/>
                  </a:lnTo>
                  <a:lnTo>
                    <a:pt x="31" y="15"/>
                  </a:lnTo>
                  <a:lnTo>
                    <a:pt x="16" y="9"/>
                  </a:lnTo>
                  <a:lnTo>
                    <a:pt x="0" y="0"/>
                  </a:lnTo>
                  <a:lnTo>
                    <a:pt x="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145">
              <a:extLst>
                <a:ext uri="{FF2B5EF4-FFF2-40B4-BE49-F238E27FC236}">
                  <a16:creationId xmlns:a16="http://schemas.microsoft.com/office/drawing/2014/main" id="{3CBB941F-2387-4E06-8A32-447B6234E9BB}"/>
                </a:ext>
              </a:extLst>
            </p:cNvPr>
            <p:cNvSpPr>
              <a:spLocks/>
            </p:cNvSpPr>
            <p:nvPr/>
          </p:nvSpPr>
          <p:spPr bwMode="auto">
            <a:xfrm>
              <a:off x="1527177" y="3270746"/>
              <a:ext cx="109538" cy="69882"/>
            </a:xfrm>
            <a:custGeom>
              <a:avLst/>
              <a:gdLst>
                <a:gd name="T0" fmla="*/ 0 w 69"/>
                <a:gd name="T1" fmla="*/ 0 h 44"/>
                <a:gd name="T2" fmla="*/ 17 w 69"/>
                <a:gd name="T3" fmla="*/ 5 h 44"/>
                <a:gd name="T4" fmla="*/ 25 w 69"/>
                <a:gd name="T5" fmla="*/ 7 h 44"/>
                <a:gd name="T6" fmla="*/ 38 w 69"/>
                <a:gd name="T7" fmla="*/ 9 h 44"/>
                <a:gd name="T8" fmla="*/ 42 w 69"/>
                <a:gd name="T9" fmla="*/ 17 h 44"/>
                <a:gd name="T10" fmla="*/ 50 w 69"/>
                <a:gd name="T11" fmla="*/ 25 h 44"/>
                <a:gd name="T12" fmla="*/ 63 w 69"/>
                <a:gd name="T13" fmla="*/ 32 h 44"/>
                <a:gd name="T14" fmla="*/ 69 w 69"/>
                <a:gd name="T15" fmla="*/ 42 h 44"/>
                <a:gd name="T16" fmla="*/ 63 w 69"/>
                <a:gd name="T17" fmla="*/ 44 h 44"/>
                <a:gd name="T18" fmla="*/ 38 w 69"/>
                <a:gd name="T19" fmla="*/ 36 h 44"/>
                <a:gd name="T20" fmla="*/ 35 w 69"/>
                <a:gd name="T21" fmla="*/ 30 h 44"/>
                <a:gd name="T22" fmla="*/ 23 w 69"/>
                <a:gd name="T23" fmla="*/ 25 h 44"/>
                <a:gd name="T24" fmla="*/ 19 w 69"/>
                <a:gd name="T25" fmla="*/ 19 h 44"/>
                <a:gd name="T26" fmla="*/ 6 w 69"/>
                <a:gd name="T27" fmla="*/ 17 h 44"/>
                <a:gd name="T28" fmla="*/ 0 w 69"/>
                <a:gd name="T29" fmla="*/ 5 h 44"/>
                <a:gd name="T30" fmla="*/ 0 w 69"/>
                <a:gd name="T3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44">
                  <a:moveTo>
                    <a:pt x="0" y="0"/>
                  </a:moveTo>
                  <a:lnTo>
                    <a:pt x="17" y="5"/>
                  </a:lnTo>
                  <a:lnTo>
                    <a:pt x="25" y="7"/>
                  </a:lnTo>
                  <a:lnTo>
                    <a:pt x="38" y="9"/>
                  </a:lnTo>
                  <a:lnTo>
                    <a:pt x="42" y="17"/>
                  </a:lnTo>
                  <a:lnTo>
                    <a:pt x="50" y="25"/>
                  </a:lnTo>
                  <a:lnTo>
                    <a:pt x="63" y="32"/>
                  </a:lnTo>
                  <a:lnTo>
                    <a:pt x="69" y="42"/>
                  </a:lnTo>
                  <a:lnTo>
                    <a:pt x="63" y="44"/>
                  </a:lnTo>
                  <a:lnTo>
                    <a:pt x="38" y="36"/>
                  </a:lnTo>
                  <a:lnTo>
                    <a:pt x="35" y="30"/>
                  </a:lnTo>
                  <a:lnTo>
                    <a:pt x="23" y="25"/>
                  </a:lnTo>
                  <a:lnTo>
                    <a:pt x="19" y="19"/>
                  </a:lnTo>
                  <a:lnTo>
                    <a:pt x="6" y="17"/>
                  </a:lnTo>
                  <a:lnTo>
                    <a:pt x="0" y="5"/>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147">
              <a:extLst>
                <a:ext uri="{FF2B5EF4-FFF2-40B4-BE49-F238E27FC236}">
                  <a16:creationId xmlns:a16="http://schemas.microsoft.com/office/drawing/2014/main" id="{4DCAE0CA-8D69-4ABC-9B02-113F4A6AD75B}"/>
                </a:ext>
              </a:extLst>
            </p:cNvPr>
            <p:cNvSpPr>
              <a:spLocks/>
            </p:cNvSpPr>
            <p:nvPr/>
          </p:nvSpPr>
          <p:spPr bwMode="auto">
            <a:xfrm>
              <a:off x="3052763" y="3248511"/>
              <a:ext cx="152400" cy="142940"/>
            </a:xfrm>
            <a:custGeom>
              <a:avLst/>
              <a:gdLst>
                <a:gd name="T0" fmla="*/ 50 w 96"/>
                <a:gd name="T1" fmla="*/ 0 h 90"/>
                <a:gd name="T2" fmla="*/ 58 w 96"/>
                <a:gd name="T3" fmla="*/ 0 h 90"/>
                <a:gd name="T4" fmla="*/ 54 w 96"/>
                <a:gd name="T5" fmla="*/ 4 h 90"/>
                <a:gd name="T6" fmla="*/ 48 w 96"/>
                <a:gd name="T7" fmla="*/ 15 h 90"/>
                <a:gd name="T8" fmla="*/ 37 w 96"/>
                <a:gd name="T9" fmla="*/ 33 h 90"/>
                <a:gd name="T10" fmla="*/ 48 w 96"/>
                <a:gd name="T11" fmla="*/ 27 h 90"/>
                <a:gd name="T12" fmla="*/ 56 w 96"/>
                <a:gd name="T13" fmla="*/ 31 h 90"/>
                <a:gd name="T14" fmla="*/ 50 w 96"/>
                <a:gd name="T15" fmla="*/ 37 h 90"/>
                <a:gd name="T16" fmla="*/ 64 w 96"/>
                <a:gd name="T17" fmla="*/ 40 h 90"/>
                <a:gd name="T18" fmla="*/ 70 w 96"/>
                <a:gd name="T19" fmla="*/ 39 h 90"/>
                <a:gd name="T20" fmla="*/ 85 w 96"/>
                <a:gd name="T21" fmla="*/ 42 h 90"/>
                <a:gd name="T22" fmla="*/ 79 w 96"/>
                <a:gd name="T23" fmla="*/ 56 h 90"/>
                <a:gd name="T24" fmla="*/ 91 w 96"/>
                <a:gd name="T25" fmla="*/ 52 h 90"/>
                <a:gd name="T26" fmla="*/ 91 w 96"/>
                <a:gd name="T27" fmla="*/ 63 h 90"/>
                <a:gd name="T28" fmla="*/ 96 w 96"/>
                <a:gd name="T29" fmla="*/ 73 h 90"/>
                <a:gd name="T30" fmla="*/ 91 w 96"/>
                <a:gd name="T31" fmla="*/ 88 h 90"/>
                <a:gd name="T32" fmla="*/ 83 w 96"/>
                <a:gd name="T33" fmla="*/ 90 h 90"/>
                <a:gd name="T34" fmla="*/ 73 w 96"/>
                <a:gd name="T35" fmla="*/ 87 h 90"/>
                <a:gd name="T36" fmla="*/ 77 w 96"/>
                <a:gd name="T37" fmla="*/ 71 h 90"/>
                <a:gd name="T38" fmla="*/ 71 w 96"/>
                <a:gd name="T39" fmla="*/ 69 h 90"/>
                <a:gd name="T40" fmla="*/ 58 w 96"/>
                <a:gd name="T41" fmla="*/ 85 h 90"/>
                <a:gd name="T42" fmla="*/ 48 w 96"/>
                <a:gd name="T43" fmla="*/ 85 h 90"/>
                <a:gd name="T44" fmla="*/ 60 w 96"/>
                <a:gd name="T45" fmla="*/ 77 h 90"/>
                <a:gd name="T46" fmla="*/ 47 w 96"/>
                <a:gd name="T47" fmla="*/ 71 h 90"/>
                <a:gd name="T48" fmla="*/ 31 w 96"/>
                <a:gd name="T49" fmla="*/ 73 h 90"/>
                <a:gd name="T50" fmla="*/ 4 w 96"/>
                <a:gd name="T51" fmla="*/ 71 h 90"/>
                <a:gd name="T52" fmla="*/ 0 w 96"/>
                <a:gd name="T53" fmla="*/ 67 h 90"/>
                <a:gd name="T54" fmla="*/ 8 w 96"/>
                <a:gd name="T55" fmla="*/ 62 h 90"/>
                <a:gd name="T56" fmla="*/ 4 w 96"/>
                <a:gd name="T57" fmla="*/ 56 h 90"/>
                <a:gd name="T58" fmla="*/ 16 w 96"/>
                <a:gd name="T59" fmla="*/ 44 h 90"/>
                <a:gd name="T60" fmla="*/ 29 w 96"/>
                <a:gd name="T61" fmla="*/ 15 h 90"/>
                <a:gd name="T62" fmla="*/ 39 w 96"/>
                <a:gd name="T63" fmla="*/ 6 h 90"/>
                <a:gd name="T64" fmla="*/ 50 w 96"/>
                <a:gd name="T6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90">
                  <a:moveTo>
                    <a:pt x="50" y="0"/>
                  </a:moveTo>
                  <a:lnTo>
                    <a:pt x="58" y="0"/>
                  </a:lnTo>
                  <a:lnTo>
                    <a:pt x="54" y="4"/>
                  </a:lnTo>
                  <a:lnTo>
                    <a:pt x="48" y="15"/>
                  </a:lnTo>
                  <a:lnTo>
                    <a:pt x="37" y="33"/>
                  </a:lnTo>
                  <a:lnTo>
                    <a:pt x="48" y="27"/>
                  </a:lnTo>
                  <a:lnTo>
                    <a:pt x="56" y="31"/>
                  </a:lnTo>
                  <a:lnTo>
                    <a:pt x="50" y="37"/>
                  </a:lnTo>
                  <a:lnTo>
                    <a:pt x="64" y="40"/>
                  </a:lnTo>
                  <a:lnTo>
                    <a:pt x="70" y="39"/>
                  </a:lnTo>
                  <a:lnTo>
                    <a:pt x="85" y="42"/>
                  </a:lnTo>
                  <a:lnTo>
                    <a:pt x="79" y="56"/>
                  </a:lnTo>
                  <a:lnTo>
                    <a:pt x="91" y="52"/>
                  </a:lnTo>
                  <a:lnTo>
                    <a:pt x="91" y="63"/>
                  </a:lnTo>
                  <a:lnTo>
                    <a:pt x="96" y="73"/>
                  </a:lnTo>
                  <a:lnTo>
                    <a:pt x="91" y="88"/>
                  </a:lnTo>
                  <a:lnTo>
                    <a:pt x="83" y="90"/>
                  </a:lnTo>
                  <a:lnTo>
                    <a:pt x="73" y="87"/>
                  </a:lnTo>
                  <a:lnTo>
                    <a:pt x="77" y="71"/>
                  </a:lnTo>
                  <a:lnTo>
                    <a:pt x="71" y="69"/>
                  </a:lnTo>
                  <a:lnTo>
                    <a:pt x="58" y="85"/>
                  </a:lnTo>
                  <a:lnTo>
                    <a:pt x="48" y="85"/>
                  </a:lnTo>
                  <a:lnTo>
                    <a:pt x="60" y="77"/>
                  </a:lnTo>
                  <a:lnTo>
                    <a:pt x="47" y="71"/>
                  </a:lnTo>
                  <a:lnTo>
                    <a:pt x="31" y="73"/>
                  </a:lnTo>
                  <a:lnTo>
                    <a:pt x="4" y="71"/>
                  </a:lnTo>
                  <a:lnTo>
                    <a:pt x="0" y="67"/>
                  </a:lnTo>
                  <a:lnTo>
                    <a:pt x="8" y="62"/>
                  </a:lnTo>
                  <a:lnTo>
                    <a:pt x="4" y="56"/>
                  </a:lnTo>
                  <a:lnTo>
                    <a:pt x="16" y="44"/>
                  </a:lnTo>
                  <a:lnTo>
                    <a:pt x="29" y="15"/>
                  </a:lnTo>
                  <a:lnTo>
                    <a:pt x="39" y="6"/>
                  </a:lnTo>
                  <a:lnTo>
                    <a:pt x="5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149">
              <a:extLst>
                <a:ext uri="{FF2B5EF4-FFF2-40B4-BE49-F238E27FC236}">
                  <a16:creationId xmlns:a16="http://schemas.microsoft.com/office/drawing/2014/main" id="{0C15CE6C-B4B7-456A-B358-31858AD8783B}"/>
                </a:ext>
              </a:extLst>
            </p:cNvPr>
            <p:cNvSpPr>
              <a:spLocks/>
            </p:cNvSpPr>
            <p:nvPr/>
          </p:nvSpPr>
          <p:spPr bwMode="auto">
            <a:xfrm>
              <a:off x="1423989" y="3169100"/>
              <a:ext cx="42863" cy="61941"/>
            </a:xfrm>
            <a:custGeom>
              <a:avLst/>
              <a:gdLst>
                <a:gd name="T0" fmla="*/ 0 w 27"/>
                <a:gd name="T1" fmla="*/ 0 h 39"/>
                <a:gd name="T2" fmla="*/ 6 w 27"/>
                <a:gd name="T3" fmla="*/ 4 h 39"/>
                <a:gd name="T4" fmla="*/ 19 w 27"/>
                <a:gd name="T5" fmla="*/ 2 h 39"/>
                <a:gd name="T6" fmla="*/ 15 w 27"/>
                <a:gd name="T7" fmla="*/ 25 h 39"/>
                <a:gd name="T8" fmla="*/ 27 w 27"/>
                <a:gd name="T9" fmla="*/ 39 h 39"/>
                <a:gd name="T10" fmla="*/ 23 w 27"/>
                <a:gd name="T11" fmla="*/ 39 h 39"/>
                <a:gd name="T12" fmla="*/ 15 w 27"/>
                <a:gd name="T13" fmla="*/ 31 h 39"/>
                <a:gd name="T14" fmla="*/ 9 w 27"/>
                <a:gd name="T15" fmla="*/ 21 h 39"/>
                <a:gd name="T16" fmla="*/ 0 w 27"/>
                <a:gd name="T17" fmla="*/ 16 h 39"/>
                <a:gd name="T18" fmla="*/ 0 w 27"/>
                <a:gd name="T19" fmla="*/ 8 h 39"/>
                <a:gd name="T20" fmla="*/ 0 w 27"/>
                <a:gd name="T2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9">
                  <a:moveTo>
                    <a:pt x="0" y="0"/>
                  </a:moveTo>
                  <a:lnTo>
                    <a:pt x="6" y="4"/>
                  </a:lnTo>
                  <a:lnTo>
                    <a:pt x="19" y="2"/>
                  </a:lnTo>
                  <a:lnTo>
                    <a:pt x="15" y="25"/>
                  </a:lnTo>
                  <a:lnTo>
                    <a:pt x="27" y="39"/>
                  </a:lnTo>
                  <a:lnTo>
                    <a:pt x="23" y="39"/>
                  </a:lnTo>
                  <a:lnTo>
                    <a:pt x="15" y="31"/>
                  </a:lnTo>
                  <a:lnTo>
                    <a:pt x="9" y="21"/>
                  </a:lnTo>
                  <a:lnTo>
                    <a:pt x="0" y="16"/>
                  </a:lnTo>
                  <a:lnTo>
                    <a:pt x="0" y="8"/>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151">
              <a:extLst>
                <a:ext uri="{FF2B5EF4-FFF2-40B4-BE49-F238E27FC236}">
                  <a16:creationId xmlns:a16="http://schemas.microsoft.com/office/drawing/2014/main" id="{CE01C3DB-EA38-4F59-BB37-845A9E744B1B}"/>
                </a:ext>
              </a:extLst>
            </p:cNvPr>
            <p:cNvSpPr>
              <a:spLocks/>
            </p:cNvSpPr>
            <p:nvPr/>
          </p:nvSpPr>
          <p:spPr bwMode="auto">
            <a:xfrm>
              <a:off x="7497762" y="3162747"/>
              <a:ext cx="69850" cy="247762"/>
            </a:xfrm>
            <a:custGeom>
              <a:avLst/>
              <a:gdLst>
                <a:gd name="T0" fmla="*/ 15 w 44"/>
                <a:gd name="T1" fmla="*/ 0 h 156"/>
                <a:gd name="T2" fmla="*/ 19 w 44"/>
                <a:gd name="T3" fmla="*/ 16 h 156"/>
                <a:gd name="T4" fmla="*/ 23 w 44"/>
                <a:gd name="T5" fmla="*/ 31 h 156"/>
                <a:gd name="T6" fmla="*/ 23 w 44"/>
                <a:gd name="T7" fmla="*/ 50 h 156"/>
                <a:gd name="T8" fmla="*/ 29 w 44"/>
                <a:gd name="T9" fmla="*/ 69 h 156"/>
                <a:gd name="T10" fmla="*/ 44 w 44"/>
                <a:gd name="T11" fmla="*/ 102 h 156"/>
                <a:gd name="T12" fmla="*/ 23 w 44"/>
                <a:gd name="T13" fmla="*/ 94 h 156"/>
                <a:gd name="T14" fmla="*/ 13 w 44"/>
                <a:gd name="T15" fmla="*/ 123 h 156"/>
                <a:gd name="T16" fmla="*/ 27 w 44"/>
                <a:gd name="T17" fmla="*/ 139 h 156"/>
                <a:gd name="T18" fmla="*/ 27 w 44"/>
                <a:gd name="T19" fmla="*/ 152 h 156"/>
                <a:gd name="T20" fmla="*/ 17 w 44"/>
                <a:gd name="T21" fmla="*/ 141 h 156"/>
                <a:gd name="T22" fmla="*/ 8 w 44"/>
                <a:gd name="T23" fmla="*/ 156 h 156"/>
                <a:gd name="T24" fmla="*/ 6 w 44"/>
                <a:gd name="T25" fmla="*/ 141 h 156"/>
                <a:gd name="T26" fmla="*/ 8 w 44"/>
                <a:gd name="T27" fmla="*/ 123 h 156"/>
                <a:gd name="T28" fmla="*/ 6 w 44"/>
                <a:gd name="T29" fmla="*/ 104 h 156"/>
                <a:gd name="T30" fmla="*/ 10 w 44"/>
                <a:gd name="T31" fmla="*/ 91 h 156"/>
                <a:gd name="T32" fmla="*/ 10 w 44"/>
                <a:gd name="T33" fmla="*/ 66 h 156"/>
                <a:gd name="T34" fmla="*/ 0 w 44"/>
                <a:gd name="T35" fmla="*/ 46 h 156"/>
                <a:gd name="T36" fmla="*/ 2 w 44"/>
                <a:gd name="T37" fmla="*/ 22 h 156"/>
                <a:gd name="T38" fmla="*/ 15 w 44"/>
                <a:gd name="T39" fmla="*/ 14 h 156"/>
                <a:gd name="T40" fmla="*/ 10 w 44"/>
                <a:gd name="T41" fmla="*/ 4 h 156"/>
                <a:gd name="T42" fmla="*/ 15 w 44"/>
                <a:gd name="T43"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156">
                  <a:moveTo>
                    <a:pt x="15" y="0"/>
                  </a:moveTo>
                  <a:lnTo>
                    <a:pt x="19" y="16"/>
                  </a:lnTo>
                  <a:lnTo>
                    <a:pt x="23" y="31"/>
                  </a:lnTo>
                  <a:lnTo>
                    <a:pt x="23" y="50"/>
                  </a:lnTo>
                  <a:lnTo>
                    <a:pt x="29" y="69"/>
                  </a:lnTo>
                  <a:lnTo>
                    <a:pt x="44" y="102"/>
                  </a:lnTo>
                  <a:lnTo>
                    <a:pt x="23" y="94"/>
                  </a:lnTo>
                  <a:lnTo>
                    <a:pt x="13" y="123"/>
                  </a:lnTo>
                  <a:lnTo>
                    <a:pt x="27" y="139"/>
                  </a:lnTo>
                  <a:lnTo>
                    <a:pt x="27" y="152"/>
                  </a:lnTo>
                  <a:lnTo>
                    <a:pt x="17" y="141"/>
                  </a:lnTo>
                  <a:lnTo>
                    <a:pt x="8" y="156"/>
                  </a:lnTo>
                  <a:lnTo>
                    <a:pt x="6" y="141"/>
                  </a:lnTo>
                  <a:lnTo>
                    <a:pt x="8" y="123"/>
                  </a:lnTo>
                  <a:lnTo>
                    <a:pt x="6" y="104"/>
                  </a:lnTo>
                  <a:lnTo>
                    <a:pt x="10" y="91"/>
                  </a:lnTo>
                  <a:lnTo>
                    <a:pt x="10" y="66"/>
                  </a:lnTo>
                  <a:lnTo>
                    <a:pt x="0" y="46"/>
                  </a:lnTo>
                  <a:lnTo>
                    <a:pt x="2" y="22"/>
                  </a:lnTo>
                  <a:lnTo>
                    <a:pt x="15" y="14"/>
                  </a:lnTo>
                  <a:lnTo>
                    <a:pt x="10" y="4"/>
                  </a:lnTo>
                  <a:lnTo>
                    <a:pt x="1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153">
              <a:extLst>
                <a:ext uri="{FF2B5EF4-FFF2-40B4-BE49-F238E27FC236}">
                  <a16:creationId xmlns:a16="http://schemas.microsoft.com/office/drawing/2014/main" id="{53B2BE04-D1FB-46F7-973F-EBAB0B603FCC}"/>
                </a:ext>
              </a:extLst>
            </p:cNvPr>
            <p:cNvSpPr>
              <a:spLocks/>
            </p:cNvSpPr>
            <p:nvPr/>
          </p:nvSpPr>
          <p:spPr bwMode="auto">
            <a:xfrm>
              <a:off x="4146551" y="3142100"/>
              <a:ext cx="98425" cy="103235"/>
            </a:xfrm>
            <a:custGeom>
              <a:avLst/>
              <a:gdLst>
                <a:gd name="T0" fmla="*/ 46 w 62"/>
                <a:gd name="T1" fmla="*/ 0 h 65"/>
                <a:gd name="T2" fmla="*/ 62 w 62"/>
                <a:gd name="T3" fmla="*/ 11 h 65"/>
                <a:gd name="T4" fmla="*/ 52 w 62"/>
                <a:gd name="T5" fmla="*/ 25 h 65"/>
                <a:gd name="T6" fmla="*/ 56 w 62"/>
                <a:gd name="T7" fmla="*/ 38 h 65"/>
                <a:gd name="T8" fmla="*/ 44 w 62"/>
                <a:gd name="T9" fmla="*/ 56 h 65"/>
                <a:gd name="T10" fmla="*/ 20 w 62"/>
                <a:gd name="T11" fmla="*/ 65 h 65"/>
                <a:gd name="T12" fmla="*/ 0 w 62"/>
                <a:gd name="T13" fmla="*/ 63 h 65"/>
                <a:gd name="T14" fmla="*/ 12 w 62"/>
                <a:gd name="T15" fmla="*/ 42 h 65"/>
                <a:gd name="T16" fmla="*/ 4 w 62"/>
                <a:gd name="T17" fmla="*/ 25 h 65"/>
                <a:gd name="T18" fmla="*/ 23 w 62"/>
                <a:gd name="T19" fmla="*/ 10 h 65"/>
                <a:gd name="T20" fmla="*/ 35 w 62"/>
                <a:gd name="T21" fmla="*/ 0 h 65"/>
                <a:gd name="T22" fmla="*/ 46 w 62"/>
                <a:gd name="T2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5">
                  <a:moveTo>
                    <a:pt x="46" y="0"/>
                  </a:moveTo>
                  <a:lnTo>
                    <a:pt x="62" y="11"/>
                  </a:lnTo>
                  <a:lnTo>
                    <a:pt x="52" y="25"/>
                  </a:lnTo>
                  <a:lnTo>
                    <a:pt x="56" y="38"/>
                  </a:lnTo>
                  <a:lnTo>
                    <a:pt x="44" y="56"/>
                  </a:lnTo>
                  <a:lnTo>
                    <a:pt x="20" y="65"/>
                  </a:lnTo>
                  <a:lnTo>
                    <a:pt x="0" y="63"/>
                  </a:lnTo>
                  <a:lnTo>
                    <a:pt x="12" y="42"/>
                  </a:lnTo>
                  <a:lnTo>
                    <a:pt x="4" y="25"/>
                  </a:lnTo>
                  <a:lnTo>
                    <a:pt x="23" y="10"/>
                  </a:lnTo>
                  <a:lnTo>
                    <a:pt x="35" y="0"/>
                  </a:lnTo>
                  <a:lnTo>
                    <a:pt x="4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155">
              <a:extLst>
                <a:ext uri="{FF2B5EF4-FFF2-40B4-BE49-F238E27FC236}">
                  <a16:creationId xmlns:a16="http://schemas.microsoft.com/office/drawing/2014/main" id="{2C0E7EF5-8C9D-4449-AE93-DF43A4963A64}"/>
                </a:ext>
              </a:extLst>
            </p:cNvPr>
            <p:cNvSpPr>
              <a:spLocks/>
            </p:cNvSpPr>
            <p:nvPr/>
          </p:nvSpPr>
          <p:spPr bwMode="auto">
            <a:xfrm>
              <a:off x="4610101" y="3111924"/>
              <a:ext cx="39688" cy="39706"/>
            </a:xfrm>
            <a:custGeom>
              <a:avLst/>
              <a:gdLst>
                <a:gd name="T0" fmla="*/ 19 w 25"/>
                <a:gd name="T1" fmla="*/ 0 h 25"/>
                <a:gd name="T2" fmla="*/ 25 w 25"/>
                <a:gd name="T3" fmla="*/ 11 h 25"/>
                <a:gd name="T4" fmla="*/ 17 w 25"/>
                <a:gd name="T5" fmla="*/ 25 h 25"/>
                <a:gd name="T6" fmla="*/ 2 w 25"/>
                <a:gd name="T7" fmla="*/ 13 h 25"/>
                <a:gd name="T8" fmla="*/ 0 w 25"/>
                <a:gd name="T9" fmla="*/ 7 h 25"/>
                <a:gd name="T10" fmla="*/ 19 w 25"/>
                <a:gd name="T11" fmla="*/ 0 h 25"/>
              </a:gdLst>
              <a:ahLst/>
              <a:cxnLst>
                <a:cxn ang="0">
                  <a:pos x="T0" y="T1"/>
                </a:cxn>
                <a:cxn ang="0">
                  <a:pos x="T2" y="T3"/>
                </a:cxn>
                <a:cxn ang="0">
                  <a:pos x="T4" y="T5"/>
                </a:cxn>
                <a:cxn ang="0">
                  <a:pos x="T6" y="T7"/>
                </a:cxn>
                <a:cxn ang="0">
                  <a:pos x="T8" y="T9"/>
                </a:cxn>
                <a:cxn ang="0">
                  <a:pos x="T10" y="T11"/>
                </a:cxn>
              </a:cxnLst>
              <a:rect l="0" t="0" r="r" b="b"/>
              <a:pathLst>
                <a:path w="25" h="25">
                  <a:moveTo>
                    <a:pt x="19" y="0"/>
                  </a:moveTo>
                  <a:lnTo>
                    <a:pt x="25" y="11"/>
                  </a:lnTo>
                  <a:lnTo>
                    <a:pt x="17" y="25"/>
                  </a:lnTo>
                  <a:lnTo>
                    <a:pt x="2" y="13"/>
                  </a:lnTo>
                  <a:lnTo>
                    <a:pt x="0" y="7"/>
                  </a:lnTo>
                  <a:lnTo>
                    <a:pt x="1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157">
              <a:extLst>
                <a:ext uri="{FF2B5EF4-FFF2-40B4-BE49-F238E27FC236}">
                  <a16:creationId xmlns:a16="http://schemas.microsoft.com/office/drawing/2014/main" id="{6EA486AC-56D4-441A-8F67-B6F216ECD80B}"/>
                </a:ext>
              </a:extLst>
            </p:cNvPr>
            <p:cNvSpPr>
              <a:spLocks/>
            </p:cNvSpPr>
            <p:nvPr/>
          </p:nvSpPr>
          <p:spPr bwMode="auto">
            <a:xfrm>
              <a:off x="949327" y="3053159"/>
              <a:ext cx="53975" cy="36530"/>
            </a:xfrm>
            <a:custGeom>
              <a:avLst/>
              <a:gdLst>
                <a:gd name="T0" fmla="*/ 19 w 34"/>
                <a:gd name="T1" fmla="*/ 0 h 23"/>
                <a:gd name="T2" fmla="*/ 30 w 34"/>
                <a:gd name="T3" fmla="*/ 0 h 23"/>
                <a:gd name="T4" fmla="*/ 34 w 34"/>
                <a:gd name="T5" fmla="*/ 8 h 23"/>
                <a:gd name="T6" fmla="*/ 23 w 34"/>
                <a:gd name="T7" fmla="*/ 18 h 23"/>
                <a:gd name="T8" fmla="*/ 9 w 34"/>
                <a:gd name="T9" fmla="*/ 23 h 23"/>
                <a:gd name="T10" fmla="*/ 1 w 34"/>
                <a:gd name="T11" fmla="*/ 20 h 23"/>
                <a:gd name="T12" fmla="*/ 0 w 34"/>
                <a:gd name="T13" fmla="*/ 10 h 23"/>
                <a:gd name="T14" fmla="*/ 11 w 34"/>
                <a:gd name="T15" fmla="*/ 2 h 23"/>
                <a:gd name="T16" fmla="*/ 19 w 34"/>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3">
                  <a:moveTo>
                    <a:pt x="19" y="0"/>
                  </a:moveTo>
                  <a:lnTo>
                    <a:pt x="30" y="0"/>
                  </a:lnTo>
                  <a:lnTo>
                    <a:pt x="34" y="8"/>
                  </a:lnTo>
                  <a:lnTo>
                    <a:pt x="23" y="18"/>
                  </a:lnTo>
                  <a:lnTo>
                    <a:pt x="9" y="23"/>
                  </a:lnTo>
                  <a:lnTo>
                    <a:pt x="1" y="20"/>
                  </a:lnTo>
                  <a:lnTo>
                    <a:pt x="0" y="10"/>
                  </a:lnTo>
                  <a:lnTo>
                    <a:pt x="11" y="2"/>
                  </a:lnTo>
                  <a:lnTo>
                    <a:pt x="1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159">
              <a:extLst>
                <a:ext uri="{FF2B5EF4-FFF2-40B4-BE49-F238E27FC236}">
                  <a16:creationId xmlns:a16="http://schemas.microsoft.com/office/drawing/2014/main" id="{62460E9A-49BE-40A0-AEE1-9FC972292B52}"/>
                </a:ext>
              </a:extLst>
            </p:cNvPr>
            <p:cNvSpPr>
              <a:spLocks/>
            </p:cNvSpPr>
            <p:nvPr/>
          </p:nvSpPr>
          <p:spPr bwMode="auto">
            <a:xfrm>
              <a:off x="4232276" y="3032513"/>
              <a:ext cx="173038" cy="265233"/>
            </a:xfrm>
            <a:custGeom>
              <a:avLst/>
              <a:gdLst>
                <a:gd name="T0" fmla="*/ 44 w 109"/>
                <a:gd name="T1" fmla="*/ 0 h 167"/>
                <a:gd name="T2" fmla="*/ 29 w 109"/>
                <a:gd name="T3" fmla="*/ 23 h 167"/>
                <a:gd name="T4" fmla="*/ 42 w 109"/>
                <a:gd name="T5" fmla="*/ 19 h 167"/>
                <a:gd name="T6" fmla="*/ 60 w 109"/>
                <a:gd name="T7" fmla="*/ 19 h 167"/>
                <a:gd name="T8" fmla="*/ 54 w 109"/>
                <a:gd name="T9" fmla="*/ 34 h 167"/>
                <a:gd name="T10" fmla="*/ 42 w 109"/>
                <a:gd name="T11" fmla="*/ 52 h 167"/>
                <a:gd name="T12" fmla="*/ 58 w 109"/>
                <a:gd name="T13" fmla="*/ 54 h 167"/>
                <a:gd name="T14" fmla="*/ 58 w 109"/>
                <a:gd name="T15" fmla="*/ 56 h 167"/>
                <a:gd name="T16" fmla="*/ 69 w 109"/>
                <a:gd name="T17" fmla="*/ 79 h 167"/>
                <a:gd name="T18" fmla="*/ 79 w 109"/>
                <a:gd name="T19" fmla="*/ 82 h 167"/>
                <a:gd name="T20" fmla="*/ 88 w 109"/>
                <a:gd name="T21" fmla="*/ 104 h 167"/>
                <a:gd name="T22" fmla="*/ 92 w 109"/>
                <a:gd name="T23" fmla="*/ 111 h 167"/>
                <a:gd name="T24" fmla="*/ 109 w 109"/>
                <a:gd name="T25" fmla="*/ 113 h 167"/>
                <a:gd name="T26" fmla="*/ 108 w 109"/>
                <a:gd name="T27" fmla="*/ 127 h 167"/>
                <a:gd name="T28" fmla="*/ 100 w 109"/>
                <a:gd name="T29" fmla="*/ 132 h 167"/>
                <a:gd name="T30" fmla="*/ 106 w 109"/>
                <a:gd name="T31" fmla="*/ 142 h 167"/>
                <a:gd name="T32" fmla="*/ 92 w 109"/>
                <a:gd name="T33" fmla="*/ 150 h 167"/>
                <a:gd name="T34" fmla="*/ 73 w 109"/>
                <a:gd name="T35" fmla="*/ 150 h 167"/>
                <a:gd name="T36" fmla="*/ 50 w 109"/>
                <a:gd name="T37" fmla="*/ 155 h 167"/>
                <a:gd name="T38" fmla="*/ 44 w 109"/>
                <a:gd name="T39" fmla="*/ 151 h 167"/>
                <a:gd name="T40" fmla="*/ 35 w 109"/>
                <a:gd name="T41" fmla="*/ 161 h 167"/>
                <a:gd name="T42" fmla="*/ 21 w 109"/>
                <a:gd name="T43" fmla="*/ 159 h 167"/>
                <a:gd name="T44" fmla="*/ 12 w 109"/>
                <a:gd name="T45" fmla="*/ 167 h 167"/>
                <a:gd name="T46" fmla="*/ 6 w 109"/>
                <a:gd name="T47" fmla="*/ 163 h 167"/>
                <a:gd name="T48" fmla="*/ 25 w 109"/>
                <a:gd name="T49" fmla="*/ 142 h 167"/>
                <a:gd name="T50" fmla="*/ 37 w 109"/>
                <a:gd name="T51" fmla="*/ 138 h 167"/>
                <a:gd name="T52" fmla="*/ 15 w 109"/>
                <a:gd name="T53" fmla="*/ 136 h 167"/>
                <a:gd name="T54" fmla="*/ 12 w 109"/>
                <a:gd name="T55" fmla="*/ 128 h 167"/>
                <a:gd name="T56" fmla="*/ 27 w 109"/>
                <a:gd name="T57" fmla="*/ 123 h 167"/>
                <a:gd name="T58" fmla="*/ 19 w 109"/>
                <a:gd name="T59" fmla="*/ 111 h 167"/>
                <a:gd name="T60" fmla="*/ 21 w 109"/>
                <a:gd name="T61" fmla="*/ 102 h 167"/>
                <a:gd name="T62" fmla="*/ 42 w 109"/>
                <a:gd name="T63" fmla="*/ 102 h 167"/>
                <a:gd name="T64" fmla="*/ 44 w 109"/>
                <a:gd name="T65" fmla="*/ 90 h 167"/>
                <a:gd name="T66" fmla="*/ 35 w 109"/>
                <a:gd name="T67" fmla="*/ 79 h 167"/>
                <a:gd name="T68" fmla="*/ 19 w 109"/>
                <a:gd name="T69" fmla="*/ 75 h 167"/>
                <a:gd name="T70" fmla="*/ 15 w 109"/>
                <a:gd name="T71" fmla="*/ 71 h 167"/>
                <a:gd name="T72" fmla="*/ 21 w 109"/>
                <a:gd name="T73" fmla="*/ 63 h 167"/>
                <a:gd name="T74" fmla="*/ 15 w 109"/>
                <a:gd name="T75" fmla="*/ 57 h 167"/>
                <a:gd name="T76" fmla="*/ 8 w 109"/>
                <a:gd name="T77" fmla="*/ 65 h 167"/>
                <a:gd name="T78" fmla="*/ 8 w 109"/>
                <a:gd name="T79" fmla="*/ 46 h 167"/>
                <a:gd name="T80" fmla="*/ 0 w 109"/>
                <a:gd name="T81" fmla="*/ 36 h 167"/>
                <a:gd name="T82" fmla="*/ 6 w 109"/>
                <a:gd name="T83" fmla="*/ 15 h 167"/>
                <a:gd name="T84" fmla="*/ 15 w 109"/>
                <a:gd name="T85" fmla="*/ 0 h 167"/>
                <a:gd name="T86" fmla="*/ 27 w 109"/>
                <a:gd name="T87" fmla="*/ 2 h 167"/>
                <a:gd name="T88" fmla="*/ 44 w 109"/>
                <a:gd name="T8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9" h="167">
                  <a:moveTo>
                    <a:pt x="44" y="0"/>
                  </a:moveTo>
                  <a:lnTo>
                    <a:pt x="29" y="23"/>
                  </a:lnTo>
                  <a:lnTo>
                    <a:pt x="42" y="19"/>
                  </a:lnTo>
                  <a:lnTo>
                    <a:pt x="60" y="19"/>
                  </a:lnTo>
                  <a:lnTo>
                    <a:pt x="54" y="34"/>
                  </a:lnTo>
                  <a:lnTo>
                    <a:pt x="42" y="52"/>
                  </a:lnTo>
                  <a:lnTo>
                    <a:pt x="58" y="54"/>
                  </a:lnTo>
                  <a:lnTo>
                    <a:pt x="58" y="56"/>
                  </a:lnTo>
                  <a:lnTo>
                    <a:pt x="69" y="79"/>
                  </a:lnTo>
                  <a:lnTo>
                    <a:pt x="79" y="82"/>
                  </a:lnTo>
                  <a:lnTo>
                    <a:pt x="88" y="104"/>
                  </a:lnTo>
                  <a:lnTo>
                    <a:pt x="92" y="111"/>
                  </a:lnTo>
                  <a:lnTo>
                    <a:pt x="109" y="113"/>
                  </a:lnTo>
                  <a:lnTo>
                    <a:pt x="108" y="127"/>
                  </a:lnTo>
                  <a:lnTo>
                    <a:pt x="100" y="132"/>
                  </a:lnTo>
                  <a:lnTo>
                    <a:pt x="106" y="142"/>
                  </a:lnTo>
                  <a:lnTo>
                    <a:pt x="92" y="150"/>
                  </a:lnTo>
                  <a:lnTo>
                    <a:pt x="73" y="150"/>
                  </a:lnTo>
                  <a:lnTo>
                    <a:pt x="50" y="155"/>
                  </a:lnTo>
                  <a:lnTo>
                    <a:pt x="44" y="151"/>
                  </a:lnTo>
                  <a:lnTo>
                    <a:pt x="35" y="161"/>
                  </a:lnTo>
                  <a:lnTo>
                    <a:pt x="21" y="159"/>
                  </a:lnTo>
                  <a:lnTo>
                    <a:pt x="12" y="167"/>
                  </a:lnTo>
                  <a:lnTo>
                    <a:pt x="6" y="163"/>
                  </a:lnTo>
                  <a:lnTo>
                    <a:pt x="25" y="142"/>
                  </a:lnTo>
                  <a:lnTo>
                    <a:pt x="37" y="138"/>
                  </a:lnTo>
                  <a:lnTo>
                    <a:pt x="15" y="136"/>
                  </a:lnTo>
                  <a:lnTo>
                    <a:pt x="12" y="128"/>
                  </a:lnTo>
                  <a:lnTo>
                    <a:pt x="27" y="123"/>
                  </a:lnTo>
                  <a:lnTo>
                    <a:pt x="19" y="111"/>
                  </a:lnTo>
                  <a:lnTo>
                    <a:pt x="21" y="102"/>
                  </a:lnTo>
                  <a:lnTo>
                    <a:pt x="42" y="102"/>
                  </a:lnTo>
                  <a:lnTo>
                    <a:pt x="44" y="90"/>
                  </a:lnTo>
                  <a:lnTo>
                    <a:pt x="35" y="79"/>
                  </a:lnTo>
                  <a:lnTo>
                    <a:pt x="19" y="75"/>
                  </a:lnTo>
                  <a:lnTo>
                    <a:pt x="15" y="71"/>
                  </a:lnTo>
                  <a:lnTo>
                    <a:pt x="21" y="63"/>
                  </a:lnTo>
                  <a:lnTo>
                    <a:pt x="15" y="57"/>
                  </a:lnTo>
                  <a:lnTo>
                    <a:pt x="8" y="65"/>
                  </a:lnTo>
                  <a:lnTo>
                    <a:pt x="8" y="46"/>
                  </a:lnTo>
                  <a:lnTo>
                    <a:pt x="0" y="36"/>
                  </a:lnTo>
                  <a:lnTo>
                    <a:pt x="6" y="15"/>
                  </a:lnTo>
                  <a:lnTo>
                    <a:pt x="15" y="0"/>
                  </a:lnTo>
                  <a:lnTo>
                    <a:pt x="27" y="2"/>
                  </a:lnTo>
                  <a:lnTo>
                    <a:pt x="4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161">
              <a:extLst>
                <a:ext uri="{FF2B5EF4-FFF2-40B4-BE49-F238E27FC236}">
                  <a16:creationId xmlns:a16="http://schemas.microsoft.com/office/drawing/2014/main" id="{1A020BCE-9C81-4F25-A961-138AFBDEA424}"/>
                </a:ext>
              </a:extLst>
            </p:cNvPr>
            <p:cNvSpPr>
              <a:spLocks/>
            </p:cNvSpPr>
            <p:nvPr/>
          </p:nvSpPr>
          <p:spPr bwMode="auto">
            <a:xfrm>
              <a:off x="2590801" y="2903867"/>
              <a:ext cx="23813" cy="28588"/>
            </a:xfrm>
            <a:custGeom>
              <a:avLst/>
              <a:gdLst>
                <a:gd name="T0" fmla="*/ 7 w 15"/>
                <a:gd name="T1" fmla="*/ 0 h 18"/>
                <a:gd name="T2" fmla="*/ 11 w 15"/>
                <a:gd name="T3" fmla="*/ 2 h 18"/>
                <a:gd name="T4" fmla="*/ 15 w 15"/>
                <a:gd name="T5" fmla="*/ 6 h 18"/>
                <a:gd name="T6" fmla="*/ 9 w 15"/>
                <a:gd name="T7" fmla="*/ 18 h 18"/>
                <a:gd name="T8" fmla="*/ 4 w 15"/>
                <a:gd name="T9" fmla="*/ 16 h 18"/>
                <a:gd name="T10" fmla="*/ 0 w 15"/>
                <a:gd name="T11" fmla="*/ 10 h 18"/>
                <a:gd name="T12" fmla="*/ 0 w 15"/>
                <a:gd name="T13" fmla="*/ 8 h 18"/>
                <a:gd name="T14" fmla="*/ 7 w 15"/>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8">
                  <a:moveTo>
                    <a:pt x="7" y="0"/>
                  </a:moveTo>
                  <a:lnTo>
                    <a:pt x="11" y="2"/>
                  </a:lnTo>
                  <a:lnTo>
                    <a:pt x="15" y="6"/>
                  </a:lnTo>
                  <a:lnTo>
                    <a:pt x="9" y="18"/>
                  </a:lnTo>
                  <a:lnTo>
                    <a:pt x="4" y="16"/>
                  </a:lnTo>
                  <a:lnTo>
                    <a:pt x="0" y="10"/>
                  </a:lnTo>
                  <a:lnTo>
                    <a:pt x="0" y="8"/>
                  </a:lnTo>
                  <a:lnTo>
                    <a:pt x="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163">
              <a:extLst>
                <a:ext uri="{FF2B5EF4-FFF2-40B4-BE49-F238E27FC236}">
                  <a16:creationId xmlns:a16="http://schemas.microsoft.com/office/drawing/2014/main" id="{70233644-0091-4120-8A2C-95E335BBCD49}"/>
                </a:ext>
              </a:extLst>
            </p:cNvPr>
            <p:cNvSpPr>
              <a:spLocks/>
            </p:cNvSpPr>
            <p:nvPr/>
          </p:nvSpPr>
          <p:spPr bwMode="auto">
            <a:xfrm>
              <a:off x="2511427" y="2889574"/>
              <a:ext cx="46038" cy="23824"/>
            </a:xfrm>
            <a:custGeom>
              <a:avLst/>
              <a:gdLst>
                <a:gd name="T0" fmla="*/ 9 w 29"/>
                <a:gd name="T1" fmla="*/ 0 h 15"/>
                <a:gd name="T2" fmla="*/ 29 w 29"/>
                <a:gd name="T3" fmla="*/ 0 h 15"/>
                <a:gd name="T4" fmla="*/ 29 w 29"/>
                <a:gd name="T5" fmla="*/ 4 h 15"/>
                <a:gd name="T6" fmla="*/ 11 w 29"/>
                <a:gd name="T7" fmla="*/ 15 h 15"/>
                <a:gd name="T8" fmla="*/ 4 w 29"/>
                <a:gd name="T9" fmla="*/ 15 h 15"/>
                <a:gd name="T10" fmla="*/ 0 w 29"/>
                <a:gd name="T11" fmla="*/ 9 h 15"/>
                <a:gd name="T12" fmla="*/ 9 w 29"/>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9" h="15">
                  <a:moveTo>
                    <a:pt x="9" y="0"/>
                  </a:moveTo>
                  <a:lnTo>
                    <a:pt x="29" y="0"/>
                  </a:lnTo>
                  <a:lnTo>
                    <a:pt x="29" y="4"/>
                  </a:lnTo>
                  <a:lnTo>
                    <a:pt x="11" y="15"/>
                  </a:lnTo>
                  <a:lnTo>
                    <a:pt x="4" y="15"/>
                  </a:lnTo>
                  <a:lnTo>
                    <a:pt x="0" y="9"/>
                  </a:lnTo>
                  <a:lnTo>
                    <a:pt x="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165">
              <a:extLst>
                <a:ext uri="{FF2B5EF4-FFF2-40B4-BE49-F238E27FC236}">
                  <a16:creationId xmlns:a16="http://schemas.microsoft.com/office/drawing/2014/main" id="{E2FDBB79-E536-4759-9D39-582827AB469E}"/>
                </a:ext>
              </a:extLst>
            </p:cNvPr>
            <p:cNvSpPr>
              <a:spLocks/>
            </p:cNvSpPr>
            <p:nvPr/>
          </p:nvSpPr>
          <p:spPr bwMode="auto">
            <a:xfrm>
              <a:off x="2441577" y="2787928"/>
              <a:ext cx="155575" cy="95293"/>
            </a:xfrm>
            <a:custGeom>
              <a:avLst/>
              <a:gdLst>
                <a:gd name="T0" fmla="*/ 17 w 98"/>
                <a:gd name="T1" fmla="*/ 0 h 60"/>
                <a:gd name="T2" fmla="*/ 27 w 98"/>
                <a:gd name="T3" fmla="*/ 2 h 60"/>
                <a:gd name="T4" fmla="*/ 30 w 98"/>
                <a:gd name="T5" fmla="*/ 12 h 60"/>
                <a:gd name="T6" fmla="*/ 38 w 98"/>
                <a:gd name="T7" fmla="*/ 8 h 60"/>
                <a:gd name="T8" fmla="*/ 46 w 98"/>
                <a:gd name="T9" fmla="*/ 14 h 60"/>
                <a:gd name="T10" fmla="*/ 61 w 98"/>
                <a:gd name="T11" fmla="*/ 21 h 60"/>
                <a:gd name="T12" fmla="*/ 77 w 98"/>
                <a:gd name="T13" fmla="*/ 29 h 60"/>
                <a:gd name="T14" fmla="*/ 77 w 98"/>
                <a:gd name="T15" fmla="*/ 41 h 60"/>
                <a:gd name="T16" fmla="*/ 86 w 98"/>
                <a:gd name="T17" fmla="*/ 39 h 60"/>
                <a:gd name="T18" fmla="*/ 98 w 98"/>
                <a:gd name="T19" fmla="*/ 46 h 60"/>
                <a:gd name="T20" fmla="*/ 86 w 98"/>
                <a:gd name="T21" fmla="*/ 52 h 60"/>
                <a:gd name="T22" fmla="*/ 63 w 98"/>
                <a:gd name="T23" fmla="*/ 46 h 60"/>
                <a:gd name="T24" fmla="*/ 55 w 98"/>
                <a:gd name="T25" fmla="*/ 37 h 60"/>
                <a:gd name="T26" fmla="*/ 42 w 98"/>
                <a:gd name="T27" fmla="*/ 48 h 60"/>
                <a:gd name="T28" fmla="*/ 21 w 98"/>
                <a:gd name="T29" fmla="*/ 60 h 60"/>
                <a:gd name="T30" fmla="*/ 17 w 98"/>
                <a:gd name="T31" fmla="*/ 46 h 60"/>
                <a:gd name="T32" fmla="*/ 0 w 98"/>
                <a:gd name="T33" fmla="*/ 48 h 60"/>
                <a:gd name="T34" fmla="*/ 9 w 98"/>
                <a:gd name="T35" fmla="*/ 39 h 60"/>
                <a:gd name="T36" fmla="*/ 11 w 98"/>
                <a:gd name="T37" fmla="*/ 20 h 60"/>
                <a:gd name="T38" fmla="*/ 17 w 98"/>
                <a:gd name="T3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60">
                  <a:moveTo>
                    <a:pt x="17" y="0"/>
                  </a:moveTo>
                  <a:lnTo>
                    <a:pt x="27" y="2"/>
                  </a:lnTo>
                  <a:lnTo>
                    <a:pt x="30" y="12"/>
                  </a:lnTo>
                  <a:lnTo>
                    <a:pt x="38" y="8"/>
                  </a:lnTo>
                  <a:lnTo>
                    <a:pt x="46" y="14"/>
                  </a:lnTo>
                  <a:lnTo>
                    <a:pt x="61" y="21"/>
                  </a:lnTo>
                  <a:lnTo>
                    <a:pt x="77" y="29"/>
                  </a:lnTo>
                  <a:lnTo>
                    <a:pt x="77" y="41"/>
                  </a:lnTo>
                  <a:lnTo>
                    <a:pt x="86" y="39"/>
                  </a:lnTo>
                  <a:lnTo>
                    <a:pt x="98" y="46"/>
                  </a:lnTo>
                  <a:lnTo>
                    <a:pt x="86" y="52"/>
                  </a:lnTo>
                  <a:lnTo>
                    <a:pt x="63" y="46"/>
                  </a:lnTo>
                  <a:lnTo>
                    <a:pt x="55" y="37"/>
                  </a:lnTo>
                  <a:lnTo>
                    <a:pt x="42" y="48"/>
                  </a:lnTo>
                  <a:lnTo>
                    <a:pt x="21" y="60"/>
                  </a:lnTo>
                  <a:lnTo>
                    <a:pt x="17" y="46"/>
                  </a:lnTo>
                  <a:lnTo>
                    <a:pt x="0" y="48"/>
                  </a:lnTo>
                  <a:lnTo>
                    <a:pt x="9" y="39"/>
                  </a:lnTo>
                  <a:lnTo>
                    <a:pt x="11" y="20"/>
                  </a:lnTo>
                  <a:lnTo>
                    <a:pt x="1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167">
              <a:extLst>
                <a:ext uri="{FF2B5EF4-FFF2-40B4-BE49-F238E27FC236}">
                  <a16:creationId xmlns:a16="http://schemas.microsoft.com/office/drawing/2014/main" id="{6142F183-880B-4F7B-917A-4A4EE1D73DB3}"/>
                </a:ext>
              </a:extLst>
            </p:cNvPr>
            <p:cNvSpPr>
              <a:spLocks/>
            </p:cNvSpPr>
            <p:nvPr/>
          </p:nvSpPr>
          <p:spPr bwMode="auto">
            <a:xfrm>
              <a:off x="3830638" y="2757751"/>
              <a:ext cx="236538" cy="109588"/>
            </a:xfrm>
            <a:custGeom>
              <a:avLst/>
              <a:gdLst>
                <a:gd name="T0" fmla="*/ 113 w 149"/>
                <a:gd name="T1" fmla="*/ 0 h 69"/>
                <a:gd name="T2" fmla="*/ 136 w 149"/>
                <a:gd name="T3" fmla="*/ 2 h 69"/>
                <a:gd name="T4" fmla="*/ 132 w 149"/>
                <a:gd name="T5" fmla="*/ 17 h 69"/>
                <a:gd name="T6" fmla="*/ 149 w 149"/>
                <a:gd name="T7" fmla="*/ 33 h 69"/>
                <a:gd name="T8" fmla="*/ 132 w 149"/>
                <a:gd name="T9" fmla="*/ 50 h 69"/>
                <a:gd name="T10" fmla="*/ 92 w 149"/>
                <a:gd name="T11" fmla="*/ 65 h 69"/>
                <a:gd name="T12" fmla="*/ 78 w 149"/>
                <a:gd name="T13" fmla="*/ 69 h 69"/>
                <a:gd name="T14" fmla="*/ 61 w 149"/>
                <a:gd name="T15" fmla="*/ 65 h 69"/>
                <a:gd name="T16" fmla="*/ 21 w 149"/>
                <a:gd name="T17" fmla="*/ 60 h 69"/>
                <a:gd name="T18" fmla="*/ 36 w 149"/>
                <a:gd name="T19" fmla="*/ 50 h 69"/>
                <a:gd name="T20" fmla="*/ 4 w 149"/>
                <a:gd name="T21" fmla="*/ 37 h 69"/>
                <a:gd name="T22" fmla="*/ 29 w 149"/>
                <a:gd name="T23" fmla="*/ 35 h 69"/>
                <a:gd name="T24" fmla="*/ 29 w 149"/>
                <a:gd name="T25" fmla="*/ 27 h 69"/>
                <a:gd name="T26" fmla="*/ 0 w 149"/>
                <a:gd name="T27" fmla="*/ 23 h 69"/>
                <a:gd name="T28" fmla="*/ 9 w 149"/>
                <a:gd name="T29" fmla="*/ 8 h 69"/>
                <a:gd name="T30" fmla="*/ 30 w 149"/>
                <a:gd name="T31" fmla="*/ 4 h 69"/>
                <a:gd name="T32" fmla="*/ 53 w 149"/>
                <a:gd name="T33" fmla="*/ 19 h 69"/>
                <a:gd name="T34" fmla="*/ 73 w 149"/>
                <a:gd name="T35" fmla="*/ 6 h 69"/>
                <a:gd name="T36" fmla="*/ 92 w 149"/>
                <a:gd name="T37" fmla="*/ 12 h 69"/>
                <a:gd name="T38" fmla="*/ 113 w 149"/>
                <a:gd name="T3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69">
                  <a:moveTo>
                    <a:pt x="113" y="0"/>
                  </a:moveTo>
                  <a:lnTo>
                    <a:pt x="136" y="2"/>
                  </a:lnTo>
                  <a:lnTo>
                    <a:pt x="132" y="17"/>
                  </a:lnTo>
                  <a:lnTo>
                    <a:pt x="149" y="33"/>
                  </a:lnTo>
                  <a:lnTo>
                    <a:pt x="132" y="50"/>
                  </a:lnTo>
                  <a:lnTo>
                    <a:pt x="92" y="65"/>
                  </a:lnTo>
                  <a:lnTo>
                    <a:pt x="78" y="69"/>
                  </a:lnTo>
                  <a:lnTo>
                    <a:pt x="61" y="65"/>
                  </a:lnTo>
                  <a:lnTo>
                    <a:pt x="21" y="60"/>
                  </a:lnTo>
                  <a:lnTo>
                    <a:pt x="36" y="50"/>
                  </a:lnTo>
                  <a:lnTo>
                    <a:pt x="4" y="37"/>
                  </a:lnTo>
                  <a:lnTo>
                    <a:pt x="29" y="35"/>
                  </a:lnTo>
                  <a:lnTo>
                    <a:pt x="29" y="27"/>
                  </a:lnTo>
                  <a:lnTo>
                    <a:pt x="0" y="23"/>
                  </a:lnTo>
                  <a:lnTo>
                    <a:pt x="9" y="8"/>
                  </a:lnTo>
                  <a:lnTo>
                    <a:pt x="30" y="4"/>
                  </a:lnTo>
                  <a:lnTo>
                    <a:pt x="53" y="19"/>
                  </a:lnTo>
                  <a:lnTo>
                    <a:pt x="73" y="6"/>
                  </a:lnTo>
                  <a:lnTo>
                    <a:pt x="92" y="12"/>
                  </a:lnTo>
                  <a:lnTo>
                    <a:pt x="11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169">
              <a:extLst>
                <a:ext uri="{FF2B5EF4-FFF2-40B4-BE49-F238E27FC236}">
                  <a16:creationId xmlns:a16="http://schemas.microsoft.com/office/drawing/2014/main" id="{5D7E0446-3028-4393-8FE5-8A86923C0CCA}"/>
                </a:ext>
              </a:extLst>
            </p:cNvPr>
            <p:cNvSpPr>
              <a:spLocks/>
            </p:cNvSpPr>
            <p:nvPr/>
          </p:nvSpPr>
          <p:spPr bwMode="auto">
            <a:xfrm>
              <a:off x="2660651" y="2694222"/>
              <a:ext cx="46038" cy="46059"/>
            </a:xfrm>
            <a:custGeom>
              <a:avLst/>
              <a:gdLst>
                <a:gd name="T0" fmla="*/ 17 w 29"/>
                <a:gd name="T1" fmla="*/ 0 h 29"/>
                <a:gd name="T2" fmla="*/ 29 w 29"/>
                <a:gd name="T3" fmla="*/ 6 h 29"/>
                <a:gd name="T4" fmla="*/ 29 w 29"/>
                <a:gd name="T5" fmla="*/ 11 h 29"/>
                <a:gd name="T6" fmla="*/ 29 w 29"/>
                <a:gd name="T7" fmla="*/ 15 h 29"/>
                <a:gd name="T8" fmla="*/ 27 w 29"/>
                <a:gd name="T9" fmla="*/ 19 h 29"/>
                <a:gd name="T10" fmla="*/ 17 w 29"/>
                <a:gd name="T11" fmla="*/ 27 h 29"/>
                <a:gd name="T12" fmla="*/ 4 w 29"/>
                <a:gd name="T13" fmla="*/ 29 h 29"/>
                <a:gd name="T14" fmla="*/ 0 w 29"/>
                <a:gd name="T15" fmla="*/ 15 h 29"/>
                <a:gd name="T16" fmla="*/ 4 w 29"/>
                <a:gd name="T17" fmla="*/ 2 h 29"/>
                <a:gd name="T18" fmla="*/ 17 w 29"/>
                <a:gd name="T1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7" y="0"/>
                  </a:moveTo>
                  <a:lnTo>
                    <a:pt x="29" y="6"/>
                  </a:lnTo>
                  <a:lnTo>
                    <a:pt x="29" y="11"/>
                  </a:lnTo>
                  <a:lnTo>
                    <a:pt x="29" y="15"/>
                  </a:lnTo>
                  <a:lnTo>
                    <a:pt x="27" y="19"/>
                  </a:lnTo>
                  <a:lnTo>
                    <a:pt x="17" y="27"/>
                  </a:lnTo>
                  <a:lnTo>
                    <a:pt x="4" y="29"/>
                  </a:lnTo>
                  <a:lnTo>
                    <a:pt x="0" y="15"/>
                  </a:lnTo>
                  <a:lnTo>
                    <a:pt x="4" y="2"/>
                  </a:lnTo>
                  <a:lnTo>
                    <a:pt x="1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171">
              <a:extLst>
                <a:ext uri="{FF2B5EF4-FFF2-40B4-BE49-F238E27FC236}">
                  <a16:creationId xmlns:a16="http://schemas.microsoft.com/office/drawing/2014/main" id="{A919673F-3E5A-4D2D-9ABA-6FD6C6A5471B}"/>
                </a:ext>
              </a:extLst>
            </p:cNvPr>
            <p:cNvSpPr>
              <a:spLocks/>
            </p:cNvSpPr>
            <p:nvPr/>
          </p:nvSpPr>
          <p:spPr bwMode="auto">
            <a:xfrm>
              <a:off x="2160589" y="2621164"/>
              <a:ext cx="92075" cy="53999"/>
            </a:xfrm>
            <a:custGeom>
              <a:avLst/>
              <a:gdLst>
                <a:gd name="T0" fmla="*/ 21 w 58"/>
                <a:gd name="T1" fmla="*/ 0 h 34"/>
                <a:gd name="T2" fmla="*/ 37 w 58"/>
                <a:gd name="T3" fmla="*/ 7 h 34"/>
                <a:gd name="T4" fmla="*/ 44 w 58"/>
                <a:gd name="T5" fmla="*/ 11 h 34"/>
                <a:gd name="T6" fmla="*/ 50 w 58"/>
                <a:gd name="T7" fmla="*/ 17 h 34"/>
                <a:gd name="T8" fmla="*/ 58 w 58"/>
                <a:gd name="T9" fmla="*/ 25 h 34"/>
                <a:gd name="T10" fmla="*/ 50 w 58"/>
                <a:gd name="T11" fmla="*/ 34 h 34"/>
                <a:gd name="T12" fmla="*/ 31 w 58"/>
                <a:gd name="T13" fmla="*/ 27 h 34"/>
                <a:gd name="T14" fmla="*/ 19 w 58"/>
                <a:gd name="T15" fmla="*/ 29 h 34"/>
                <a:gd name="T16" fmla="*/ 0 w 58"/>
                <a:gd name="T17" fmla="*/ 19 h 34"/>
                <a:gd name="T18" fmla="*/ 12 w 58"/>
                <a:gd name="T19" fmla="*/ 9 h 34"/>
                <a:gd name="T20" fmla="*/ 21 w 58"/>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34">
                  <a:moveTo>
                    <a:pt x="21" y="0"/>
                  </a:moveTo>
                  <a:lnTo>
                    <a:pt x="37" y="7"/>
                  </a:lnTo>
                  <a:lnTo>
                    <a:pt x="44" y="11"/>
                  </a:lnTo>
                  <a:lnTo>
                    <a:pt x="50" y="17"/>
                  </a:lnTo>
                  <a:lnTo>
                    <a:pt x="58" y="25"/>
                  </a:lnTo>
                  <a:lnTo>
                    <a:pt x="50" y="34"/>
                  </a:lnTo>
                  <a:lnTo>
                    <a:pt x="31" y="27"/>
                  </a:lnTo>
                  <a:lnTo>
                    <a:pt x="19" y="29"/>
                  </a:lnTo>
                  <a:lnTo>
                    <a:pt x="0" y="19"/>
                  </a:lnTo>
                  <a:lnTo>
                    <a:pt x="12" y="9"/>
                  </a:lnTo>
                  <a:lnTo>
                    <a:pt x="2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173">
              <a:extLst>
                <a:ext uri="{FF2B5EF4-FFF2-40B4-BE49-F238E27FC236}">
                  <a16:creationId xmlns:a16="http://schemas.microsoft.com/office/drawing/2014/main" id="{D52997DA-CB80-4F9E-AA78-52A63301CD16}"/>
                </a:ext>
              </a:extLst>
            </p:cNvPr>
            <p:cNvSpPr>
              <a:spLocks/>
            </p:cNvSpPr>
            <p:nvPr/>
          </p:nvSpPr>
          <p:spPr bwMode="auto">
            <a:xfrm>
              <a:off x="8320087" y="2562401"/>
              <a:ext cx="82550" cy="31764"/>
            </a:xfrm>
            <a:custGeom>
              <a:avLst/>
              <a:gdLst>
                <a:gd name="T0" fmla="*/ 19 w 52"/>
                <a:gd name="T1" fmla="*/ 0 h 20"/>
                <a:gd name="T2" fmla="*/ 33 w 52"/>
                <a:gd name="T3" fmla="*/ 0 h 20"/>
                <a:gd name="T4" fmla="*/ 52 w 52"/>
                <a:gd name="T5" fmla="*/ 10 h 20"/>
                <a:gd name="T6" fmla="*/ 50 w 52"/>
                <a:gd name="T7" fmla="*/ 12 h 20"/>
                <a:gd name="T8" fmla="*/ 37 w 52"/>
                <a:gd name="T9" fmla="*/ 18 h 20"/>
                <a:gd name="T10" fmla="*/ 19 w 52"/>
                <a:gd name="T11" fmla="*/ 20 h 20"/>
                <a:gd name="T12" fmla="*/ 4 w 52"/>
                <a:gd name="T13" fmla="*/ 20 h 20"/>
                <a:gd name="T14" fmla="*/ 0 w 52"/>
                <a:gd name="T15" fmla="*/ 12 h 20"/>
                <a:gd name="T16" fmla="*/ 19 w 52"/>
                <a:gd name="T17" fmla="*/ 2 h 20"/>
                <a:gd name="T18" fmla="*/ 19 w 52"/>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20">
                  <a:moveTo>
                    <a:pt x="19" y="0"/>
                  </a:moveTo>
                  <a:lnTo>
                    <a:pt x="33" y="0"/>
                  </a:lnTo>
                  <a:lnTo>
                    <a:pt x="52" y="10"/>
                  </a:lnTo>
                  <a:lnTo>
                    <a:pt x="50" y="12"/>
                  </a:lnTo>
                  <a:lnTo>
                    <a:pt x="37" y="18"/>
                  </a:lnTo>
                  <a:lnTo>
                    <a:pt x="19" y="20"/>
                  </a:lnTo>
                  <a:lnTo>
                    <a:pt x="4" y="20"/>
                  </a:lnTo>
                  <a:lnTo>
                    <a:pt x="0" y="12"/>
                  </a:lnTo>
                  <a:lnTo>
                    <a:pt x="19" y="2"/>
                  </a:lnTo>
                  <a:lnTo>
                    <a:pt x="1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175">
              <a:extLst>
                <a:ext uri="{FF2B5EF4-FFF2-40B4-BE49-F238E27FC236}">
                  <a16:creationId xmlns:a16="http://schemas.microsoft.com/office/drawing/2014/main" id="{AAEA2BAD-FEF1-45B6-8E07-4175D95DE49F}"/>
                </a:ext>
              </a:extLst>
            </p:cNvPr>
            <p:cNvSpPr>
              <a:spLocks/>
            </p:cNvSpPr>
            <p:nvPr/>
          </p:nvSpPr>
          <p:spPr bwMode="auto">
            <a:xfrm>
              <a:off x="649289" y="2548106"/>
              <a:ext cx="2952749" cy="3276493"/>
            </a:xfrm>
            <a:custGeom>
              <a:avLst/>
              <a:gdLst>
                <a:gd name="T0" fmla="*/ 1221 w 1860"/>
                <a:gd name="T1" fmla="*/ 1128 h 2063"/>
                <a:gd name="T2" fmla="*/ 1173 w 1860"/>
                <a:gd name="T3" fmla="*/ 1101 h 2063"/>
                <a:gd name="T4" fmla="*/ 1138 w 1860"/>
                <a:gd name="T5" fmla="*/ 1067 h 2063"/>
                <a:gd name="T6" fmla="*/ 1081 w 1860"/>
                <a:gd name="T7" fmla="*/ 1036 h 2063"/>
                <a:gd name="T8" fmla="*/ 927 w 1860"/>
                <a:gd name="T9" fmla="*/ 982 h 2063"/>
                <a:gd name="T10" fmla="*/ 864 w 1860"/>
                <a:gd name="T11" fmla="*/ 908 h 2063"/>
                <a:gd name="T12" fmla="*/ 766 w 1860"/>
                <a:gd name="T13" fmla="*/ 789 h 2063"/>
                <a:gd name="T14" fmla="*/ 778 w 1860"/>
                <a:gd name="T15" fmla="*/ 838 h 2063"/>
                <a:gd name="T16" fmla="*/ 787 w 1860"/>
                <a:gd name="T17" fmla="*/ 883 h 2063"/>
                <a:gd name="T18" fmla="*/ 733 w 1860"/>
                <a:gd name="T19" fmla="*/ 806 h 2063"/>
                <a:gd name="T20" fmla="*/ 636 w 1860"/>
                <a:gd name="T21" fmla="*/ 683 h 2063"/>
                <a:gd name="T22" fmla="*/ 607 w 1860"/>
                <a:gd name="T23" fmla="*/ 499 h 2063"/>
                <a:gd name="T24" fmla="*/ 524 w 1860"/>
                <a:gd name="T25" fmla="*/ 380 h 2063"/>
                <a:gd name="T26" fmla="*/ 279 w 1860"/>
                <a:gd name="T27" fmla="*/ 263 h 2063"/>
                <a:gd name="T28" fmla="*/ 179 w 1860"/>
                <a:gd name="T29" fmla="*/ 322 h 2063"/>
                <a:gd name="T30" fmla="*/ 106 w 1860"/>
                <a:gd name="T31" fmla="*/ 357 h 2063"/>
                <a:gd name="T32" fmla="*/ 87 w 1860"/>
                <a:gd name="T33" fmla="*/ 291 h 2063"/>
                <a:gd name="T34" fmla="*/ 104 w 1860"/>
                <a:gd name="T35" fmla="*/ 195 h 2063"/>
                <a:gd name="T36" fmla="*/ 60 w 1860"/>
                <a:gd name="T37" fmla="*/ 142 h 2063"/>
                <a:gd name="T38" fmla="*/ 162 w 1860"/>
                <a:gd name="T39" fmla="*/ 17 h 2063"/>
                <a:gd name="T40" fmla="*/ 426 w 1860"/>
                <a:gd name="T41" fmla="*/ 75 h 2063"/>
                <a:gd name="T42" fmla="*/ 634 w 1860"/>
                <a:gd name="T43" fmla="*/ 53 h 2063"/>
                <a:gd name="T44" fmla="*/ 854 w 1860"/>
                <a:gd name="T45" fmla="*/ 80 h 2063"/>
                <a:gd name="T46" fmla="*/ 1029 w 1860"/>
                <a:gd name="T47" fmla="*/ 73 h 2063"/>
                <a:gd name="T48" fmla="*/ 1127 w 1860"/>
                <a:gd name="T49" fmla="*/ 119 h 2063"/>
                <a:gd name="T50" fmla="*/ 1129 w 1860"/>
                <a:gd name="T51" fmla="*/ 163 h 2063"/>
                <a:gd name="T52" fmla="*/ 1102 w 1860"/>
                <a:gd name="T53" fmla="*/ 339 h 2063"/>
                <a:gd name="T54" fmla="*/ 1253 w 1860"/>
                <a:gd name="T55" fmla="*/ 374 h 2063"/>
                <a:gd name="T56" fmla="*/ 1348 w 1860"/>
                <a:gd name="T57" fmla="*/ 251 h 2063"/>
                <a:gd name="T58" fmla="*/ 1536 w 1860"/>
                <a:gd name="T59" fmla="*/ 378 h 2063"/>
                <a:gd name="T60" fmla="*/ 1388 w 1860"/>
                <a:gd name="T61" fmla="*/ 487 h 2063"/>
                <a:gd name="T62" fmla="*/ 1511 w 1860"/>
                <a:gd name="T63" fmla="*/ 543 h 2063"/>
                <a:gd name="T64" fmla="*/ 1355 w 1860"/>
                <a:gd name="T65" fmla="*/ 595 h 2063"/>
                <a:gd name="T66" fmla="*/ 1340 w 1860"/>
                <a:gd name="T67" fmla="*/ 627 h 2063"/>
                <a:gd name="T68" fmla="*/ 1284 w 1860"/>
                <a:gd name="T69" fmla="*/ 689 h 2063"/>
                <a:gd name="T70" fmla="*/ 1253 w 1860"/>
                <a:gd name="T71" fmla="*/ 739 h 2063"/>
                <a:gd name="T72" fmla="*/ 1227 w 1860"/>
                <a:gd name="T73" fmla="*/ 863 h 2063"/>
                <a:gd name="T74" fmla="*/ 1148 w 1860"/>
                <a:gd name="T75" fmla="*/ 798 h 2063"/>
                <a:gd name="T76" fmla="*/ 1044 w 1860"/>
                <a:gd name="T77" fmla="*/ 804 h 2063"/>
                <a:gd name="T78" fmla="*/ 985 w 1860"/>
                <a:gd name="T79" fmla="*/ 929 h 2063"/>
                <a:gd name="T80" fmla="*/ 1094 w 1860"/>
                <a:gd name="T81" fmla="*/ 931 h 2063"/>
                <a:gd name="T82" fmla="*/ 1113 w 1860"/>
                <a:gd name="T83" fmla="*/ 975 h 2063"/>
                <a:gd name="T84" fmla="*/ 1123 w 1860"/>
                <a:gd name="T85" fmla="*/ 1007 h 2063"/>
                <a:gd name="T86" fmla="*/ 1181 w 1860"/>
                <a:gd name="T87" fmla="*/ 1015 h 2063"/>
                <a:gd name="T88" fmla="*/ 1177 w 1860"/>
                <a:gd name="T89" fmla="*/ 1078 h 2063"/>
                <a:gd name="T90" fmla="*/ 1248 w 1860"/>
                <a:gd name="T91" fmla="*/ 1099 h 2063"/>
                <a:gd name="T92" fmla="*/ 1344 w 1860"/>
                <a:gd name="T93" fmla="*/ 1055 h 2063"/>
                <a:gd name="T94" fmla="*/ 1363 w 1860"/>
                <a:gd name="T95" fmla="*/ 1065 h 2063"/>
                <a:gd name="T96" fmla="*/ 1474 w 1860"/>
                <a:gd name="T97" fmla="*/ 1090 h 2063"/>
                <a:gd name="T98" fmla="*/ 1591 w 1860"/>
                <a:gd name="T99" fmla="*/ 1151 h 2063"/>
                <a:gd name="T100" fmla="*/ 1693 w 1860"/>
                <a:gd name="T101" fmla="*/ 1243 h 2063"/>
                <a:gd name="T102" fmla="*/ 1846 w 1860"/>
                <a:gd name="T103" fmla="*/ 1364 h 2063"/>
                <a:gd name="T104" fmla="*/ 1743 w 1860"/>
                <a:gd name="T105" fmla="*/ 1556 h 2063"/>
                <a:gd name="T106" fmla="*/ 1601 w 1860"/>
                <a:gd name="T107" fmla="*/ 1719 h 2063"/>
                <a:gd name="T108" fmla="*/ 1490 w 1860"/>
                <a:gd name="T109" fmla="*/ 1802 h 2063"/>
                <a:gd name="T110" fmla="*/ 1434 w 1860"/>
                <a:gd name="T111" fmla="*/ 1892 h 2063"/>
                <a:gd name="T112" fmla="*/ 1376 w 1860"/>
                <a:gd name="T113" fmla="*/ 2032 h 2063"/>
                <a:gd name="T114" fmla="*/ 1301 w 1860"/>
                <a:gd name="T115" fmla="*/ 1915 h 2063"/>
                <a:gd name="T116" fmla="*/ 1348 w 1860"/>
                <a:gd name="T117" fmla="*/ 1698 h 2063"/>
                <a:gd name="T118" fmla="*/ 1278 w 1860"/>
                <a:gd name="T119" fmla="*/ 1424 h 2063"/>
                <a:gd name="T120" fmla="*/ 1223 w 1860"/>
                <a:gd name="T121" fmla="*/ 1268 h 2063"/>
                <a:gd name="T122" fmla="*/ 1263 w 1860"/>
                <a:gd name="T123" fmla="*/ 1184 h 2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0" h="2063">
                  <a:moveTo>
                    <a:pt x="1257" y="1128"/>
                  </a:moveTo>
                  <a:lnTo>
                    <a:pt x="1253" y="1126"/>
                  </a:lnTo>
                  <a:lnTo>
                    <a:pt x="1250" y="1117"/>
                  </a:lnTo>
                  <a:lnTo>
                    <a:pt x="1253" y="1115"/>
                  </a:lnTo>
                  <a:lnTo>
                    <a:pt x="1250" y="1115"/>
                  </a:lnTo>
                  <a:lnTo>
                    <a:pt x="1246" y="1109"/>
                  </a:lnTo>
                  <a:lnTo>
                    <a:pt x="1240" y="1105"/>
                  </a:lnTo>
                  <a:lnTo>
                    <a:pt x="1234" y="1105"/>
                  </a:lnTo>
                  <a:lnTo>
                    <a:pt x="1232" y="1111"/>
                  </a:lnTo>
                  <a:lnTo>
                    <a:pt x="1227" y="1115"/>
                  </a:lnTo>
                  <a:lnTo>
                    <a:pt x="1223" y="1115"/>
                  </a:lnTo>
                  <a:lnTo>
                    <a:pt x="1221" y="1117"/>
                  </a:lnTo>
                  <a:lnTo>
                    <a:pt x="1229" y="1126"/>
                  </a:lnTo>
                  <a:lnTo>
                    <a:pt x="1225" y="1128"/>
                  </a:lnTo>
                  <a:lnTo>
                    <a:pt x="1221" y="1128"/>
                  </a:lnTo>
                  <a:lnTo>
                    <a:pt x="1215" y="1128"/>
                  </a:lnTo>
                  <a:lnTo>
                    <a:pt x="1213" y="1121"/>
                  </a:lnTo>
                  <a:lnTo>
                    <a:pt x="1211" y="1124"/>
                  </a:lnTo>
                  <a:lnTo>
                    <a:pt x="1206" y="1122"/>
                  </a:lnTo>
                  <a:lnTo>
                    <a:pt x="1206" y="1117"/>
                  </a:lnTo>
                  <a:lnTo>
                    <a:pt x="1198" y="1115"/>
                  </a:lnTo>
                  <a:lnTo>
                    <a:pt x="1194" y="1115"/>
                  </a:lnTo>
                  <a:lnTo>
                    <a:pt x="1188" y="1115"/>
                  </a:lnTo>
                  <a:lnTo>
                    <a:pt x="1188" y="1117"/>
                  </a:lnTo>
                  <a:lnTo>
                    <a:pt x="1186" y="1115"/>
                  </a:lnTo>
                  <a:lnTo>
                    <a:pt x="1179" y="1113"/>
                  </a:lnTo>
                  <a:lnTo>
                    <a:pt x="1177" y="1109"/>
                  </a:lnTo>
                  <a:lnTo>
                    <a:pt x="1177" y="1107"/>
                  </a:lnTo>
                  <a:lnTo>
                    <a:pt x="1177" y="1105"/>
                  </a:lnTo>
                  <a:lnTo>
                    <a:pt x="1173" y="1101"/>
                  </a:lnTo>
                  <a:lnTo>
                    <a:pt x="1167" y="1098"/>
                  </a:lnTo>
                  <a:lnTo>
                    <a:pt x="1163" y="1096"/>
                  </a:lnTo>
                  <a:lnTo>
                    <a:pt x="1163" y="1092"/>
                  </a:lnTo>
                  <a:lnTo>
                    <a:pt x="1159" y="1088"/>
                  </a:lnTo>
                  <a:lnTo>
                    <a:pt x="1159" y="1094"/>
                  </a:lnTo>
                  <a:lnTo>
                    <a:pt x="1156" y="1098"/>
                  </a:lnTo>
                  <a:lnTo>
                    <a:pt x="1154" y="1092"/>
                  </a:lnTo>
                  <a:lnTo>
                    <a:pt x="1148" y="1092"/>
                  </a:lnTo>
                  <a:lnTo>
                    <a:pt x="1148" y="1088"/>
                  </a:lnTo>
                  <a:lnTo>
                    <a:pt x="1148" y="1084"/>
                  </a:lnTo>
                  <a:lnTo>
                    <a:pt x="1148" y="1080"/>
                  </a:lnTo>
                  <a:lnTo>
                    <a:pt x="1144" y="1078"/>
                  </a:lnTo>
                  <a:lnTo>
                    <a:pt x="1148" y="1076"/>
                  </a:lnTo>
                  <a:lnTo>
                    <a:pt x="1144" y="1071"/>
                  </a:lnTo>
                  <a:lnTo>
                    <a:pt x="1138" y="1067"/>
                  </a:lnTo>
                  <a:lnTo>
                    <a:pt x="1135" y="1061"/>
                  </a:lnTo>
                  <a:lnTo>
                    <a:pt x="1129" y="1055"/>
                  </a:lnTo>
                  <a:lnTo>
                    <a:pt x="1121" y="1050"/>
                  </a:lnTo>
                  <a:lnTo>
                    <a:pt x="1123" y="1048"/>
                  </a:lnTo>
                  <a:lnTo>
                    <a:pt x="1125" y="1050"/>
                  </a:lnTo>
                  <a:lnTo>
                    <a:pt x="1127" y="1050"/>
                  </a:lnTo>
                  <a:lnTo>
                    <a:pt x="1125" y="1044"/>
                  </a:lnTo>
                  <a:lnTo>
                    <a:pt x="1119" y="1042"/>
                  </a:lnTo>
                  <a:lnTo>
                    <a:pt x="1117" y="1046"/>
                  </a:lnTo>
                  <a:lnTo>
                    <a:pt x="1110" y="1046"/>
                  </a:lnTo>
                  <a:lnTo>
                    <a:pt x="1104" y="1046"/>
                  </a:lnTo>
                  <a:lnTo>
                    <a:pt x="1100" y="1042"/>
                  </a:lnTo>
                  <a:lnTo>
                    <a:pt x="1090" y="1040"/>
                  </a:lnTo>
                  <a:lnTo>
                    <a:pt x="1087" y="1038"/>
                  </a:lnTo>
                  <a:lnTo>
                    <a:pt x="1081" y="1036"/>
                  </a:lnTo>
                  <a:lnTo>
                    <a:pt x="1071" y="1036"/>
                  </a:lnTo>
                  <a:lnTo>
                    <a:pt x="1065" y="1032"/>
                  </a:lnTo>
                  <a:lnTo>
                    <a:pt x="1058" y="1026"/>
                  </a:lnTo>
                  <a:lnTo>
                    <a:pt x="1042" y="1011"/>
                  </a:lnTo>
                  <a:lnTo>
                    <a:pt x="1035" y="1007"/>
                  </a:lnTo>
                  <a:lnTo>
                    <a:pt x="1025" y="1003"/>
                  </a:lnTo>
                  <a:lnTo>
                    <a:pt x="1016" y="1003"/>
                  </a:lnTo>
                  <a:lnTo>
                    <a:pt x="1004" y="1009"/>
                  </a:lnTo>
                  <a:lnTo>
                    <a:pt x="996" y="1011"/>
                  </a:lnTo>
                  <a:lnTo>
                    <a:pt x="987" y="1007"/>
                  </a:lnTo>
                  <a:lnTo>
                    <a:pt x="977" y="1003"/>
                  </a:lnTo>
                  <a:lnTo>
                    <a:pt x="964" y="998"/>
                  </a:lnTo>
                  <a:lnTo>
                    <a:pt x="954" y="996"/>
                  </a:lnTo>
                  <a:lnTo>
                    <a:pt x="939" y="988"/>
                  </a:lnTo>
                  <a:lnTo>
                    <a:pt x="927" y="982"/>
                  </a:lnTo>
                  <a:lnTo>
                    <a:pt x="922" y="979"/>
                  </a:lnTo>
                  <a:lnTo>
                    <a:pt x="916" y="977"/>
                  </a:lnTo>
                  <a:lnTo>
                    <a:pt x="900" y="973"/>
                  </a:lnTo>
                  <a:lnTo>
                    <a:pt x="895" y="967"/>
                  </a:lnTo>
                  <a:lnTo>
                    <a:pt x="881" y="959"/>
                  </a:lnTo>
                  <a:lnTo>
                    <a:pt x="874" y="948"/>
                  </a:lnTo>
                  <a:lnTo>
                    <a:pt x="870" y="942"/>
                  </a:lnTo>
                  <a:lnTo>
                    <a:pt x="875" y="940"/>
                  </a:lnTo>
                  <a:lnTo>
                    <a:pt x="874" y="936"/>
                  </a:lnTo>
                  <a:lnTo>
                    <a:pt x="877" y="934"/>
                  </a:lnTo>
                  <a:lnTo>
                    <a:pt x="877" y="931"/>
                  </a:lnTo>
                  <a:lnTo>
                    <a:pt x="877" y="927"/>
                  </a:lnTo>
                  <a:lnTo>
                    <a:pt x="872" y="923"/>
                  </a:lnTo>
                  <a:lnTo>
                    <a:pt x="870" y="915"/>
                  </a:lnTo>
                  <a:lnTo>
                    <a:pt x="864" y="908"/>
                  </a:lnTo>
                  <a:lnTo>
                    <a:pt x="854" y="894"/>
                  </a:lnTo>
                  <a:lnTo>
                    <a:pt x="839" y="883"/>
                  </a:lnTo>
                  <a:lnTo>
                    <a:pt x="833" y="873"/>
                  </a:lnTo>
                  <a:lnTo>
                    <a:pt x="820" y="867"/>
                  </a:lnTo>
                  <a:lnTo>
                    <a:pt x="818" y="863"/>
                  </a:lnTo>
                  <a:lnTo>
                    <a:pt x="820" y="854"/>
                  </a:lnTo>
                  <a:lnTo>
                    <a:pt x="814" y="850"/>
                  </a:lnTo>
                  <a:lnTo>
                    <a:pt x="804" y="842"/>
                  </a:lnTo>
                  <a:lnTo>
                    <a:pt x="801" y="833"/>
                  </a:lnTo>
                  <a:lnTo>
                    <a:pt x="793" y="831"/>
                  </a:lnTo>
                  <a:lnTo>
                    <a:pt x="787" y="823"/>
                  </a:lnTo>
                  <a:lnTo>
                    <a:pt x="780" y="817"/>
                  </a:lnTo>
                  <a:lnTo>
                    <a:pt x="778" y="812"/>
                  </a:lnTo>
                  <a:lnTo>
                    <a:pt x="772" y="800"/>
                  </a:lnTo>
                  <a:lnTo>
                    <a:pt x="766" y="789"/>
                  </a:lnTo>
                  <a:lnTo>
                    <a:pt x="766" y="781"/>
                  </a:lnTo>
                  <a:lnTo>
                    <a:pt x="757" y="777"/>
                  </a:lnTo>
                  <a:lnTo>
                    <a:pt x="751" y="777"/>
                  </a:lnTo>
                  <a:lnTo>
                    <a:pt x="743" y="773"/>
                  </a:lnTo>
                  <a:lnTo>
                    <a:pt x="741" y="779"/>
                  </a:lnTo>
                  <a:lnTo>
                    <a:pt x="743" y="787"/>
                  </a:lnTo>
                  <a:lnTo>
                    <a:pt x="745" y="798"/>
                  </a:lnTo>
                  <a:lnTo>
                    <a:pt x="751" y="804"/>
                  </a:lnTo>
                  <a:lnTo>
                    <a:pt x="760" y="815"/>
                  </a:lnTo>
                  <a:lnTo>
                    <a:pt x="762" y="819"/>
                  </a:lnTo>
                  <a:lnTo>
                    <a:pt x="764" y="819"/>
                  </a:lnTo>
                  <a:lnTo>
                    <a:pt x="766" y="825"/>
                  </a:lnTo>
                  <a:lnTo>
                    <a:pt x="770" y="823"/>
                  </a:lnTo>
                  <a:lnTo>
                    <a:pt x="772" y="833"/>
                  </a:lnTo>
                  <a:lnTo>
                    <a:pt x="778" y="838"/>
                  </a:lnTo>
                  <a:lnTo>
                    <a:pt x="780" y="842"/>
                  </a:lnTo>
                  <a:lnTo>
                    <a:pt x="787" y="850"/>
                  </a:lnTo>
                  <a:lnTo>
                    <a:pt x="793" y="865"/>
                  </a:lnTo>
                  <a:lnTo>
                    <a:pt x="797" y="869"/>
                  </a:lnTo>
                  <a:lnTo>
                    <a:pt x="799" y="879"/>
                  </a:lnTo>
                  <a:lnTo>
                    <a:pt x="801" y="884"/>
                  </a:lnTo>
                  <a:lnTo>
                    <a:pt x="808" y="886"/>
                  </a:lnTo>
                  <a:lnTo>
                    <a:pt x="814" y="894"/>
                  </a:lnTo>
                  <a:lnTo>
                    <a:pt x="818" y="898"/>
                  </a:lnTo>
                  <a:lnTo>
                    <a:pt x="818" y="902"/>
                  </a:lnTo>
                  <a:lnTo>
                    <a:pt x="812" y="908"/>
                  </a:lnTo>
                  <a:lnTo>
                    <a:pt x="810" y="908"/>
                  </a:lnTo>
                  <a:lnTo>
                    <a:pt x="806" y="898"/>
                  </a:lnTo>
                  <a:lnTo>
                    <a:pt x="797" y="890"/>
                  </a:lnTo>
                  <a:lnTo>
                    <a:pt x="787" y="883"/>
                  </a:lnTo>
                  <a:lnTo>
                    <a:pt x="780" y="879"/>
                  </a:lnTo>
                  <a:lnTo>
                    <a:pt x="780" y="869"/>
                  </a:lnTo>
                  <a:lnTo>
                    <a:pt x="778" y="860"/>
                  </a:lnTo>
                  <a:lnTo>
                    <a:pt x="772" y="856"/>
                  </a:lnTo>
                  <a:lnTo>
                    <a:pt x="760" y="848"/>
                  </a:lnTo>
                  <a:lnTo>
                    <a:pt x="760" y="850"/>
                  </a:lnTo>
                  <a:lnTo>
                    <a:pt x="757" y="846"/>
                  </a:lnTo>
                  <a:lnTo>
                    <a:pt x="749" y="842"/>
                  </a:lnTo>
                  <a:lnTo>
                    <a:pt x="739" y="835"/>
                  </a:lnTo>
                  <a:lnTo>
                    <a:pt x="741" y="833"/>
                  </a:lnTo>
                  <a:lnTo>
                    <a:pt x="747" y="835"/>
                  </a:lnTo>
                  <a:lnTo>
                    <a:pt x="751" y="829"/>
                  </a:lnTo>
                  <a:lnTo>
                    <a:pt x="753" y="821"/>
                  </a:lnTo>
                  <a:lnTo>
                    <a:pt x="741" y="812"/>
                  </a:lnTo>
                  <a:lnTo>
                    <a:pt x="733" y="806"/>
                  </a:lnTo>
                  <a:lnTo>
                    <a:pt x="728" y="798"/>
                  </a:lnTo>
                  <a:lnTo>
                    <a:pt x="722" y="789"/>
                  </a:lnTo>
                  <a:lnTo>
                    <a:pt x="716" y="775"/>
                  </a:lnTo>
                  <a:lnTo>
                    <a:pt x="712" y="762"/>
                  </a:lnTo>
                  <a:lnTo>
                    <a:pt x="709" y="754"/>
                  </a:lnTo>
                  <a:lnTo>
                    <a:pt x="699" y="744"/>
                  </a:lnTo>
                  <a:lnTo>
                    <a:pt x="693" y="742"/>
                  </a:lnTo>
                  <a:lnTo>
                    <a:pt x="691" y="739"/>
                  </a:lnTo>
                  <a:lnTo>
                    <a:pt x="684" y="739"/>
                  </a:lnTo>
                  <a:lnTo>
                    <a:pt x="680" y="733"/>
                  </a:lnTo>
                  <a:lnTo>
                    <a:pt x="666" y="731"/>
                  </a:lnTo>
                  <a:lnTo>
                    <a:pt x="662" y="729"/>
                  </a:lnTo>
                  <a:lnTo>
                    <a:pt x="661" y="719"/>
                  </a:lnTo>
                  <a:lnTo>
                    <a:pt x="647" y="704"/>
                  </a:lnTo>
                  <a:lnTo>
                    <a:pt x="636" y="683"/>
                  </a:lnTo>
                  <a:lnTo>
                    <a:pt x="636" y="677"/>
                  </a:lnTo>
                  <a:lnTo>
                    <a:pt x="630" y="673"/>
                  </a:lnTo>
                  <a:lnTo>
                    <a:pt x="618" y="660"/>
                  </a:lnTo>
                  <a:lnTo>
                    <a:pt x="616" y="646"/>
                  </a:lnTo>
                  <a:lnTo>
                    <a:pt x="609" y="637"/>
                  </a:lnTo>
                  <a:lnTo>
                    <a:pt x="613" y="623"/>
                  </a:lnTo>
                  <a:lnTo>
                    <a:pt x="613" y="610"/>
                  </a:lnTo>
                  <a:lnTo>
                    <a:pt x="607" y="595"/>
                  </a:lnTo>
                  <a:lnTo>
                    <a:pt x="613" y="581"/>
                  </a:lnTo>
                  <a:lnTo>
                    <a:pt x="616" y="564"/>
                  </a:lnTo>
                  <a:lnTo>
                    <a:pt x="616" y="549"/>
                  </a:lnTo>
                  <a:lnTo>
                    <a:pt x="615" y="526"/>
                  </a:lnTo>
                  <a:lnTo>
                    <a:pt x="609" y="510"/>
                  </a:lnTo>
                  <a:lnTo>
                    <a:pt x="607" y="503"/>
                  </a:lnTo>
                  <a:lnTo>
                    <a:pt x="607" y="499"/>
                  </a:lnTo>
                  <a:lnTo>
                    <a:pt x="628" y="506"/>
                  </a:lnTo>
                  <a:lnTo>
                    <a:pt x="634" y="522"/>
                  </a:lnTo>
                  <a:lnTo>
                    <a:pt x="638" y="518"/>
                  </a:lnTo>
                  <a:lnTo>
                    <a:pt x="636" y="503"/>
                  </a:lnTo>
                  <a:lnTo>
                    <a:pt x="632" y="489"/>
                  </a:lnTo>
                  <a:lnTo>
                    <a:pt x="630" y="487"/>
                  </a:lnTo>
                  <a:lnTo>
                    <a:pt x="603" y="472"/>
                  </a:lnTo>
                  <a:lnTo>
                    <a:pt x="591" y="462"/>
                  </a:lnTo>
                  <a:lnTo>
                    <a:pt x="568" y="455"/>
                  </a:lnTo>
                  <a:lnTo>
                    <a:pt x="559" y="439"/>
                  </a:lnTo>
                  <a:lnTo>
                    <a:pt x="563" y="428"/>
                  </a:lnTo>
                  <a:lnTo>
                    <a:pt x="544" y="418"/>
                  </a:lnTo>
                  <a:lnTo>
                    <a:pt x="542" y="405"/>
                  </a:lnTo>
                  <a:lnTo>
                    <a:pt x="524" y="389"/>
                  </a:lnTo>
                  <a:lnTo>
                    <a:pt x="524" y="380"/>
                  </a:lnTo>
                  <a:lnTo>
                    <a:pt x="517" y="374"/>
                  </a:lnTo>
                  <a:lnTo>
                    <a:pt x="503" y="368"/>
                  </a:lnTo>
                  <a:lnTo>
                    <a:pt x="501" y="349"/>
                  </a:lnTo>
                  <a:lnTo>
                    <a:pt x="482" y="334"/>
                  </a:lnTo>
                  <a:lnTo>
                    <a:pt x="474" y="314"/>
                  </a:lnTo>
                  <a:lnTo>
                    <a:pt x="463" y="313"/>
                  </a:lnTo>
                  <a:lnTo>
                    <a:pt x="440" y="313"/>
                  </a:lnTo>
                  <a:lnTo>
                    <a:pt x="425" y="307"/>
                  </a:lnTo>
                  <a:lnTo>
                    <a:pt x="396" y="286"/>
                  </a:lnTo>
                  <a:lnTo>
                    <a:pt x="382" y="282"/>
                  </a:lnTo>
                  <a:lnTo>
                    <a:pt x="357" y="274"/>
                  </a:lnTo>
                  <a:lnTo>
                    <a:pt x="338" y="276"/>
                  </a:lnTo>
                  <a:lnTo>
                    <a:pt x="309" y="266"/>
                  </a:lnTo>
                  <a:lnTo>
                    <a:pt x="294" y="259"/>
                  </a:lnTo>
                  <a:lnTo>
                    <a:pt x="279" y="263"/>
                  </a:lnTo>
                  <a:lnTo>
                    <a:pt x="283" y="276"/>
                  </a:lnTo>
                  <a:lnTo>
                    <a:pt x="273" y="278"/>
                  </a:lnTo>
                  <a:lnTo>
                    <a:pt x="258" y="282"/>
                  </a:lnTo>
                  <a:lnTo>
                    <a:pt x="244" y="290"/>
                  </a:lnTo>
                  <a:lnTo>
                    <a:pt x="229" y="293"/>
                  </a:lnTo>
                  <a:lnTo>
                    <a:pt x="229" y="282"/>
                  </a:lnTo>
                  <a:lnTo>
                    <a:pt x="235" y="263"/>
                  </a:lnTo>
                  <a:lnTo>
                    <a:pt x="248" y="255"/>
                  </a:lnTo>
                  <a:lnTo>
                    <a:pt x="244" y="249"/>
                  </a:lnTo>
                  <a:lnTo>
                    <a:pt x="227" y="263"/>
                  </a:lnTo>
                  <a:lnTo>
                    <a:pt x="219" y="274"/>
                  </a:lnTo>
                  <a:lnTo>
                    <a:pt x="198" y="290"/>
                  </a:lnTo>
                  <a:lnTo>
                    <a:pt x="208" y="301"/>
                  </a:lnTo>
                  <a:lnTo>
                    <a:pt x="194" y="313"/>
                  </a:lnTo>
                  <a:lnTo>
                    <a:pt x="179" y="322"/>
                  </a:lnTo>
                  <a:lnTo>
                    <a:pt x="166" y="328"/>
                  </a:lnTo>
                  <a:lnTo>
                    <a:pt x="162" y="338"/>
                  </a:lnTo>
                  <a:lnTo>
                    <a:pt x="141" y="349"/>
                  </a:lnTo>
                  <a:lnTo>
                    <a:pt x="137" y="357"/>
                  </a:lnTo>
                  <a:lnTo>
                    <a:pt x="119" y="366"/>
                  </a:lnTo>
                  <a:lnTo>
                    <a:pt x="112" y="364"/>
                  </a:lnTo>
                  <a:lnTo>
                    <a:pt x="96" y="368"/>
                  </a:lnTo>
                  <a:lnTo>
                    <a:pt x="83" y="376"/>
                  </a:lnTo>
                  <a:lnTo>
                    <a:pt x="71" y="382"/>
                  </a:lnTo>
                  <a:lnTo>
                    <a:pt x="48" y="387"/>
                  </a:lnTo>
                  <a:lnTo>
                    <a:pt x="45" y="385"/>
                  </a:lnTo>
                  <a:lnTo>
                    <a:pt x="58" y="376"/>
                  </a:lnTo>
                  <a:lnTo>
                    <a:pt x="75" y="370"/>
                  </a:lnTo>
                  <a:lnTo>
                    <a:pt x="89" y="359"/>
                  </a:lnTo>
                  <a:lnTo>
                    <a:pt x="106" y="357"/>
                  </a:lnTo>
                  <a:lnTo>
                    <a:pt x="114" y="349"/>
                  </a:lnTo>
                  <a:lnTo>
                    <a:pt x="133" y="338"/>
                  </a:lnTo>
                  <a:lnTo>
                    <a:pt x="137" y="334"/>
                  </a:lnTo>
                  <a:lnTo>
                    <a:pt x="146" y="326"/>
                  </a:lnTo>
                  <a:lnTo>
                    <a:pt x="148" y="311"/>
                  </a:lnTo>
                  <a:lnTo>
                    <a:pt x="156" y="299"/>
                  </a:lnTo>
                  <a:lnTo>
                    <a:pt x="139" y="305"/>
                  </a:lnTo>
                  <a:lnTo>
                    <a:pt x="135" y="301"/>
                  </a:lnTo>
                  <a:lnTo>
                    <a:pt x="127" y="309"/>
                  </a:lnTo>
                  <a:lnTo>
                    <a:pt x="118" y="299"/>
                  </a:lnTo>
                  <a:lnTo>
                    <a:pt x="114" y="305"/>
                  </a:lnTo>
                  <a:lnTo>
                    <a:pt x="110" y="295"/>
                  </a:lnTo>
                  <a:lnTo>
                    <a:pt x="96" y="303"/>
                  </a:lnTo>
                  <a:lnTo>
                    <a:pt x="87" y="303"/>
                  </a:lnTo>
                  <a:lnTo>
                    <a:pt x="87" y="291"/>
                  </a:lnTo>
                  <a:lnTo>
                    <a:pt x="87" y="284"/>
                  </a:lnTo>
                  <a:lnTo>
                    <a:pt x="79" y="276"/>
                  </a:lnTo>
                  <a:lnTo>
                    <a:pt x="60" y="280"/>
                  </a:lnTo>
                  <a:lnTo>
                    <a:pt x="48" y="270"/>
                  </a:lnTo>
                  <a:lnTo>
                    <a:pt x="39" y="265"/>
                  </a:lnTo>
                  <a:lnTo>
                    <a:pt x="39" y="253"/>
                  </a:lnTo>
                  <a:lnTo>
                    <a:pt x="29" y="245"/>
                  </a:lnTo>
                  <a:lnTo>
                    <a:pt x="35" y="232"/>
                  </a:lnTo>
                  <a:lnTo>
                    <a:pt x="47" y="220"/>
                  </a:lnTo>
                  <a:lnTo>
                    <a:pt x="50" y="209"/>
                  </a:lnTo>
                  <a:lnTo>
                    <a:pt x="60" y="207"/>
                  </a:lnTo>
                  <a:lnTo>
                    <a:pt x="71" y="211"/>
                  </a:lnTo>
                  <a:lnTo>
                    <a:pt x="83" y="199"/>
                  </a:lnTo>
                  <a:lnTo>
                    <a:pt x="93" y="201"/>
                  </a:lnTo>
                  <a:lnTo>
                    <a:pt x="104" y="195"/>
                  </a:lnTo>
                  <a:lnTo>
                    <a:pt x="100" y="184"/>
                  </a:lnTo>
                  <a:lnTo>
                    <a:pt x="93" y="182"/>
                  </a:lnTo>
                  <a:lnTo>
                    <a:pt x="104" y="172"/>
                  </a:lnTo>
                  <a:lnTo>
                    <a:pt x="95" y="172"/>
                  </a:lnTo>
                  <a:lnTo>
                    <a:pt x="79" y="178"/>
                  </a:lnTo>
                  <a:lnTo>
                    <a:pt x="77" y="182"/>
                  </a:lnTo>
                  <a:lnTo>
                    <a:pt x="64" y="178"/>
                  </a:lnTo>
                  <a:lnTo>
                    <a:pt x="45" y="180"/>
                  </a:lnTo>
                  <a:lnTo>
                    <a:pt x="24" y="174"/>
                  </a:lnTo>
                  <a:lnTo>
                    <a:pt x="20" y="167"/>
                  </a:lnTo>
                  <a:lnTo>
                    <a:pt x="0" y="153"/>
                  </a:lnTo>
                  <a:lnTo>
                    <a:pt x="20" y="142"/>
                  </a:lnTo>
                  <a:lnTo>
                    <a:pt x="50" y="132"/>
                  </a:lnTo>
                  <a:lnTo>
                    <a:pt x="62" y="132"/>
                  </a:lnTo>
                  <a:lnTo>
                    <a:pt x="60" y="142"/>
                  </a:lnTo>
                  <a:lnTo>
                    <a:pt x="91" y="142"/>
                  </a:lnTo>
                  <a:lnTo>
                    <a:pt x="79" y="128"/>
                  </a:lnTo>
                  <a:lnTo>
                    <a:pt x="62" y="121"/>
                  </a:lnTo>
                  <a:lnTo>
                    <a:pt x="52" y="107"/>
                  </a:lnTo>
                  <a:lnTo>
                    <a:pt x="39" y="98"/>
                  </a:lnTo>
                  <a:lnTo>
                    <a:pt x="20" y="90"/>
                  </a:lnTo>
                  <a:lnTo>
                    <a:pt x="27" y="76"/>
                  </a:lnTo>
                  <a:lnTo>
                    <a:pt x="52" y="76"/>
                  </a:lnTo>
                  <a:lnTo>
                    <a:pt x="70" y="65"/>
                  </a:lnTo>
                  <a:lnTo>
                    <a:pt x="73" y="53"/>
                  </a:lnTo>
                  <a:lnTo>
                    <a:pt x="87" y="40"/>
                  </a:lnTo>
                  <a:lnTo>
                    <a:pt x="100" y="38"/>
                  </a:lnTo>
                  <a:lnTo>
                    <a:pt x="127" y="27"/>
                  </a:lnTo>
                  <a:lnTo>
                    <a:pt x="141" y="29"/>
                  </a:lnTo>
                  <a:lnTo>
                    <a:pt x="162" y="17"/>
                  </a:lnTo>
                  <a:lnTo>
                    <a:pt x="183" y="21"/>
                  </a:lnTo>
                  <a:lnTo>
                    <a:pt x="192" y="32"/>
                  </a:lnTo>
                  <a:lnTo>
                    <a:pt x="200" y="27"/>
                  </a:lnTo>
                  <a:lnTo>
                    <a:pt x="223" y="29"/>
                  </a:lnTo>
                  <a:lnTo>
                    <a:pt x="221" y="34"/>
                  </a:lnTo>
                  <a:lnTo>
                    <a:pt x="242" y="38"/>
                  </a:lnTo>
                  <a:lnTo>
                    <a:pt x="258" y="36"/>
                  </a:lnTo>
                  <a:lnTo>
                    <a:pt x="286" y="44"/>
                  </a:lnTo>
                  <a:lnTo>
                    <a:pt x="313" y="46"/>
                  </a:lnTo>
                  <a:lnTo>
                    <a:pt x="325" y="50"/>
                  </a:lnTo>
                  <a:lnTo>
                    <a:pt x="344" y="46"/>
                  </a:lnTo>
                  <a:lnTo>
                    <a:pt x="363" y="53"/>
                  </a:lnTo>
                  <a:lnTo>
                    <a:pt x="378" y="55"/>
                  </a:lnTo>
                  <a:lnTo>
                    <a:pt x="405" y="63"/>
                  </a:lnTo>
                  <a:lnTo>
                    <a:pt x="426" y="75"/>
                  </a:lnTo>
                  <a:lnTo>
                    <a:pt x="442" y="76"/>
                  </a:lnTo>
                  <a:lnTo>
                    <a:pt x="453" y="65"/>
                  </a:lnTo>
                  <a:lnTo>
                    <a:pt x="471" y="59"/>
                  </a:lnTo>
                  <a:lnTo>
                    <a:pt x="490" y="61"/>
                  </a:lnTo>
                  <a:lnTo>
                    <a:pt x="513" y="52"/>
                  </a:lnTo>
                  <a:lnTo>
                    <a:pt x="534" y="44"/>
                  </a:lnTo>
                  <a:lnTo>
                    <a:pt x="544" y="55"/>
                  </a:lnTo>
                  <a:lnTo>
                    <a:pt x="553" y="50"/>
                  </a:lnTo>
                  <a:lnTo>
                    <a:pt x="557" y="38"/>
                  </a:lnTo>
                  <a:lnTo>
                    <a:pt x="568" y="38"/>
                  </a:lnTo>
                  <a:lnTo>
                    <a:pt x="591" y="63"/>
                  </a:lnTo>
                  <a:lnTo>
                    <a:pt x="609" y="46"/>
                  </a:lnTo>
                  <a:lnTo>
                    <a:pt x="611" y="65"/>
                  </a:lnTo>
                  <a:lnTo>
                    <a:pt x="628" y="59"/>
                  </a:lnTo>
                  <a:lnTo>
                    <a:pt x="634" y="53"/>
                  </a:lnTo>
                  <a:lnTo>
                    <a:pt x="651" y="55"/>
                  </a:lnTo>
                  <a:lnTo>
                    <a:pt x="672" y="65"/>
                  </a:lnTo>
                  <a:lnTo>
                    <a:pt x="705" y="75"/>
                  </a:lnTo>
                  <a:lnTo>
                    <a:pt x="722" y="78"/>
                  </a:lnTo>
                  <a:lnTo>
                    <a:pt x="737" y="76"/>
                  </a:lnTo>
                  <a:lnTo>
                    <a:pt x="757" y="88"/>
                  </a:lnTo>
                  <a:lnTo>
                    <a:pt x="737" y="101"/>
                  </a:lnTo>
                  <a:lnTo>
                    <a:pt x="760" y="105"/>
                  </a:lnTo>
                  <a:lnTo>
                    <a:pt x="799" y="103"/>
                  </a:lnTo>
                  <a:lnTo>
                    <a:pt x="812" y="98"/>
                  </a:lnTo>
                  <a:lnTo>
                    <a:pt x="826" y="113"/>
                  </a:lnTo>
                  <a:lnTo>
                    <a:pt x="841" y="101"/>
                  </a:lnTo>
                  <a:lnTo>
                    <a:pt x="826" y="92"/>
                  </a:lnTo>
                  <a:lnTo>
                    <a:pt x="835" y="82"/>
                  </a:lnTo>
                  <a:lnTo>
                    <a:pt x="854" y="80"/>
                  </a:lnTo>
                  <a:lnTo>
                    <a:pt x="864" y="80"/>
                  </a:lnTo>
                  <a:lnTo>
                    <a:pt x="875" y="84"/>
                  </a:lnTo>
                  <a:lnTo>
                    <a:pt x="889" y="98"/>
                  </a:lnTo>
                  <a:lnTo>
                    <a:pt x="904" y="96"/>
                  </a:lnTo>
                  <a:lnTo>
                    <a:pt x="929" y="105"/>
                  </a:lnTo>
                  <a:lnTo>
                    <a:pt x="950" y="103"/>
                  </a:lnTo>
                  <a:lnTo>
                    <a:pt x="970" y="103"/>
                  </a:lnTo>
                  <a:lnTo>
                    <a:pt x="968" y="88"/>
                  </a:lnTo>
                  <a:lnTo>
                    <a:pt x="983" y="84"/>
                  </a:lnTo>
                  <a:lnTo>
                    <a:pt x="1004" y="94"/>
                  </a:lnTo>
                  <a:lnTo>
                    <a:pt x="1004" y="103"/>
                  </a:lnTo>
                  <a:lnTo>
                    <a:pt x="1004" y="115"/>
                  </a:lnTo>
                  <a:lnTo>
                    <a:pt x="1012" y="96"/>
                  </a:lnTo>
                  <a:lnTo>
                    <a:pt x="1025" y="96"/>
                  </a:lnTo>
                  <a:lnTo>
                    <a:pt x="1029" y="73"/>
                  </a:lnTo>
                  <a:lnTo>
                    <a:pt x="1016" y="57"/>
                  </a:lnTo>
                  <a:lnTo>
                    <a:pt x="998" y="48"/>
                  </a:lnTo>
                  <a:lnTo>
                    <a:pt x="1000" y="19"/>
                  </a:lnTo>
                  <a:lnTo>
                    <a:pt x="1016" y="0"/>
                  </a:lnTo>
                  <a:lnTo>
                    <a:pt x="1035" y="4"/>
                  </a:lnTo>
                  <a:lnTo>
                    <a:pt x="1048" y="17"/>
                  </a:lnTo>
                  <a:lnTo>
                    <a:pt x="1067" y="44"/>
                  </a:lnTo>
                  <a:lnTo>
                    <a:pt x="1056" y="55"/>
                  </a:lnTo>
                  <a:lnTo>
                    <a:pt x="1081" y="61"/>
                  </a:lnTo>
                  <a:lnTo>
                    <a:pt x="1081" y="75"/>
                  </a:lnTo>
                  <a:lnTo>
                    <a:pt x="1081" y="86"/>
                  </a:lnTo>
                  <a:lnTo>
                    <a:pt x="1100" y="67"/>
                  </a:lnTo>
                  <a:lnTo>
                    <a:pt x="1115" y="82"/>
                  </a:lnTo>
                  <a:lnTo>
                    <a:pt x="1111" y="101"/>
                  </a:lnTo>
                  <a:lnTo>
                    <a:pt x="1127" y="119"/>
                  </a:lnTo>
                  <a:lnTo>
                    <a:pt x="1138" y="100"/>
                  </a:lnTo>
                  <a:lnTo>
                    <a:pt x="1150" y="80"/>
                  </a:lnTo>
                  <a:lnTo>
                    <a:pt x="1150" y="53"/>
                  </a:lnTo>
                  <a:lnTo>
                    <a:pt x="1171" y="55"/>
                  </a:lnTo>
                  <a:lnTo>
                    <a:pt x="1190" y="57"/>
                  </a:lnTo>
                  <a:lnTo>
                    <a:pt x="1209" y="69"/>
                  </a:lnTo>
                  <a:lnTo>
                    <a:pt x="1211" y="82"/>
                  </a:lnTo>
                  <a:lnTo>
                    <a:pt x="1202" y="94"/>
                  </a:lnTo>
                  <a:lnTo>
                    <a:pt x="1209" y="107"/>
                  </a:lnTo>
                  <a:lnTo>
                    <a:pt x="1207" y="121"/>
                  </a:lnTo>
                  <a:lnTo>
                    <a:pt x="1181" y="136"/>
                  </a:lnTo>
                  <a:lnTo>
                    <a:pt x="1163" y="140"/>
                  </a:lnTo>
                  <a:lnTo>
                    <a:pt x="1148" y="132"/>
                  </a:lnTo>
                  <a:lnTo>
                    <a:pt x="1142" y="142"/>
                  </a:lnTo>
                  <a:lnTo>
                    <a:pt x="1129" y="163"/>
                  </a:lnTo>
                  <a:lnTo>
                    <a:pt x="1127" y="172"/>
                  </a:lnTo>
                  <a:lnTo>
                    <a:pt x="1110" y="188"/>
                  </a:lnTo>
                  <a:lnTo>
                    <a:pt x="1088" y="190"/>
                  </a:lnTo>
                  <a:lnTo>
                    <a:pt x="1079" y="197"/>
                  </a:lnTo>
                  <a:lnTo>
                    <a:pt x="1077" y="213"/>
                  </a:lnTo>
                  <a:lnTo>
                    <a:pt x="1064" y="217"/>
                  </a:lnTo>
                  <a:lnTo>
                    <a:pt x="1044" y="234"/>
                  </a:lnTo>
                  <a:lnTo>
                    <a:pt x="1029" y="257"/>
                  </a:lnTo>
                  <a:lnTo>
                    <a:pt x="1025" y="274"/>
                  </a:lnTo>
                  <a:lnTo>
                    <a:pt x="1025" y="299"/>
                  </a:lnTo>
                  <a:lnTo>
                    <a:pt x="1044" y="301"/>
                  </a:lnTo>
                  <a:lnTo>
                    <a:pt x="1050" y="320"/>
                  </a:lnTo>
                  <a:lnTo>
                    <a:pt x="1058" y="336"/>
                  </a:lnTo>
                  <a:lnTo>
                    <a:pt x="1075" y="332"/>
                  </a:lnTo>
                  <a:lnTo>
                    <a:pt x="1102" y="339"/>
                  </a:lnTo>
                  <a:lnTo>
                    <a:pt x="1115" y="347"/>
                  </a:lnTo>
                  <a:lnTo>
                    <a:pt x="1127" y="357"/>
                  </a:lnTo>
                  <a:lnTo>
                    <a:pt x="1142" y="362"/>
                  </a:lnTo>
                  <a:lnTo>
                    <a:pt x="1158" y="370"/>
                  </a:lnTo>
                  <a:lnTo>
                    <a:pt x="1181" y="372"/>
                  </a:lnTo>
                  <a:lnTo>
                    <a:pt x="1196" y="374"/>
                  </a:lnTo>
                  <a:lnTo>
                    <a:pt x="1194" y="389"/>
                  </a:lnTo>
                  <a:lnTo>
                    <a:pt x="1198" y="409"/>
                  </a:lnTo>
                  <a:lnTo>
                    <a:pt x="1207" y="430"/>
                  </a:lnTo>
                  <a:lnTo>
                    <a:pt x="1230" y="447"/>
                  </a:lnTo>
                  <a:lnTo>
                    <a:pt x="1240" y="443"/>
                  </a:lnTo>
                  <a:lnTo>
                    <a:pt x="1248" y="422"/>
                  </a:lnTo>
                  <a:lnTo>
                    <a:pt x="1240" y="393"/>
                  </a:lnTo>
                  <a:lnTo>
                    <a:pt x="1230" y="382"/>
                  </a:lnTo>
                  <a:lnTo>
                    <a:pt x="1253" y="374"/>
                  </a:lnTo>
                  <a:lnTo>
                    <a:pt x="1269" y="361"/>
                  </a:lnTo>
                  <a:lnTo>
                    <a:pt x="1277" y="347"/>
                  </a:lnTo>
                  <a:lnTo>
                    <a:pt x="1275" y="334"/>
                  </a:lnTo>
                  <a:lnTo>
                    <a:pt x="1265" y="316"/>
                  </a:lnTo>
                  <a:lnTo>
                    <a:pt x="1248" y="301"/>
                  </a:lnTo>
                  <a:lnTo>
                    <a:pt x="1265" y="280"/>
                  </a:lnTo>
                  <a:lnTo>
                    <a:pt x="1257" y="261"/>
                  </a:lnTo>
                  <a:lnTo>
                    <a:pt x="1253" y="226"/>
                  </a:lnTo>
                  <a:lnTo>
                    <a:pt x="1265" y="222"/>
                  </a:lnTo>
                  <a:lnTo>
                    <a:pt x="1288" y="228"/>
                  </a:lnTo>
                  <a:lnTo>
                    <a:pt x="1301" y="230"/>
                  </a:lnTo>
                  <a:lnTo>
                    <a:pt x="1313" y="224"/>
                  </a:lnTo>
                  <a:lnTo>
                    <a:pt x="1326" y="232"/>
                  </a:lnTo>
                  <a:lnTo>
                    <a:pt x="1344" y="243"/>
                  </a:lnTo>
                  <a:lnTo>
                    <a:pt x="1348" y="251"/>
                  </a:lnTo>
                  <a:lnTo>
                    <a:pt x="1374" y="253"/>
                  </a:lnTo>
                  <a:lnTo>
                    <a:pt x="1372" y="272"/>
                  </a:lnTo>
                  <a:lnTo>
                    <a:pt x="1376" y="299"/>
                  </a:lnTo>
                  <a:lnTo>
                    <a:pt x="1390" y="301"/>
                  </a:lnTo>
                  <a:lnTo>
                    <a:pt x="1399" y="313"/>
                  </a:lnTo>
                  <a:lnTo>
                    <a:pt x="1420" y="301"/>
                  </a:lnTo>
                  <a:lnTo>
                    <a:pt x="1434" y="278"/>
                  </a:lnTo>
                  <a:lnTo>
                    <a:pt x="1443" y="270"/>
                  </a:lnTo>
                  <a:lnTo>
                    <a:pt x="1455" y="288"/>
                  </a:lnTo>
                  <a:lnTo>
                    <a:pt x="1472" y="313"/>
                  </a:lnTo>
                  <a:lnTo>
                    <a:pt x="1488" y="339"/>
                  </a:lnTo>
                  <a:lnTo>
                    <a:pt x="1482" y="349"/>
                  </a:lnTo>
                  <a:lnTo>
                    <a:pt x="1501" y="362"/>
                  </a:lnTo>
                  <a:lnTo>
                    <a:pt x="1513" y="372"/>
                  </a:lnTo>
                  <a:lnTo>
                    <a:pt x="1536" y="378"/>
                  </a:lnTo>
                  <a:lnTo>
                    <a:pt x="1545" y="384"/>
                  </a:lnTo>
                  <a:lnTo>
                    <a:pt x="1549" y="401"/>
                  </a:lnTo>
                  <a:lnTo>
                    <a:pt x="1561" y="403"/>
                  </a:lnTo>
                  <a:lnTo>
                    <a:pt x="1566" y="409"/>
                  </a:lnTo>
                  <a:lnTo>
                    <a:pt x="1566" y="430"/>
                  </a:lnTo>
                  <a:lnTo>
                    <a:pt x="1557" y="437"/>
                  </a:lnTo>
                  <a:lnTo>
                    <a:pt x="1547" y="443"/>
                  </a:lnTo>
                  <a:lnTo>
                    <a:pt x="1524" y="451"/>
                  </a:lnTo>
                  <a:lnTo>
                    <a:pt x="1507" y="466"/>
                  </a:lnTo>
                  <a:lnTo>
                    <a:pt x="1482" y="470"/>
                  </a:lnTo>
                  <a:lnTo>
                    <a:pt x="1453" y="466"/>
                  </a:lnTo>
                  <a:lnTo>
                    <a:pt x="1434" y="464"/>
                  </a:lnTo>
                  <a:lnTo>
                    <a:pt x="1417" y="466"/>
                  </a:lnTo>
                  <a:lnTo>
                    <a:pt x="1405" y="480"/>
                  </a:lnTo>
                  <a:lnTo>
                    <a:pt x="1388" y="487"/>
                  </a:lnTo>
                  <a:lnTo>
                    <a:pt x="1369" y="510"/>
                  </a:lnTo>
                  <a:lnTo>
                    <a:pt x="1351" y="528"/>
                  </a:lnTo>
                  <a:lnTo>
                    <a:pt x="1363" y="524"/>
                  </a:lnTo>
                  <a:lnTo>
                    <a:pt x="1386" y="501"/>
                  </a:lnTo>
                  <a:lnTo>
                    <a:pt x="1415" y="485"/>
                  </a:lnTo>
                  <a:lnTo>
                    <a:pt x="1436" y="483"/>
                  </a:lnTo>
                  <a:lnTo>
                    <a:pt x="1449" y="491"/>
                  </a:lnTo>
                  <a:lnTo>
                    <a:pt x="1436" y="504"/>
                  </a:lnTo>
                  <a:lnTo>
                    <a:pt x="1440" y="524"/>
                  </a:lnTo>
                  <a:lnTo>
                    <a:pt x="1443" y="537"/>
                  </a:lnTo>
                  <a:lnTo>
                    <a:pt x="1463" y="547"/>
                  </a:lnTo>
                  <a:lnTo>
                    <a:pt x="1486" y="543"/>
                  </a:lnTo>
                  <a:lnTo>
                    <a:pt x="1501" y="524"/>
                  </a:lnTo>
                  <a:lnTo>
                    <a:pt x="1501" y="535"/>
                  </a:lnTo>
                  <a:lnTo>
                    <a:pt x="1511" y="543"/>
                  </a:lnTo>
                  <a:lnTo>
                    <a:pt x="1493" y="554"/>
                  </a:lnTo>
                  <a:lnTo>
                    <a:pt x="1461" y="564"/>
                  </a:lnTo>
                  <a:lnTo>
                    <a:pt x="1447" y="572"/>
                  </a:lnTo>
                  <a:lnTo>
                    <a:pt x="1434" y="583"/>
                  </a:lnTo>
                  <a:lnTo>
                    <a:pt x="1420" y="583"/>
                  </a:lnTo>
                  <a:lnTo>
                    <a:pt x="1420" y="568"/>
                  </a:lnTo>
                  <a:lnTo>
                    <a:pt x="1445" y="554"/>
                  </a:lnTo>
                  <a:lnTo>
                    <a:pt x="1422" y="554"/>
                  </a:lnTo>
                  <a:lnTo>
                    <a:pt x="1407" y="556"/>
                  </a:lnTo>
                  <a:lnTo>
                    <a:pt x="1409" y="560"/>
                  </a:lnTo>
                  <a:lnTo>
                    <a:pt x="1395" y="570"/>
                  </a:lnTo>
                  <a:lnTo>
                    <a:pt x="1380" y="575"/>
                  </a:lnTo>
                  <a:lnTo>
                    <a:pt x="1365" y="581"/>
                  </a:lnTo>
                  <a:lnTo>
                    <a:pt x="1357" y="591"/>
                  </a:lnTo>
                  <a:lnTo>
                    <a:pt x="1355" y="595"/>
                  </a:lnTo>
                  <a:lnTo>
                    <a:pt x="1355" y="599"/>
                  </a:lnTo>
                  <a:lnTo>
                    <a:pt x="1355" y="604"/>
                  </a:lnTo>
                  <a:lnTo>
                    <a:pt x="1359" y="614"/>
                  </a:lnTo>
                  <a:lnTo>
                    <a:pt x="1367" y="614"/>
                  </a:lnTo>
                  <a:lnTo>
                    <a:pt x="1365" y="608"/>
                  </a:lnTo>
                  <a:lnTo>
                    <a:pt x="1369" y="612"/>
                  </a:lnTo>
                  <a:lnTo>
                    <a:pt x="1367" y="616"/>
                  </a:lnTo>
                  <a:lnTo>
                    <a:pt x="1357" y="618"/>
                  </a:lnTo>
                  <a:lnTo>
                    <a:pt x="1351" y="618"/>
                  </a:lnTo>
                  <a:lnTo>
                    <a:pt x="1342" y="622"/>
                  </a:lnTo>
                  <a:lnTo>
                    <a:pt x="1334" y="622"/>
                  </a:lnTo>
                  <a:lnTo>
                    <a:pt x="1326" y="623"/>
                  </a:lnTo>
                  <a:lnTo>
                    <a:pt x="1315" y="627"/>
                  </a:lnTo>
                  <a:lnTo>
                    <a:pt x="1336" y="623"/>
                  </a:lnTo>
                  <a:lnTo>
                    <a:pt x="1340" y="627"/>
                  </a:lnTo>
                  <a:lnTo>
                    <a:pt x="1319" y="633"/>
                  </a:lnTo>
                  <a:lnTo>
                    <a:pt x="1311" y="633"/>
                  </a:lnTo>
                  <a:lnTo>
                    <a:pt x="1311" y="629"/>
                  </a:lnTo>
                  <a:lnTo>
                    <a:pt x="1309" y="635"/>
                  </a:lnTo>
                  <a:lnTo>
                    <a:pt x="1311" y="635"/>
                  </a:lnTo>
                  <a:lnTo>
                    <a:pt x="1309" y="648"/>
                  </a:lnTo>
                  <a:lnTo>
                    <a:pt x="1298" y="660"/>
                  </a:lnTo>
                  <a:lnTo>
                    <a:pt x="1298" y="656"/>
                  </a:lnTo>
                  <a:lnTo>
                    <a:pt x="1294" y="654"/>
                  </a:lnTo>
                  <a:lnTo>
                    <a:pt x="1290" y="652"/>
                  </a:lnTo>
                  <a:lnTo>
                    <a:pt x="1294" y="660"/>
                  </a:lnTo>
                  <a:lnTo>
                    <a:pt x="1296" y="662"/>
                  </a:lnTo>
                  <a:lnTo>
                    <a:pt x="1296" y="668"/>
                  </a:lnTo>
                  <a:lnTo>
                    <a:pt x="1292" y="675"/>
                  </a:lnTo>
                  <a:lnTo>
                    <a:pt x="1284" y="689"/>
                  </a:lnTo>
                  <a:lnTo>
                    <a:pt x="1282" y="687"/>
                  </a:lnTo>
                  <a:lnTo>
                    <a:pt x="1288" y="677"/>
                  </a:lnTo>
                  <a:lnTo>
                    <a:pt x="1280" y="670"/>
                  </a:lnTo>
                  <a:lnTo>
                    <a:pt x="1278" y="656"/>
                  </a:lnTo>
                  <a:lnTo>
                    <a:pt x="1277" y="662"/>
                  </a:lnTo>
                  <a:lnTo>
                    <a:pt x="1280" y="673"/>
                  </a:lnTo>
                  <a:lnTo>
                    <a:pt x="1271" y="671"/>
                  </a:lnTo>
                  <a:lnTo>
                    <a:pt x="1280" y="677"/>
                  </a:lnTo>
                  <a:lnTo>
                    <a:pt x="1280" y="691"/>
                  </a:lnTo>
                  <a:lnTo>
                    <a:pt x="1282" y="693"/>
                  </a:lnTo>
                  <a:lnTo>
                    <a:pt x="1284" y="698"/>
                  </a:lnTo>
                  <a:lnTo>
                    <a:pt x="1288" y="716"/>
                  </a:lnTo>
                  <a:lnTo>
                    <a:pt x="1278" y="727"/>
                  </a:lnTo>
                  <a:lnTo>
                    <a:pt x="1265" y="729"/>
                  </a:lnTo>
                  <a:lnTo>
                    <a:pt x="1253" y="739"/>
                  </a:lnTo>
                  <a:lnTo>
                    <a:pt x="1248" y="741"/>
                  </a:lnTo>
                  <a:lnTo>
                    <a:pt x="1242" y="746"/>
                  </a:lnTo>
                  <a:lnTo>
                    <a:pt x="1240" y="752"/>
                  </a:lnTo>
                  <a:lnTo>
                    <a:pt x="1223" y="762"/>
                  </a:lnTo>
                  <a:lnTo>
                    <a:pt x="1215" y="769"/>
                  </a:lnTo>
                  <a:lnTo>
                    <a:pt x="1209" y="779"/>
                  </a:lnTo>
                  <a:lnTo>
                    <a:pt x="1207" y="790"/>
                  </a:lnTo>
                  <a:lnTo>
                    <a:pt x="1209" y="800"/>
                  </a:lnTo>
                  <a:lnTo>
                    <a:pt x="1215" y="813"/>
                  </a:lnTo>
                  <a:lnTo>
                    <a:pt x="1219" y="823"/>
                  </a:lnTo>
                  <a:lnTo>
                    <a:pt x="1219" y="827"/>
                  </a:lnTo>
                  <a:lnTo>
                    <a:pt x="1221" y="831"/>
                  </a:lnTo>
                  <a:lnTo>
                    <a:pt x="1227" y="846"/>
                  </a:lnTo>
                  <a:lnTo>
                    <a:pt x="1227" y="858"/>
                  </a:lnTo>
                  <a:lnTo>
                    <a:pt x="1227" y="863"/>
                  </a:lnTo>
                  <a:lnTo>
                    <a:pt x="1223" y="871"/>
                  </a:lnTo>
                  <a:lnTo>
                    <a:pt x="1217" y="873"/>
                  </a:lnTo>
                  <a:lnTo>
                    <a:pt x="1211" y="871"/>
                  </a:lnTo>
                  <a:lnTo>
                    <a:pt x="1209" y="865"/>
                  </a:lnTo>
                  <a:lnTo>
                    <a:pt x="1206" y="861"/>
                  </a:lnTo>
                  <a:lnTo>
                    <a:pt x="1196" y="850"/>
                  </a:lnTo>
                  <a:lnTo>
                    <a:pt x="1190" y="838"/>
                  </a:lnTo>
                  <a:lnTo>
                    <a:pt x="1188" y="831"/>
                  </a:lnTo>
                  <a:lnTo>
                    <a:pt x="1190" y="821"/>
                  </a:lnTo>
                  <a:lnTo>
                    <a:pt x="1188" y="813"/>
                  </a:lnTo>
                  <a:lnTo>
                    <a:pt x="1177" y="802"/>
                  </a:lnTo>
                  <a:lnTo>
                    <a:pt x="1171" y="798"/>
                  </a:lnTo>
                  <a:lnTo>
                    <a:pt x="1156" y="804"/>
                  </a:lnTo>
                  <a:lnTo>
                    <a:pt x="1154" y="804"/>
                  </a:lnTo>
                  <a:lnTo>
                    <a:pt x="1148" y="798"/>
                  </a:lnTo>
                  <a:lnTo>
                    <a:pt x="1138" y="794"/>
                  </a:lnTo>
                  <a:lnTo>
                    <a:pt x="1123" y="796"/>
                  </a:lnTo>
                  <a:lnTo>
                    <a:pt x="1110" y="794"/>
                  </a:lnTo>
                  <a:lnTo>
                    <a:pt x="1100" y="794"/>
                  </a:lnTo>
                  <a:lnTo>
                    <a:pt x="1094" y="798"/>
                  </a:lnTo>
                  <a:lnTo>
                    <a:pt x="1098" y="802"/>
                  </a:lnTo>
                  <a:lnTo>
                    <a:pt x="1096" y="808"/>
                  </a:lnTo>
                  <a:lnTo>
                    <a:pt x="1100" y="812"/>
                  </a:lnTo>
                  <a:lnTo>
                    <a:pt x="1098" y="813"/>
                  </a:lnTo>
                  <a:lnTo>
                    <a:pt x="1092" y="810"/>
                  </a:lnTo>
                  <a:lnTo>
                    <a:pt x="1087" y="813"/>
                  </a:lnTo>
                  <a:lnTo>
                    <a:pt x="1075" y="813"/>
                  </a:lnTo>
                  <a:lnTo>
                    <a:pt x="1065" y="804"/>
                  </a:lnTo>
                  <a:lnTo>
                    <a:pt x="1054" y="806"/>
                  </a:lnTo>
                  <a:lnTo>
                    <a:pt x="1044" y="804"/>
                  </a:lnTo>
                  <a:lnTo>
                    <a:pt x="1035" y="804"/>
                  </a:lnTo>
                  <a:lnTo>
                    <a:pt x="1025" y="808"/>
                  </a:lnTo>
                  <a:lnTo>
                    <a:pt x="1010" y="821"/>
                  </a:lnTo>
                  <a:lnTo>
                    <a:pt x="996" y="827"/>
                  </a:lnTo>
                  <a:lnTo>
                    <a:pt x="989" y="833"/>
                  </a:lnTo>
                  <a:lnTo>
                    <a:pt x="985" y="840"/>
                  </a:lnTo>
                  <a:lnTo>
                    <a:pt x="985" y="850"/>
                  </a:lnTo>
                  <a:lnTo>
                    <a:pt x="987" y="858"/>
                  </a:lnTo>
                  <a:lnTo>
                    <a:pt x="989" y="861"/>
                  </a:lnTo>
                  <a:lnTo>
                    <a:pt x="985" y="875"/>
                  </a:lnTo>
                  <a:lnTo>
                    <a:pt x="983" y="886"/>
                  </a:lnTo>
                  <a:lnTo>
                    <a:pt x="981" y="906"/>
                  </a:lnTo>
                  <a:lnTo>
                    <a:pt x="979" y="913"/>
                  </a:lnTo>
                  <a:lnTo>
                    <a:pt x="983" y="921"/>
                  </a:lnTo>
                  <a:lnTo>
                    <a:pt x="985" y="929"/>
                  </a:lnTo>
                  <a:lnTo>
                    <a:pt x="989" y="938"/>
                  </a:lnTo>
                  <a:lnTo>
                    <a:pt x="996" y="950"/>
                  </a:lnTo>
                  <a:lnTo>
                    <a:pt x="1000" y="959"/>
                  </a:lnTo>
                  <a:lnTo>
                    <a:pt x="1006" y="965"/>
                  </a:lnTo>
                  <a:lnTo>
                    <a:pt x="1021" y="969"/>
                  </a:lnTo>
                  <a:lnTo>
                    <a:pt x="1027" y="975"/>
                  </a:lnTo>
                  <a:lnTo>
                    <a:pt x="1039" y="971"/>
                  </a:lnTo>
                  <a:lnTo>
                    <a:pt x="1050" y="971"/>
                  </a:lnTo>
                  <a:lnTo>
                    <a:pt x="1062" y="967"/>
                  </a:lnTo>
                  <a:lnTo>
                    <a:pt x="1069" y="965"/>
                  </a:lnTo>
                  <a:lnTo>
                    <a:pt x="1077" y="959"/>
                  </a:lnTo>
                  <a:lnTo>
                    <a:pt x="1081" y="950"/>
                  </a:lnTo>
                  <a:lnTo>
                    <a:pt x="1083" y="938"/>
                  </a:lnTo>
                  <a:lnTo>
                    <a:pt x="1085" y="934"/>
                  </a:lnTo>
                  <a:lnTo>
                    <a:pt x="1094" y="931"/>
                  </a:lnTo>
                  <a:lnTo>
                    <a:pt x="1110" y="927"/>
                  </a:lnTo>
                  <a:lnTo>
                    <a:pt x="1121" y="927"/>
                  </a:lnTo>
                  <a:lnTo>
                    <a:pt x="1129" y="925"/>
                  </a:lnTo>
                  <a:lnTo>
                    <a:pt x="1133" y="929"/>
                  </a:lnTo>
                  <a:lnTo>
                    <a:pt x="1133" y="936"/>
                  </a:lnTo>
                  <a:lnTo>
                    <a:pt x="1125" y="946"/>
                  </a:lnTo>
                  <a:lnTo>
                    <a:pt x="1123" y="954"/>
                  </a:lnTo>
                  <a:lnTo>
                    <a:pt x="1125" y="955"/>
                  </a:lnTo>
                  <a:lnTo>
                    <a:pt x="1123" y="963"/>
                  </a:lnTo>
                  <a:lnTo>
                    <a:pt x="1119" y="973"/>
                  </a:lnTo>
                  <a:lnTo>
                    <a:pt x="1115" y="971"/>
                  </a:lnTo>
                  <a:lnTo>
                    <a:pt x="1111" y="971"/>
                  </a:lnTo>
                  <a:lnTo>
                    <a:pt x="1111" y="973"/>
                  </a:lnTo>
                  <a:lnTo>
                    <a:pt x="1113" y="973"/>
                  </a:lnTo>
                  <a:lnTo>
                    <a:pt x="1113" y="975"/>
                  </a:lnTo>
                  <a:lnTo>
                    <a:pt x="1111" y="982"/>
                  </a:lnTo>
                  <a:lnTo>
                    <a:pt x="1113" y="984"/>
                  </a:lnTo>
                  <a:lnTo>
                    <a:pt x="1111" y="990"/>
                  </a:lnTo>
                  <a:lnTo>
                    <a:pt x="1110" y="1000"/>
                  </a:lnTo>
                  <a:lnTo>
                    <a:pt x="1110" y="1002"/>
                  </a:lnTo>
                  <a:lnTo>
                    <a:pt x="1106" y="1002"/>
                  </a:lnTo>
                  <a:lnTo>
                    <a:pt x="1104" y="1007"/>
                  </a:lnTo>
                  <a:lnTo>
                    <a:pt x="1108" y="1011"/>
                  </a:lnTo>
                  <a:lnTo>
                    <a:pt x="1110" y="1007"/>
                  </a:lnTo>
                  <a:lnTo>
                    <a:pt x="1111" y="1011"/>
                  </a:lnTo>
                  <a:lnTo>
                    <a:pt x="1098" y="1025"/>
                  </a:lnTo>
                  <a:lnTo>
                    <a:pt x="1111" y="1011"/>
                  </a:lnTo>
                  <a:lnTo>
                    <a:pt x="1113" y="1011"/>
                  </a:lnTo>
                  <a:lnTo>
                    <a:pt x="1117" y="1007"/>
                  </a:lnTo>
                  <a:lnTo>
                    <a:pt x="1123" y="1007"/>
                  </a:lnTo>
                  <a:lnTo>
                    <a:pt x="1123" y="1009"/>
                  </a:lnTo>
                  <a:lnTo>
                    <a:pt x="1127" y="1009"/>
                  </a:lnTo>
                  <a:lnTo>
                    <a:pt x="1131" y="1009"/>
                  </a:lnTo>
                  <a:lnTo>
                    <a:pt x="1138" y="1009"/>
                  </a:lnTo>
                  <a:lnTo>
                    <a:pt x="1142" y="1007"/>
                  </a:lnTo>
                  <a:lnTo>
                    <a:pt x="1144" y="1005"/>
                  </a:lnTo>
                  <a:lnTo>
                    <a:pt x="1148" y="1007"/>
                  </a:lnTo>
                  <a:lnTo>
                    <a:pt x="1152" y="1007"/>
                  </a:lnTo>
                  <a:lnTo>
                    <a:pt x="1156" y="1007"/>
                  </a:lnTo>
                  <a:lnTo>
                    <a:pt x="1158" y="1005"/>
                  </a:lnTo>
                  <a:lnTo>
                    <a:pt x="1165" y="1007"/>
                  </a:lnTo>
                  <a:lnTo>
                    <a:pt x="1167" y="1009"/>
                  </a:lnTo>
                  <a:lnTo>
                    <a:pt x="1171" y="1011"/>
                  </a:lnTo>
                  <a:lnTo>
                    <a:pt x="1177" y="1013"/>
                  </a:lnTo>
                  <a:lnTo>
                    <a:pt x="1181" y="1015"/>
                  </a:lnTo>
                  <a:lnTo>
                    <a:pt x="1184" y="1021"/>
                  </a:lnTo>
                  <a:lnTo>
                    <a:pt x="1182" y="1023"/>
                  </a:lnTo>
                  <a:lnTo>
                    <a:pt x="1182" y="1026"/>
                  </a:lnTo>
                  <a:lnTo>
                    <a:pt x="1182" y="1030"/>
                  </a:lnTo>
                  <a:lnTo>
                    <a:pt x="1181" y="1036"/>
                  </a:lnTo>
                  <a:lnTo>
                    <a:pt x="1179" y="1040"/>
                  </a:lnTo>
                  <a:lnTo>
                    <a:pt x="1177" y="1048"/>
                  </a:lnTo>
                  <a:lnTo>
                    <a:pt x="1179" y="1050"/>
                  </a:lnTo>
                  <a:lnTo>
                    <a:pt x="1179" y="1057"/>
                  </a:lnTo>
                  <a:lnTo>
                    <a:pt x="1177" y="1057"/>
                  </a:lnTo>
                  <a:lnTo>
                    <a:pt x="1177" y="1065"/>
                  </a:lnTo>
                  <a:lnTo>
                    <a:pt x="1177" y="1067"/>
                  </a:lnTo>
                  <a:lnTo>
                    <a:pt x="1175" y="1071"/>
                  </a:lnTo>
                  <a:lnTo>
                    <a:pt x="1175" y="1076"/>
                  </a:lnTo>
                  <a:lnTo>
                    <a:pt x="1177" y="1078"/>
                  </a:lnTo>
                  <a:lnTo>
                    <a:pt x="1181" y="1086"/>
                  </a:lnTo>
                  <a:lnTo>
                    <a:pt x="1186" y="1090"/>
                  </a:lnTo>
                  <a:lnTo>
                    <a:pt x="1192" y="1098"/>
                  </a:lnTo>
                  <a:lnTo>
                    <a:pt x="1198" y="1103"/>
                  </a:lnTo>
                  <a:lnTo>
                    <a:pt x="1198" y="1105"/>
                  </a:lnTo>
                  <a:lnTo>
                    <a:pt x="1204" y="1105"/>
                  </a:lnTo>
                  <a:lnTo>
                    <a:pt x="1206" y="1105"/>
                  </a:lnTo>
                  <a:lnTo>
                    <a:pt x="1207" y="1107"/>
                  </a:lnTo>
                  <a:lnTo>
                    <a:pt x="1215" y="1107"/>
                  </a:lnTo>
                  <a:lnTo>
                    <a:pt x="1221" y="1103"/>
                  </a:lnTo>
                  <a:lnTo>
                    <a:pt x="1230" y="1101"/>
                  </a:lnTo>
                  <a:lnTo>
                    <a:pt x="1234" y="1096"/>
                  </a:lnTo>
                  <a:lnTo>
                    <a:pt x="1242" y="1098"/>
                  </a:lnTo>
                  <a:lnTo>
                    <a:pt x="1242" y="1099"/>
                  </a:lnTo>
                  <a:lnTo>
                    <a:pt x="1248" y="1099"/>
                  </a:lnTo>
                  <a:lnTo>
                    <a:pt x="1253" y="1101"/>
                  </a:lnTo>
                  <a:lnTo>
                    <a:pt x="1259" y="1105"/>
                  </a:lnTo>
                  <a:lnTo>
                    <a:pt x="1265" y="1109"/>
                  </a:lnTo>
                  <a:lnTo>
                    <a:pt x="1271" y="1109"/>
                  </a:lnTo>
                  <a:lnTo>
                    <a:pt x="1282" y="1101"/>
                  </a:lnTo>
                  <a:lnTo>
                    <a:pt x="1288" y="1099"/>
                  </a:lnTo>
                  <a:lnTo>
                    <a:pt x="1288" y="1094"/>
                  </a:lnTo>
                  <a:lnTo>
                    <a:pt x="1292" y="1082"/>
                  </a:lnTo>
                  <a:lnTo>
                    <a:pt x="1298" y="1076"/>
                  </a:lnTo>
                  <a:lnTo>
                    <a:pt x="1309" y="1076"/>
                  </a:lnTo>
                  <a:lnTo>
                    <a:pt x="1309" y="1073"/>
                  </a:lnTo>
                  <a:lnTo>
                    <a:pt x="1319" y="1074"/>
                  </a:lnTo>
                  <a:lnTo>
                    <a:pt x="1330" y="1067"/>
                  </a:lnTo>
                  <a:lnTo>
                    <a:pt x="1336" y="1065"/>
                  </a:lnTo>
                  <a:lnTo>
                    <a:pt x="1344" y="1055"/>
                  </a:lnTo>
                  <a:lnTo>
                    <a:pt x="1348" y="1057"/>
                  </a:lnTo>
                  <a:lnTo>
                    <a:pt x="1351" y="1061"/>
                  </a:lnTo>
                  <a:lnTo>
                    <a:pt x="1348" y="1067"/>
                  </a:lnTo>
                  <a:lnTo>
                    <a:pt x="1348" y="1069"/>
                  </a:lnTo>
                  <a:lnTo>
                    <a:pt x="1340" y="1071"/>
                  </a:lnTo>
                  <a:lnTo>
                    <a:pt x="1346" y="1078"/>
                  </a:lnTo>
                  <a:lnTo>
                    <a:pt x="1346" y="1084"/>
                  </a:lnTo>
                  <a:lnTo>
                    <a:pt x="1338" y="1092"/>
                  </a:lnTo>
                  <a:lnTo>
                    <a:pt x="1344" y="1105"/>
                  </a:lnTo>
                  <a:lnTo>
                    <a:pt x="1349" y="1103"/>
                  </a:lnTo>
                  <a:lnTo>
                    <a:pt x="1353" y="1092"/>
                  </a:lnTo>
                  <a:lnTo>
                    <a:pt x="1348" y="1088"/>
                  </a:lnTo>
                  <a:lnTo>
                    <a:pt x="1348" y="1078"/>
                  </a:lnTo>
                  <a:lnTo>
                    <a:pt x="1365" y="1071"/>
                  </a:lnTo>
                  <a:lnTo>
                    <a:pt x="1363" y="1065"/>
                  </a:lnTo>
                  <a:lnTo>
                    <a:pt x="1369" y="1061"/>
                  </a:lnTo>
                  <a:lnTo>
                    <a:pt x="1374" y="1071"/>
                  </a:lnTo>
                  <a:lnTo>
                    <a:pt x="1382" y="1071"/>
                  </a:lnTo>
                  <a:lnTo>
                    <a:pt x="1392" y="1078"/>
                  </a:lnTo>
                  <a:lnTo>
                    <a:pt x="1392" y="1082"/>
                  </a:lnTo>
                  <a:lnTo>
                    <a:pt x="1405" y="1082"/>
                  </a:lnTo>
                  <a:lnTo>
                    <a:pt x="1420" y="1082"/>
                  </a:lnTo>
                  <a:lnTo>
                    <a:pt x="1428" y="1088"/>
                  </a:lnTo>
                  <a:lnTo>
                    <a:pt x="1440" y="1088"/>
                  </a:lnTo>
                  <a:lnTo>
                    <a:pt x="1445" y="1086"/>
                  </a:lnTo>
                  <a:lnTo>
                    <a:pt x="1445" y="1082"/>
                  </a:lnTo>
                  <a:lnTo>
                    <a:pt x="1465" y="1080"/>
                  </a:lnTo>
                  <a:lnTo>
                    <a:pt x="1482" y="1080"/>
                  </a:lnTo>
                  <a:lnTo>
                    <a:pt x="1470" y="1084"/>
                  </a:lnTo>
                  <a:lnTo>
                    <a:pt x="1474" y="1090"/>
                  </a:lnTo>
                  <a:lnTo>
                    <a:pt x="1484" y="1092"/>
                  </a:lnTo>
                  <a:lnTo>
                    <a:pt x="1497" y="1099"/>
                  </a:lnTo>
                  <a:lnTo>
                    <a:pt x="1499" y="1111"/>
                  </a:lnTo>
                  <a:lnTo>
                    <a:pt x="1505" y="1111"/>
                  </a:lnTo>
                  <a:lnTo>
                    <a:pt x="1511" y="1115"/>
                  </a:lnTo>
                  <a:lnTo>
                    <a:pt x="1520" y="1119"/>
                  </a:lnTo>
                  <a:lnTo>
                    <a:pt x="1528" y="1128"/>
                  </a:lnTo>
                  <a:lnTo>
                    <a:pt x="1528" y="1136"/>
                  </a:lnTo>
                  <a:lnTo>
                    <a:pt x="1534" y="1136"/>
                  </a:lnTo>
                  <a:lnTo>
                    <a:pt x="1541" y="1144"/>
                  </a:lnTo>
                  <a:lnTo>
                    <a:pt x="1547" y="1147"/>
                  </a:lnTo>
                  <a:lnTo>
                    <a:pt x="1562" y="1149"/>
                  </a:lnTo>
                  <a:lnTo>
                    <a:pt x="1564" y="1147"/>
                  </a:lnTo>
                  <a:lnTo>
                    <a:pt x="1576" y="1145"/>
                  </a:lnTo>
                  <a:lnTo>
                    <a:pt x="1591" y="1151"/>
                  </a:lnTo>
                  <a:lnTo>
                    <a:pt x="1597" y="1151"/>
                  </a:lnTo>
                  <a:lnTo>
                    <a:pt x="1607" y="1153"/>
                  </a:lnTo>
                  <a:lnTo>
                    <a:pt x="1622" y="1169"/>
                  </a:lnTo>
                  <a:lnTo>
                    <a:pt x="1624" y="1172"/>
                  </a:lnTo>
                  <a:lnTo>
                    <a:pt x="1628" y="1172"/>
                  </a:lnTo>
                  <a:lnTo>
                    <a:pt x="1632" y="1180"/>
                  </a:lnTo>
                  <a:lnTo>
                    <a:pt x="1639" y="1205"/>
                  </a:lnTo>
                  <a:lnTo>
                    <a:pt x="1647" y="1207"/>
                  </a:lnTo>
                  <a:lnTo>
                    <a:pt x="1647" y="1216"/>
                  </a:lnTo>
                  <a:lnTo>
                    <a:pt x="1637" y="1228"/>
                  </a:lnTo>
                  <a:lnTo>
                    <a:pt x="1641" y="1232"/>
                  </a:lnTo>
                  <a:lnTo>
                    <a:pt x="1666" y="1234"/>
                  </a:lnTo>
                  <a:lnTo>
                    <a:pt x="1666" y="1247"/>
                  </a:lnTo>
                  <a:lnTo>
                    <a:pt x="1678" y="1238"/>
                  </a:lnTo>
                  <a:lnTo>
                    <a:pt x="1693" y="1243"/>
                  </a:lnTo>
                  <a:lnTo>
                    <a:pt x="1718" y="1251"/>
                  </a:lnTo>
                  <a:lnTo>
                    <a:pt x="1724" y="1259"/>
                  </a:lnTo>
                  <a:lnTo>
                    <a:pt x="1722" y="1268"/>
                  </a:lnTo>
                  <a:lnTo>
                    <a:pt x="1737" y="1263"/>
                  </a:lnTo>
                  <a:lnTo>
                    <a:pt x="1766" y="1272"/>
                  </a:lnTo>
                  <a:lnTo>
                    <a:pt x="1785" y="1270"/>
                  </a:lnTo>
                  <a:lnTo>
                    <a:pt x="1806" y="1282"/>
                  </a:lnTo>
                  <a:lnTo>
                    <a:pt x="1823" y="1297"/>
                  </a:lnTo>
                  <a:lnTo>
                    <a:pt x="1833" y="1301"/>
                  </a:lnTo>
                  <a:lnTo>
                    <a:pt x="1848" y="1301"/>
                  </a:lnTo>
                  <a:lnTo>
                    <a:pt x="1852" y="1307"/>
                  </a:lnTo>
                  <a:lnTo>
                    <a:pt x="1856" y="1324"/>
                  </a:lnTo>
                  <a:lnTo>
                    <a:pt x="1860" y="1334"/>
                  </a:lnTo>
                  <a:lnTo>
                    <a:pt x="1852" y="1357"/>
                  </a:lnTo>
                  <a:lnTo>
                    <a:pt x="1846" y="1364"/>
                  </a:lnTo>
                  <a:lnTo>
                    <a:pt x="1827" y="1385"/>
                  </a:lnTo>
                  <a:lnTo>
                    <a:pt x="1818" y="1399"/>
                  </a:lnTo>
                  <a:lnTo>
                    <a:pt x="1808" y="1414"/>
                  </a:lnTo>
                  <a:lnTo>
                    <a:pt x="1804" y="1414"/>
                  </a:lnTo>
                  <a:lnTo>
                    <a:pt x="1800" y="1424"/>
                  </a:lnTo>
                  <a:lnTo>
                    <a:pt x="1800" y="1451"/>
                  </a:lnTo>
                  <a:lnTo>
                    <a:pt x="1797" y="1472"/>
                  </a:lnTo>
                  <a:lnTo>
                    <a:pt x="1795" y="1481"/>
                  </a:lnTo>
                  <a:lnTo>
                    <a:pt x="1791" y="1487"/>
                  </a:lnTo>
                  <a:lnTo>
                    <a:pt x="1789" y="1506"/>
                  </a:lnTo>
                  <a:lnTo>
                    <a:pt x="1773" y="1525"/>
                  </a:lnTo>
                  <a:lnTo>
                    <a:pt x="1772" y="1541"/>
                  </a:lnTo>
                  <a:lnTo>
                    <a:pt x="1760" y="1547"/>
                  </a:lnTo>
                  <a:lnTo>
                    <a:pt x="1756" y="1556"/>
                  </a:lnTo>
                  <a:lnTo>
                    <a:pt x="1743" y="1556"/>
                  </a:lnTo>
                  <a:lnTo>
                    <a:pt x="1720" y="1560"/>
                  </a:lnTo>
                  <a:lnTo>
                    <a:pt x="1710" y="1568"/>
                  </a:lnTo>
                  <a:lnTo>
                    <a:pt x="1695" y="1572"/>
                  </a:lnTo>
                  <a:lnTo>
                    <a:pt x="1679" y="1583"/>
                  </a:lnTo>
                  <a:lnTo>
                    <a:pt x="1666" y="1598"/>
                  </a:lnTo>
                  <a:lnTo>
                    <a:pt x="1666" y="1608"/>
                  </a:lnTo>
                  <a:lnTo>
                    <a:pt x="1666" y="1618"/>
                  </a:lnTo>
                  <a:lnTo>
                    <a:pt x="1666" y="1633"/>
                  </a:lnTo>
                  <a:lnTo>
                    <a:pt x="1662" y="1641"/>
                  </a:lnTo>
                  <a:lnTo>
                    <a:pt x="1653" y="1648"/>
                  </a:lnTo>
                  <a:lnTo>
                    <a:pt x="1637" y="1675"/>
                  </a:lnTo>
                  <a:lnTo>
                    <a:pt x="1624" y="1687"/>
                  </a:lnTo>
                  <a:lnTo>
                    <a:pt x="1614" y="1696"/>
                  </a:lnTo>
                  <a:lnTo>
                    <a:pt x="1608" y="1710"/>
                  </a:lnTo>
                  <a:lnTo>
                    <a:pt x="1601" y="1719"/>
                  </a:lnTo>
                  <a:lnTo>
                    <a:pt x="1593" y="1729"/>
                  </a:lnTo>
                  <a:lnTo>
                    <a:pt x="1578" y="1739"/>
                  </a:lnTo>
                  <a:lnTo>
                    <a:pt x="1566" y="1735"/>
                  </a:lnTo>
                  <a:lnTo>
                    <a:pt x="1561" y="1737"/>
                  </a:lnTo>
                  <a:lnTo>
                    <a:pt x="1547" y="1729"/>
                  </a:lnTo>
                  <a:lnTo>
                    <a:pt x="1537" y="1729"/>
                  </a:lnTo>
                  <a:lnTo>
                    <a:pt x="1530" y="1721"/>
                  </a:lnTo>
                  <a:lnTo>
                    <a:pt x="1528" y="1729"/>
                  </a:lnTo>
                  <a:lnTo>
                    <a:pt x="1547" y="1742"/>
                  </a:lnTo>
                  <a:lnTo>
                    <a:pt x="1543" y="1752"/>
                  </a:lnTo>
                  <a:lnTo>
                    <a:pt x="1553" y="1762"/>
                  </a:lnTo>
                  <a:lnTo>
                    <a:pt x="1551" y="1767"/>
                  </a:lnTo>
                  <a:lnTo>
                    <a:pt x="1537" y="1788"/>
                  </a:lnTo>
                  <a:lnTo>
                    <a:pt x="1518" y="1798"/>
                  </a:lnTo>
                  <a:lnTo>
                    <a:pt x="1490" y="1802"/>
                  </a:lnTo>
                  <a:lnTo>
                    <a:pt x="1474" y="1800"/>
                  </a:lnTo>
                  <a:lnTo>
                    <a:pt x="1478" y="1810"/>
                  </a:lnTo>
                  <a:lnTo>
                    <a:pt x="1474" y="1821"/>
                  </a:lnTo>
                  <a:lnTo>
                    <a:pt x="1478" y="1829"/>
                  </a:lnTo>
                  <a:lnTo>
                    <a:pt x="1470" y="1834"/>
                  </a:lnTo>
                  <a:lnTo>
                    <a:pt x="1455" y="1838"/>
                  </a:lnTo>
                  <a:lnTo>
                    <a:pt x="1442" y="1831"/>
                  </a:lnTo>
                  <a:lnTo>
                    <a:pt x="1436" y="1836"/>
                  </a:lnTo>
                  <a:lnTo>
                    <a:pt x="1438" y="1854"/>
                  </a:lnTo>
                  <a:lnTo>
                    <a:pt x="1447" y="1858"/>
                  </a:lnTo>
                  <a:lnTo>
                    <a:pt x="1455" y="1854"/>
                  </a:lnTo>
                  <a:lnTo>
                    <a:pt x="1459" y="1861"/>
                  </a:lnTo>
                  <a:lnTo>
                    <a:pt x="1445" y="1867"/>
                  </a:lnTo>
                  <a:lnTo>
                    <a:pt x="1434" y="1877"/>
                  </a:lnTo>
                  <a:lnTo>
                    <a:pt x="1434" y="1892"/>
                  </a:lnTo>
                  <a:lnTo>
                    <a:pt x="1430" y="1904"/>
                  </a:lnTo>
                  <a:lnTo>
                    <a:pt x="1415" y="1904"/>
                  </a:lnTo>
                  <a:lnTo>
                    <a:pt x="1405" y="1911"/>
                  </a:lnTo>
                  <a:lnTo>
                    <a:pt x="1399" y="1925"/>
                  </a:lnTo>
                  <a:lnTo>
                    <a:pt x="1415" y="1938"/>
                  </a:lnTo>
                  <a:lnTo>
                    <a:pt x="1428" y="1942"/>
                  </a:lnTo>
                  <a:lnTo>
                    <a:pt x="1424" y="1957"/>
                  </a:lnTo>
                  <a:lnTo>
                    <a:pt x="1407" y="1969"/>
                  </a:lnTo>
                  <a:lnTo>
                    <a:pt x="1395" y="1988"/>
                  </a:lnTo>
                  <a:lnTo>
                    <a:pt x="1386" y="1996"/>
                  </a:lnTo>
                  <a:lnTo>
                    <a:pt x="1378" y="2005"/>
                  </a:lnTo>
                  <a:lnTo>
                    <a:pt x="1384" y="2023"/>
                  </a:lnTo>
                  <a:lnTo>
                    <a:pt x="1394" y="2034"/>
                  </a:lnTo>
                  <a:lnTo>
                    <a:pt x="1386" y="2032"/>
                  </a:lnTo>
                  <a:lnTo>
                    <a:pt x="1376" y="2032"/>
                  </a:lnTo>
                  <a:lnTo>
                    <a:pt x="1369" y="2038"/>
                  </a:lnTo>
                  <a:lnTo>
                    <a:pt x="1355" y="2046"/>
                  </a:lnTo>
                  <a:lnTo>
                    <a:pt x="1353" y="2063"/>
                  </a:lnTo>
                  <a:lnTo>
                    <a:pt x="1348" y="2063"/>
                  </a:lnTo>
                  <a:lnTo>
                    <a:pt x="1332" y="2057"/>
                  </a:lnTo>
                  <a:lnTo>
                    <a:pt x="1315" y="2044"/>
                  </a:lnTo>
                  <a:lnTo>
                    <a:pt x="1298" y="2032"/>
                  </a:lnTo>
                  <a:lnTo>
                    <a:pt x="1294" y="2023"/>
                  </a:lnTo>
                  <a:lnTo>
                    <a:pt x="1298" y="2011"/>
                  </a:lnTo>
                  <a:lnTo>
                    <a:pt x="1292" y="1998"/>
                  </a:lnTo>
                  <a:lnTo>
                    <a:pt x="1290" y="1969"/>
                  </a:lnTo>
                  <a:lnTo>
                    <a:pt x="1294" y="1950"/>
                  </a:lnTo>
                  <a:lnTo>
                    <a:pt x="1309" y="1936"/>
                  </a:lnTo>
                  <a:lnTo>
                    <a:pt x="1288" y="1930"/>
                  </a:lnTo>
                  <a:lnTo>
                    <a:pt x="1301" y="1915"/>
                  </a:lnTo>
                  <a:lnTo>
                    <a:pt x="1307" y="1886"/>
                  </a:lnTo>
                  <a:lnTo>
                    <a:pt x="1321" y="1892"/>
                  </a:lnTo>
                  <a:lnTo>
                    <a:pt x="1330" y="1858"/>
                  </a:lnTo>
                  <a:lnTo>
                    <a:pt x="1319" y="1854"/>
                  </a:lnTo>
                  <a:lnTo>
                    <a:pt x="1315" y="1875"/>
                  </a:lnTo>
                  <a:lnTo>
                    <a:pt x="1307" y="1871"/>
                  </a:lnTo>
                  <a:lnTo>
                    <a:pt x="1311" y="1848"/>
                  </a:lnTo>
                  <a:lnTo>
                    <a:pt x="1317" y="1817"/>
                  </a:lnTo>
                  <a:lnTo>
                    <a:pt x="1321" y="1806"/>
                  </a:lnTo>
                  <a:lnTo>
                    <a:pt x="1319" y="1790"/>
                  </a:lnTo>
                  <a:lnTo>
                    <a:pt x="1317" y="1773"/>
                  </a:lnTo>
                  <a:lnTo>
                    <a:pt x="1323" y="1771"/>
                  </a:lnTo>
                  <a:lnTo>
                    <a:pt x="1332" y="1746"/>
                  </a:lnTo>
                  <a:lnTo>
                    <a:pt x="1342" y="1721"/>
                  </a:lnTo>
                  <a:lnTo>
                    <a:pt x="1348" y="1698"/>
                  </a:lnTo>
                  <a:lnTo>
                    <a:pt x="1344" y="1673"/>
                  </a:lnTo>
                  <a:lnTo>
                    <a:pt x="1348" y="1664"/>
                  </a:lnTo>
                  <a:lnTo>
                    <a:pt x="1348" y="1644"/>
                  </a:lnTo>
                  <a:lnTo>
                    <a:pt x="1355" y="1625"/>
                  </a:lnTo>
                  <a:lnTo>
                    <a:pt x="1357" y="1596"/>
                  </a:lnTo>
                  <a:lnTo>
                    <a:pt x="1361" y="1566"/>
                  </a:lnTo>
                  <a:lnTo>
                    <a:pt x="1365" y="1531"/>
                  </a:lnTo>
                  <a:lnTo>
                    <a:pt x="1365" y="1508"/>
                  </a:lnTo>
                  <a:lnTo>
                    <a:pt x="1361" y="1489"/>
                  </a:lnTo>
                  <a:lnTo>
                    <a:pt x="1348" y="1479"/>
                  </a:lnTo>
                  <a:lnTo>
                    <a:pt x="1348" y="1476"/>
                  </a:lnTo>
                  <a:lnTo>
                    <a:pt x="1319" y="1460"/>
                  </a:lnTo>
                  <a:lnTo>
                    <a:pt x="1294" y="1445"/>
                  </a:lnTo>
                  <a:lnTo>
                    <a:pt x="1282" y="1435"/>
                  </a:lnTo>
                  <a:lnTo>
                    <a:pt x="1278" y="1424"/>
                  </a:lnTo>
                  <a:lnTo>
                    <a:pt x="1280" y="1420"/>
                  </a:lnTo>
                  <a:lnTo>
                    <a:pt x="1269" y="1401"/>
                  </a:lnTo>
                  <a:lnTo>
                    <a:pt x="1253" y="1376"/>
                  </a:lnTo>
                  <a:lnTo>
                    <a:pt x="1242" y="1349"/>
                  </a:lnTo>
                  <a:lnTo>
                    <a:pt x="1236" y="1341"/>
                  </a:lnTo>
                  <a:lnTo>
                    <a:pt x="1232" y="1332"/>
                  </a:lnTo>
                  <a:lnTo>
                    <a:pt x="1219" y="1322"/>
                  </a:lnTo>
                  <a:lnTo>
                    <a:pt x="1211" y="1316"/>
                  </a:lnTo>
                  <a:lnTo>
                    <a:pt x="1215" y="1311"/>
                  </a:lnTo>
                  <a:lnTo>
                    <a:pt x="1207" y="1295"/>
                  </a:lnTo>
                  <a:lnTo>
                    <a:pt x="1213" y="1286"/>
                  </a:lnTo>
                  <a:lnTo>
                    <a:pt x="1223" y="1278"/>
                  </a:lnTo>
                  <a:lnTo>
                    <a:pt x="1232" y="1268"/>
                  </a:lnTo>
                  <a:lnTo>
                    <a:pt x="1229" y="1261"/>
                  </a:lnTo>
                  <a:lnTo>
                    <a:pt x="1223" y="1268"/>
                  </a:lnTo>
                  <a:lnTo>
                    <a:pt x="1215" y="1261"/>
                  </a:lnTo>
                  <a:lnTo>
                    <a:pt x="1217" y="1257"/>
                  </a:lnTo>
                  <a:lnTo>
                    <a:pt x="1215" y="1245"/>
                  </a:lnTo>
                  <a:lnTo>
                    <a:pt x="1219" y="1243"/>
                  </a:lnTo>
                  <a:lnTo>
                    <a:pt x="1223" y="1234"/>
                  </a:lnTo>
                  <a:lnTo>
                    <a:pt x="1229" y="1226"/>
                  </a:lnTo>
                  <a:lnTo>
                    <a:pt x="1227" y="1218"/>
                  </a:lnTo>
                  <a:lnTo>
                    <a:pt x="1234" y="1216"/>
                  </a:lnTo>
                  <a:lnTo>
                    <a:pt x="1244" y="1211"/>
                  </a:lnTo>
                  <a:lnTo>
                    <a:pt x="1242" y="1207"/>
                  </a:lnTo>
                  <a:lnTo>
                    <a:pt x="1246" y="1207"/>
                  </a:lnTo>
                  <a:lnTo>
                    <a:pt x="1246" y="1199"/>
                  </a:lnTo>
                  <a:lnTo>
                    <a:pt x="1250" y="1193"/>
                  </a:lnTo>
                  <a:lnTo>
                    <a:pt x="1255" y="1192"/>
                  </a:lnTo>
                  <a:lnTo>
                    <a:pt x="1263" y="1184"/>
                  </a:lnTo>
                  <a:lnTo>
                    <a:pt x="1269" y="1176"/>
                  </a:lnTo>
                  <a:lnTo>
                    <a:pt x="1263" y="1172"/>
                  </a:lnTo>
                  <a:lnTo>
                    <a:pt x="1265" y="1167"/>
                  </a:lnTo>
                  <a:lnTo>
                    <a:pt x="1261" y="1153"/>
                  </a:lnTo>
                  <a:lnTo>
                    <a:pt x="1265" y="1149"/>
                  </a:lnTo>
                  <a:lnTo>
                    <a:pt x="1263" y="1138"/>
                  </a:lnTo>
                  <a:lnTo>
                    <a:pt x="1257" y="1128"/>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177">
              <a:extLst>
                <a:ext uri="{FF2B5EF4-FFF2-40B4-BE49-F238E27FC236}">
                  <a16:creationId xmlns:a16="http://schemas.microsoft.com/office/drawing/2014/main" id="{6112A44A-335F-4B73-BAEA-4CACB1FB60FB}"/>
                </a:ext>
              </a:extLst>
            </p:cNvPr>
            <p:cNvSpPr>
              <a:spLocks/>
            </p:cNvSpPr>
            <p:nvPr/>
          </p:nvSpPr>
          <p:spPr bwMode="auto">
            <a:xfrm>
              <a:off x="1728789" y="2489343"/>
              <a:ext cx="404813" cy="192175"/>
            </a:xfrm>
            <a:custGeom>
              <a:avLst/>
              <a:gdLst>
                <a:gd name="T0" fmla="*/ 57 w 255"/>
                <a:gd name="T1" fmla="*/ 0 h 121"/>
                <a:gd name="T2" fmla="*/ 73 w 255"/>
                <a:gd name="T3" fmla="*/ 6 h 121"/>
                <a:gd name="T4" fmla="*/ 65 w 255"/>
                <a:gd name="T5" fmla="*/ 18 h 121"/>
                <a:gd name="T6" fmla="*/ 98 w 255"/>
                <a:gd name="T7" fmla="*/ 12 h 121"/>
                <a:gd name="T8" fmla="*/ 115 w 255"/>
                <a:gd name="T9" fmla="*/ 25 h 121"/>
                <a:gd name="T10" fmla="*/ 132 w 255"/>
                <a:gd name="T11" fmla="*/ 12 h 121"/>
                <a:gd name="T12" fmla="*/ 144 w 255"/>
                <a:gd name="T13" fmla="*/ 19 h 121"/>
                <a:gd name="T14" fmla="*/ 155 w 255"/>
                <a:gd name="T15" fmla="*/ 44 h 121"/>
                <a:gd name="T16" fmla="*/ 161 w 255"/>
                <a:gd name="T17" fmla="*/ 35 h 121"/>
                <a:gd name="T18" fmla="*/ 153 w 255"/>
                <a:gd name="T19" fmla="*/ 6 h 121"/>
                <a:gd name="T20" fmla="*/ 165 w 255"/>
                <a:gd name="T21" fmla="*/ 2 h 121"/>
                <a:gd name="T22" fmla="*/ 178 w 255"/>
                <a:gd name="T23" fmla="*/ 8 h 121"/>
                <a:gd name="T24" fmla="*/ 194 w 255"/>
                <a:gd name="T25" fmla="*/ 18 h 121"/>
                <a:gd name="T26" fmla="*/ 203 w 255"/>
                <a:gd name="T27" fmla="*/ 42 h 121"/>
                <a:gd name="T28" fmla="*/ 207 w 255"/>
                <a:gd name="T29" fmla="*/ 62 h 121"/>
                <a:gd name="T30" fmla="*/ 230 w 255"/>
                <a:gd name="T31" fmla="*/ 75 h 121"/>
                <a:gd name="T32" fmla="*/ 255 w 255"/>
                <a:gd name="T33" fmla="*/ 87 h 121"/>
                <a:gd name="T34" fmla="*/ 253 w 255"/>
                <a:gd name="T35" fmla="*/ 96 h 121"/>
                <a:gd name="T36" fmla="*/ 232 w 255"/>
                <a:gd name="T37" fmla="*/ 98 h 121"/>
                <a:gd name="T38" fmla="*/ 242 w 255"/>
                <a:gd name="T39" fmla="*/ 108 h 121"/>
                <a:gd name="T40" fmla="*/ 236 w 255"/>
                <a:gd name="T41" fmla="*/ 117 h 121"/>
                <a:gd name="T42" fmla="*/ 211 w 255"/>
                <a:gd name="T43" fmla="*/ 113 h 121"/>
                <a:gd name="T44" fmla="*/ 186 w 255"/>
                <a:gd name="T45" fmla="*/ 106 h 121"/>
                <a:gd name="T46" fmla="*/ 171 w 255"/>
                <a:gd name="T47" fmla="*/ 108 h 121"/>
                <a:gd name="T48" fmla="*/ 146 w 255"/>
                <a:gd name="T49" fmla="*/ 117 h 121"/>
                <a:gd name="T50" fmla="*/ 107 w 255"/>
                <a:gd name="T51" fmla="*/ 119 h 121"/>
                <a:gd name="T52" fmla="*/ 84 w 255"/>
                <a:gd name="T53" fmla="*/ 121 h 121"/>
                <a:gd name="T54" fmla="*/ 77 w 255"/>
                <a:gd name="T55" fmla="*/ 112 h 121"/>
                <a:gd name="T56" fmla="*/ 57 w 255"/>
                <a:gd name="T57" fmla="*/ 104 h 121"/>
                <a:gd name="T58" fmla="*/ 44 w 255"/>
                <a:gd name="T59" fmla="*/ 106 h 121"/>
                <a:gd name="T60" fmla="*/ 29 w 255"/>
                <a:gd name="T61" fmla="*/ 89 h 121"/>
                <a:gd name="T62" fmla="*/ 38 w 255"/>
                <a:gd name="T63" fmla="*/ 85 h 121"/>
                <a:gd name="T64" fmla="*/ 59 w 255"/>
                <a:gd name="T65" fmla="*/ 79 h 121"/>
                <a:gd name="T66" fmla="*/ 78 w 255"/>
                <a:gd name="T67" fmla="*/ 81 h 121"/>
                <a:gd name="T68" fmla="*/ 98 w 255"/>
                <a:gd name="T69" fmla="*/ 77 h 121"/>
                <a:gd name="T70" fmla="*/ 71 w 255"/>
                <a:gd name="T71" fmla="*/ 71 h 121"/>
                <a:gd name="T72" fmla="*/ 40 w 255"/>
                <a:gd name="T73" fmla="*/ 73 h 121"/>
                <a:gd name="T74" fmla="*/ 19 w 255"/>
                <a:gd name="T75" fmla="*/ 73 h 121"/>
                <a:gd name="T76" fmla="*/ 13 w 255"/>
                <a:gd name="T77" fmla="*/ 64 h 121"/>
                <a:gd name="T78" fmla="*/ 44 w 255"/>
                <a:gd name="T79" fmla="*/ 54 h 121"/>
                <a:gd name="T80" fmla="*/ 23 w 255"/>
                <a:gd name="T81" fmla="*/ 54 h 121"/>
                <a:gd name="T82" fmla="*/ 0 w 255"/>
                <a:gd name="T83" fmla="*/ 46 h 121"/>
                <a:gd name="T84" fmla="*/ 11 w 255"/>
                <a:gd name="T85" fmla="*/ 27 h 121"/>
                <a:gd name="T86" fmla="*/ 21 w 255"/>
                <a:gd name="T87" fmla="*/ 18 h 121"/>
                <a:gd name="T88" fmla="*/ 57 w 255"/>
                <a:gd name="T8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5" h="121">
                  <a:moveTo>
                    <a:pt x="57" y="0"/>
                  </a:moveTo>
                  <a:lnTo>
                    <a:pt x="73" y="6"/>
                  </a:lnTo>
                  <a:lnTo>
                    <a:pt x="65" y="18"/>
                  </a:lnTo>
                  <a:lnTo>
                    <a:pt x="98" y="12"/>
                  </a:lnTo>
                  <a:lnTo>
                    <a:pt x="115" y="25"/>
                  </a:lnTo>
                  <a:lnTo>
                    <a:pt x="132" y="12"/>
                  </a:lnTo>
                  <a:lnTo>
                    <a:pt x="144" y="19"/>
                  </a:lnTo>
                  <a:lnTo>
                    <a:pt x="155" y="44"/>
                  </a:lnTo>
                  <a:lnTo>
                    <a:pt x="161" y="35"/>
                  </a:lnTo>
                  <a:lnTo>
                    <a:pt x="153" y="6"/>
                  </a:lnTo>
                  <a:lnTo>
                    <a:pt x="165" y="2"/>
                  </a:lnTo>
                  <a:lnTo>
                    <a:pt x="178" y="8"/>
                  </a:lnTo>
                  <a:lnTo>
                    <a:pt x="194" y="18"/>
                  </a:lnTo>
                  <a:lnTo>
                    <a:pt x="203" y="42"/>
                  </a:lnTo>
                  <a:lnTo>
                    <a:pt x="207" y="62"/>
                  </a:lnTo>
                  <a:lnTo>
                    <a:pt x="230" y="75"/>
                  </a:lnTo>
                  <a:lnTo>
                    <a:pt x="255" y="87"/>
                  </a:lnTo>
                  <a:lnTo>
                    <a:pt x="253" y="96"/>
                  </a:lnTo>
                  <a:lnTo>
                    <a:pt x="232" y="98"/>
                  </a:lnTo>
                  <a:lnTo>
                    <a:pt x="242" y="108"/>
                  </a:lnTo>
                  <a:lnTo>
                    <a:pt x="236" y="117"/>
                  </a:lnTo>
                  <a:lnTo>
                    <a:pt x="211" y="113"/>
                  </a:lnTo>
                  <a:lnTo>
                    <a:pt x="186" y="106"/>
                  </a:lnTo>
                  <a:lnTo>
                    <a:pt x="171" y="108"/>
                  </a:lnTo>
                  <a:lnTo>
                    <a:pt x="146" y="117"/>
                  </a:lnTo>
                  <a:lnTo>
                    <a:pt x="107" y="119"/>
                  </a:lnTo>
                  <a:lnTo>
                    <a:pt x="84" y="121"/>
                  </a:lnTo>
                  <a:lnTo>
                    <a:pt x="77" y="112"/>
                  </a:lnTo>
                  <a:lnTo>
                    <a:pt x="57" y="104"/>
                  </a:lnTo>
                  <a:lnTo>
                    <a:pt x="44" y="106"/>
                  </a:lnTo>
                  <a:lnTo>
                    <a:pt x="29" y="89"/>
                  </a:lnTo>
                  <a:lnTo>
                    <a:pt x="38" y="85"/>
                  </a:lnTo>
                  <a:lnTo>
                    <a:pt x="59" y="79"/>
                  </a:lnTo>
                  <a:lnTo>
                    <a:pt x="78" y="81"/>
                  </a:lnTo>
                  <a:lnTo>
                    <a:pt x="98" y="77"/>
                  </a:lnTo>
                  <a:lnTo>
                    <a:pt x="71" y="71"/>
                  </a:lnTo>
                  <a:lnTo>
                    <a:pt x="40" y="73"/>
                  </a:lnTo>
                  <a:lnTo>
                    <a:pt x="19" y="73"/>
                  </a:lnTo>
                  <a:lnTo>
                    <a:pt x="13" y="64"/>
                  </a:lnTo>
                  <a:lnTo>
                    <a:pt x="44" y="54"/>
                  </a:lnTo>
                  <a:lnTo>
                    <a:pt x="23" y="54"/>
                  </a:lnTo>
                  <a:lnTo>
                    <a:pt x="0" y="46"/>
                  </a:lnTo>
                  <a:lnTo>
                    <a:pt x="11" y="27"/>
                  </a:lnTo>
                  <a:lnTo>
                    <a:pt x="21" y="18"/>
                  </a:lnTo>
                  <a:lnTo>
                    <a:pt x="5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179">
              <a:extLst>
                <a:ext uri="{FF2B5EF4-FFF2-40B4-BE49-F238E27FC236}">
                  <a16:creationId xmlns:a16="http://schemas.microsoft.com/office/drawing/2014/main" id="{715656F8-4EEB-4023-9780-802C01877039}"/>
                </a:ext>
              </a:extLst>
            </p:cNvPr>
            <p:cNvSpPr>
              <a:spLocks/>
            </p:cNvSpPr>
            <p:nvPr/>
          </p:nvSpPr>
          <p:spPr bwMode="auto">
            <a:xfrm>
              <a:off x="2005014" y="2478225"/>
              <a:ext cx="52388" cy="36530"/>
            </a:xfrm>
            <a:custGeom>
              <a:avLst/>
              <a:gdLst>
                <a:gd name="T0" fmla="*/ 23 w 33"/>
                <a:gd name="T1" fmla="*/ 0 h 23"/>
                <a:gd name="T2" fmla="*/ 33 w 33"/>
                <a:gd name="T3" fmla="*/ 5 h 23"/>
                <a:gd name="T4" fmla="*/ 21 w 33"/>
                <a:gd name="T5" fmla="*/ 23 h 23"/>
                <a:gd name="T6" fmla="*/ 0 w 33"/>
                <a:gd name="T7" fmla="*/ 5 h 23"/>
                <a:gd name="T8" fmla="*/ 4 w 33"/>
                <a:gd name="T9" fmla="*/ 0 h 23"/>
                <a:gd name="T10" fmla="*/ 23 w 33"/>
                <a:gd name="T11" fmla="*/ 0 h 23"/>
              </a:gdLst>
              <a:ahLst/>
              <a:cxnLst>
                <a:cxn ang="0">
                  <a:pos x="T0" y="T1"/>
                </a:cxn>
                <a:cxn ang="0">
                  <a:pos x="T2" y="T3"/>
                </a:cxn>
                <a:cxn ang="0">
                  <a:pos x="T4" y="T5"/>
                </a:cxn>
                <a:cxn ang="0">
                  <a:pos x="T6" y="T7"/>
                </a:cxn>
                <a:cxn ang="0">
                  <a:pos x="T8" y="T9"/>
                </a:cxn>
                <a:cxn ang="0">
                  <a:pos x="T10" y="T11"/>
                </a:cxn>
              </a:cxnLst>
              <a:rect l="0" t="0" r="r" b="b"/>
              <a:pathLst>
                <a:path w="33" h="23">
                  <a:moveTo>
                    <a:pt x="23" y="0"/>
                  </a:moveTo>
                  <a:lnTo>
                    <a:pt x="33" y="5"/>
                  </a:lnTo>
                  <a:lnTo>
                    <a:pt x="21" y="23"/>
                  </a:lnTo>
                  <a:lnTo>
                    <a:pt x="0" y="5"/>
                  </a:lnTo>
                  <a:lnTo>
                    <a:pt x="4" y="0"/>
                  </a:lnTo>
                  <a:lnTo>
                    <a:pt x="2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181">
              <a:extLst>
                <a:ext uri="{FF2B5EF4-FFF2-40B4-BE49-F238E27FC236}">
                  <a16:creationId xmlns:a16="http://schemas.microsoft.com/office/drawing/2014/main" id="{C6EC7315-601E-46FD-86BB-3EA57901B836}"/>
                </a:ext>
              </a:extLst>
            </p:cNvPr>
            <p:cNvSpPr>
              <a:spLocks/>
            </p:cNvSpPr>
            <p:nvPr/>
          </p:nvSpPr>
          <p:spPr bwMode="auto">
            <a:xfrm>
              <a:off x="2578101" y="2471872"/>
              <a:ext cx="103188" cy="42882"/>
            </a:xfrm>
            <a:custGeom>
              <a:avLst/>
              <a:gdLst>
                <a:gd name="T0" fmla="*/ 8 w 65"/>
                <a:gd name="T1" fmla="*/ 0 h 27"/>
                <a:gd name="T2" fmla="*/ 38 w 65"/>
                <a:gd name="T3" fmla="*/ 2 h 27"/>
                <a:gd name="T4" fmla="*/ 63 w 65"/>
                <a:gd name="T5" fmla="*/ 17 h 27"/>
                <a:gd name="T6" fmla="*/ 65 w 65"/>
                <a:gd name="T7" fmla="*/ 25 h 27"/>
                <a:gd name="T8" fmla="*/ 50 w 65"/>
                <a:gd name="T9" fmla="*/ 25 h 27"/>
                <a:gd name="T10" fmla="*/ 35 w 65"/>
                <a:gd name="T11" fmla="*/ 25 h 27"/>
                <a:gd name="T12" fmla="*/ 19 w 65"/>
                <a:gd name="T13" fmla="*/ 27 h 27"/>
                <a:gd name="T14" fmla="*/ 17 w 65"/>
                <a:gd name="T15" fmla="*/ 25 h 27"/>
                <a:gd name="T16" fmla="*/ 0 w 65"/>
                <a:gd name="T17" fmla="*/ 11 h 27"/>
                <a:gd name="T18" fmla="*/ 0 w 65"/>
                <a:gd name="T19" fmla="*/ 2 h 27"/>
                <a:gd name="T20" fmla="*/ 8 w 65"/>
                <a:gd name="T2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27">
                  <a:moveTo>
                    <a:pt x="8" y="0"/>
                  </a:moveTo>
                  <a:lnTo>
                    <a:pt x="38" y="2"/>
                  </a:lnTo>
                  <a:lnTo>
                    <a:pt x="63" y="17"/>
                  </a:lnTo>
                  <a:lnTo>
                    <a:pt x="65" y="25"/>
                  </a:lnTo>
                  <a:lnTo>
                    <a:pt x="50" y="25"/>
                  </a:lnTo>
                  <a:lnTo>
                    <a:pt x="35" y="25"/>
                  </a:lnTo>
                  <a:lnTo>
                    <a:pt x="19" y="27"/>
                  </a:lnTo>
                  <a:lnTo>
                    <a:pt x="17" y="25"/>
                  </a:lnTo>
                  <a:lnTo>
                    <a:pt x="0" y="11"/>
                  </a:lnTo>
                  <a:lnTo>
                    <a:pt x="0" y="2"/>
                  </a:lnTo>
                  <a:lnTo>
                    <a:pt x="8"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183">
              <a:extLst>
                <a:ext uri="{FF2B5EF4-FFF2-40B4-BE49-F238E27FC236}">
                  <a16:creationId xmlns:a16="http://schemas.microsoft.com/office/drawing/2014/main" id="{8E91D79F-3901-44AD-8320-B0A898FFDA4D}"/>
                </a:ext>
              </a:extLst>
            </p:cNvPr>
            <p:cNvSpPr>
              <a:spLocks/>
            </p:cNvSpPr>
            <p:nvPr/>
          </p:nvSpPr>
          <p:spPr bwMode="auto">
            <a:xfrm>
              <a:off x="2374902" y="2471872"/>
              <a:ext cx="627063" cy="451054"/>
            </a:xfrm>
            <a:custGeom>
              <a:avLst/>
              <a:gdLst>
                <a:gd name="T0" fmla="*/ 49 w 395"/>
                <a:gd name="T1" fmla="*/ 15 h 284"/>
                <a:gd name="T2" fmla="*/ 74 w 395"/>
                <a:gd name="T3" fmla="*/ 9 h 284"/>
                <a:gd name="T4" fmla="*/ 132 w 395"/>
                <a:gd name="T5" fmla="*/ 27 h 284"/>
                <a:gd name="T6" fmla="*/ 157 w 395"/>
                <a:gd name="T7" fmla="*/ 38 h 284"/>
                <a:gd name="T8" fmla="*/ 203 w 395"/>
                <a:gd name="T9" fmla="*/ 40 h 284"/>
                <a:gd name="T10" fmla="*/ 222 w 395"/>
                <a:gd name="T11" fmla="*/ 65 h 284"/>
                <a:gd name="T12" fmla="*/ 262 w 395"/>
                <a:gd name="T13" fmla="*/ 75 h 284"/>
                <a:gd name="T14" fmla="*/ 308 w 395"/>
                <a:gd name="T15" fmla="*/ 94 h 284"/>
                <a:gd name="T16" fmla="*/ 297 w 395"/>
                <a:gd name="T17" fmla="*/ 128 h 284"/>
                <a:gd name="T18" fmla="*/ 353 w 395"/>
                <a:gd name="T19" fmla="*/ 149 h 284"/>
                <a:gd name="T20" fmla="*/ 395 w 395"/>
                <a:gd name="T21" fmla="*/ 172 h 284"/>
                <a:gd name="T22" fmla="*/ 366 w 395"/>
                <a:gd name="T23" fmla="*/ 217 h 284"/>
                <a:gd name="T24" fmla="*/ 326 w 395"/>
                <a:gd name="T25" fmla="*/ 184 h 284"/>
                <a:gd name="T26" fmla="*/ 307 w 395"/>
                <a:gd name="T27" fmla="*/ 201 h 284"/>
                <a:gd name="T28" fmla="*/ 341 w 395"/>
                <a:gd name="T29" fmla="*/ 224 h 284"/>
                <a:gd name="T30" fmla="*/ 356 w 395"/>
                <a:gd name="T31" fmla="*/ 251 h 284"/>
                <a:gd name="T32" fmla="*/ 332 w 395"/>
                <a:gd name="T33" fmla="*/ 261 h 284"/>
                <a:gd name="T34" fmla="*/ 316 w 395"/>
                <a:gd name="T35" fmla="*/ 263 h 284"/>
                <a:gd name="T36" fmla="*/ 333 w 395"/>
                <a:gd name="T37" fmla="*/ 284 h 284"/>
                <a:gd name="T38" fmla="*/ 266 w 395"/>
                <a:gd name="T39" fmla="*/ 263 h 284"/>
                <a:gd name="T40" fmla="*/ 253 w 395"/>
                <a:gd name="T41" fmla="*/ 245 h 284"/>
                <a:gd name="T42" fmla="*/ 213 w 395"/>
                <a:gd name="T43" fmla="*/ 222 h 284"/>
                <a:gd name="T44" fmla="*/ 172 w 395"/>
                <a:gd name="T45" fmla="*/ 232 h 284"/>
                <a:gd name="T46" fmla="*/ 168 w 395"/>
                <a:gd name="T47" fmla="*/ 209 h 284"/>
                <a:gd name="T48" fmla="*/ 224 w 395"/>
                <a:gd name="T49" fmla="*/ 207 h 284"/>
                <a:gd name="T50" fmla="*/ 224 w 395"/>
                <a:gd name="T51" fmla="*/ 186 h 284"/>
                <a:gd name="T52" fmla="*/ 239 w 395"/>
                <a:gd name="T53" fmla="*/ 151 h 284"/>
                <a:gd name="T54" fmla="*/ 213 w 395"/>
                <a:gd name="T55" fmla="*/ 132 h 284"/>
                <a:gd name="T56" fmla="*/ 193 w 395"/>
                <a:gd name="T57" fmla="*/ 119 h 284"/>
                <a:gd name="T58" fmla="*/ 166 w 395"/>
                <a:gd name="T59" fmla="*/ 103 h 284"/>
                <a:gd name="T60" fmla="*/ 147 w 395"/>
                <a:gd name="T61" fmla="*/ 101 h 284"/>
                <a:gd name="T62" fmla="*/ 72 w 395"/>
                <a:gd name="T63" fmla="*/ 100 h 284"/>
                <a:gd name="T64" fmla="*/ 21 w 395"/>
                <a:gd name="T65" fmla="*/ 86 h 284"/>
                <a:gd name="T66" fmla="*/ 23 w 395"/>
                <a:gd name="T67" fmla="*/ 67 h 284"/>
                <a:gd name="T68" fmla="*/ 0 w 395"/>
                <a:gd name="T69" fmla="*/ 40 h 284"/>
                <a:gd name="T70" fmla="*/ 23 w 395"/>
                <a:gd name="T71" fmla="*/ 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284">
                  <a:moveTo>
                    <a:pt x="59" y="0"/>
                  </a:moveTo>
                  <a:lnTo>
                    <a:pt x="49" y="15"/>
                  </a:lnTo>
                  <a:lnTo>
                    <a:pt x="61" y="32"/>
                  </a:lnTo>
                  <a:lnTo>
                    <a:pt x="74" y="9"/>
                  </a:lnTo>
                  <a:lnTo>
                    <a:pt x="109" y="0"/>
                  </a:lnTo>
                  <a:lnTo>
                    <a:pt x="132" y="27"/>
                  </a:lnTo>
                  <a:lnTo>
                    <a:pt x="130" y="46"/>
                  </a:lnTo>
                  <a:lnTo>
                    <a:pt x="157" y="38"/>
                  </a:lnTo>
                  <a:lnTo>
                    <a:pt x="170" y="27"/>
                  </a:lnTo>
                  <a:lnTo>
                    <a:pt x="203" y="40"/>
                  </a:lnTo>
                  <a:lnTo>
                    <a:pt x="222" y="52"/>
                  </a:lnTo>
                  <a:lnTo>
                    <a:pt x="222" y="65"/>
                  </a:lnTo>
                  <a:lnTo>
                    <a:pt x="249" y="57"/>
                  </a:lnTo>
                  <a:lnTo>
                    <a:pt x="262" y="75"/>
                  </a:lnTo>
                  <a:lnTo>
                    <a:pt x="297" y="84"/>
                  </a:lnTo>
                  <a:lnTo>
                    <a:pt x="308" y="94"/>
                  </a:lnTo>
                  <a:lnTo>
                    <a:pt x="322" y="117"/>
                  </a:lnTo>
                  <a:lnTo>
                    <a:pt x="297" y="128"/>
                  </a:lnTo>
                  <a:lnTo>
                    <a:pt x="330" y="144"/>
                  </a:lnTo>
                  <a:lnTo>
                    <a:pt x="353" y="149"/>
                  </a:lnTo>
                  <a:lnTo>
                    <a:pt x="372" y="171"/>
                  </a:lnTo>
                  <a:lnTo>
                    <a:pt x="395" y="172"/>
                  </a:lnTo>
                  <a:lnTo>
                    <a:pt x="389" y="190"/>
                  </a:lnTo>
                  <a:lnTo>
                    <a:pt x="366" y="217"/>
                  </a:lnTo>
                  <a:lnTo>
                    <a:pt x="349" y="207"/>
                  </a:lnTo>
                  <a:lnTo>
                    <a:pt x="326" y="184"/>
                  </a:lnTo>
                  <a:lnTo>
                    <a:pt x="308" y="188"/>
                  </a:lnTo>
                  <a:lnTo>
                    <a:pt x="307" y="201"/>
                  </a:lnTo>
                  <a:lnTo>
                    <a:pt x="320" y="213"/>
                  </a:lnTo>
                  <a:lnTo>
                    <a:pt x="341" y="224"/>
                  </a:lnTo>
                  <a:lnTo>
                    <a:pt x="347" y="230"/>
                  </a:lnTo>
                  <a:lnTo>
                    <a:pt x="356" y="251"/>
                  </a:lnTo>
                  <a:lnTo>
                    <a:pt x="351" y="268"/>
                  </a:lnTo>
                  <a:lnTo>
                    <a:pt x="332" y="261"/>
                  </a:lnTo>
                  <a:lnTo>
                    <a:pt x="297" y="245"/>
                  </a:lnTo>
                  <a:lnTo>
                    <a:pt x="316" y="263"/>
                  </a:lnTo>
                  <a:lnTo>
                    <a:pt x="332" y="276"/>
                  </a:lnTo>
                  <a:lnTo>
                    <a:pt x="333" y="284"/>
                  </a:lnTo>
                  <a:lnTo>
                    <a:pt x="297" y="274"/>
                  </a:lnTo>
                  <a:lnTo>
                    <a:pt x="266" y="263"/>
                  </a:lnTo>
                  <a:lnTo>
                    <a:pt x="249" y="251"/>
                  </a:lnTo>
                  <a:lnTo>
                    <a:pt x="253" y="245"/>
                  </a:lnTo>
                  <a:lnTo>
                    <a:pt x="232" y="234"/>
                  </a:lnTo>
                  <a:lnTo>
                    <a:pt x="213" y="222"/>
                  </a:lnTo>
                  <a:lnTo>
                    <a:pt x="213" y="230"/>
                  </a:lnTo>
                  <a:lnTo>
                    <a:pt x="172" y="232"/>
                  </a:lnTo>
                  <a:lnTo>
                    <a:pt x="161" y="226"/>
                  </a:lnTo>
                  <a:lnTo>
                    <a:pt x="168" y="209"/>
                  </a:lnTo>
                  <a:lnTo>
                    <a:pt x="195" y="207"/>
                  </a:lnTo>
                  <a:lnTo>
                    <a:pt x="224" y="207"/>
                  </a:lnTo>
                  <a:lnTo>
                    <a:pt x="220" y="197"/>
                  </a:lnTo>
                  <a:lnTo>
                    <a:pt x="224" y="186"/>
                  </a:lnTo>
                  <a:lnTo>
                    <a:pt x="243" y="163"/>
                  </a:lnTo>
                  <a:lnTo>
                    <a:pt x="239" y="151"/>
                  </a:lnTo>
                  <a:lnTo>
                    <a:pt x="234" y="144"/>
                  </a:lnTo>
                  <a:lnTo>
                    <a:pt x="213" y="132"/>
                  </a:lnTo>
                  <a:lnTo>
                    <a:pt x="184" y="124"/>
                  </a:lnTo>
                  <a:lnTo>
                    <a:pt x="193" y="119"/>
                  </a:lnTo>
                  <a:lnTo>
                    <a:pt x="180" y="103"/>
                  </a:lnTo>
                  <a:lnTo>
                    <a:pt x="166" y="103"/>
                  </a:lnTo>
                  <a:lnTo>
                    <a:pt x="157" y="94"/>
                  </a:lnTo>
                  <a:lnTo>
                    <a:pt x="147" y="101"/>
                  </a:lnTo>
                  <a:lnTo>
                    <a:pt x="122" y="103"/>
                  </a:lnTo>
                  <a:lnTo>
                    <a:pt x="72" y="100"/>
                  </a:lnTo>
                  <a:lnTo>
                    <a:pt x="42" y="90"/>
                  </a:lnTo>
                  <a:lnTo>
                    <a:pt x="21" y="86"/>
                  </a:lnTo>
                  <a:lnTo>
                    <a:pt x="9" y="78"/>
                  </a:lnTo>
                  <a:lnTo>
                    <a:pt x="23" y="67"/>
                  </a:lnTo>
                  <a:lnTo>
                    <a:pt x="3" y="67"/>
                  </a:lnTo>
                  <a:lnTo>
                    <a:pt x="0" y="40"/>
                  </a:lnTo>
                  <a:lnTo>
                    <a:pt x="9" y="17"/>
                  </a:lnTo>
                  <a:lnTo>
                    <a:pt x="23" y="6"/>
                  </a:lnTo>
                  <a:lnTo>
                    <a:pt x="5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185">
              <a:extLst>
                <a:ext uri="{FF2B5EF4-FFF2-40B4-BE49-F238E27FC236}">
                  <a16:creationId xmlns:a16="http://schemas.microsoft.com/office/drawing/2014/main" id="{9D2524F4-8479-42FB-84D2-0D7FB71DC105}"/>
                </a:ext>
              </a:extLst>
            </p:cNvPr>
            <p:cNvSpPr>
              <a:spLocks/>
            </p:cNvSpPr>
            <p:nvPr/>
          </p:nvSpPr>
          <p:spPr bwMode="auto">
            <a:xfrm>
              <a:off x="2103439" y="2468695"/>
              <a:ext cx="127000" cy="109588"/>
            </a:xfrm>
            <a:custGeom>
              <a:avLst/>
              <a:gdLst>
                <a:gd name="T0" fmla="*/ 27 w 80"/>
                <a:gd name="T1" fmla="*/ 0 h 69"/>
                <a:gd name="T2" fmla="*/ 44 w 80"/>
                <a:gd name="T3" fmla="*/ 6 h 69"/>
                <a:gd name="T4" fmla="*/ 69 w 80"/>
                <a:gd name="T5" fmla="*/ 2 h 69"/>
                <a:gd name="T6" fmla="*/ 73 w 80"/>
                <a:gd name="T7" fmla="*/ 9 h 69"/>
                <a:gd name="T8" fmla="*/ 61 w 80"/>
                <a:gd name="T9" fmla="*/ 23 h 69"/>
                <a:gd name="T10" fmla="*/ 80 w 80"/>
                <a:gd name="T11" fmla="*/ 34 h 69"/>
                <a:gd name="T12" fmla="*/ 80 w 80"/>
                <a:gd name="T13" fmla="*/ 57 h 69"/>
                <a:gd name="T14" fmla="*/ 55 w 80"/>
                <a:gd name="T15" fmla="*/ 69 h 69"/>
                <a:gd name="T16" fmla="*/ 42 w 80"/>
                <a:gd name="T17" fmla="*/ 67 h 69"/>
                <a:gd name="T18" fmla="*/ 32 w 80"/>
                <a:gd name="T19" fmla="*/ 55 h 69"/>
                <a:gd name="T20" fmla="*/ 0 w 80"/>
                <a:gd name="T21" fmla="*/ 36 h 69"/>
                <a:gd name="T22" fmla="*/ 0 w 80"/>
                <a:gd name="T23" fmla="*/ 27 h 69"/>
                <a:gd name="T24" fmla="*/ 27 w 80"/>
                <a:gd name="T25" fmla="*/ 31 h 69"/>
                <a:gd name="T26" fmla="*/ 13 w 80"/>
                <a:gd name="T27" fmla="*/ 11 h 69"/>
                <a:gd name="T28" fmla="*/ 27 w 80"/>
                <a:gd name="T2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69">
                  <a:moveTo>
                    <a:pt x="27" y="0"/>
                  </a:moveTo>
                  <a:lnTo>
                    <a:pt x="44" y="6"/>
                  </a:lnTo>
                  <a:lnTo>
                    <a:pt x="69" y="2"/>
                  </a:lnTo>
                  <a:lnTo>
                    <a:pt x="73" y="9"/>
                  </a:lnTo>
                  <a:lnTo>
                    <a:pt x="61" y="23"/>
                  </a:lnTo>
                  <a:lnTo>
                    <a:pt x="80" y="34"/>
                  </a:lnTo>
                  <a:lnTo>
                    <a:pt x="80" y="57"/>
                  </a:lnTo>
                  <a:lnTo>
                    <a:pt x="55" y="69"/>
                  </a:lnTo>
                  <a:lnTo>
                    <a:pt x="42" y="67"/>
                  </a:lnTo>
                  <a:lnTo>
                    <a:pt x="32" y="55"/>
                  </a:lnTo>
                  <a:lnTo>
                    <a:pt x="0" y="36"/>
                  </a:lnTo>
                  <a:lnTo>
                    <a:pt x="0" y="27"/>
                  </a:lnTo>
                  <a:lnTo>
                    <a:pt x="27" y="31"/>
                  </a:lnTo>
                  <a:lnTo>
                    <a:pt x="13" y="11"/>
                  </a:lnTo>
                  <a:lnTo>
                    <a:pt x="2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187">
              <a:extLst>
                <a:ext uri="{FF2B5EF4-FFF2-40B4-BE49-F238E27FC236}">
                  <a16:creationId xmlns:a16="http://schemas.microsoft.com/office/drawing/2014/main" id="{E98ECBA8-55B8-4823-B34F-2C0540EE350A}"/>
                </a:ext>
              </a:extLst>
            </p:cNvPr>
            <p:cNvSpPr>
              <a:spLocks/>
            </p:cNvSpPr>
            <p:nvPr/>
          </p:nvSpPr>
          <p:spPr bwMode="auto">
            <a:xfrm>
              <a:off x="7461250" y="2468695"/>
              <a:ext cx="82550" cy="27000"/>
            </a:xfrm>
            <a:custGeom>
              <a:avLst/>
              <a:gdLst>
                <a:gd name="T0" fmla="*/ 31 w 52"/>
                <a:gd name="T1" fmla="*/ 0 h 17"/>
                <a:gd name="T2" fmla="*/ 50 w 52"/>
                <a:gd name="T3" fmla="*/ 9 h 17"/>
                <a:gd name="T4" fmla="*/ 52 w 52"/>
                <a:gd name="T5" fmla="*/ 17 h 17"/>
                <a:gd name="T6" fmla="*/ 31 w 52"/>
                <a:gd name="T7" fmla="*/ 17 h 17"/>
                <a:gd name="T8" fmla="*/ 2 w 52"/>
                <a:gd name="T9" fmla="*/ 13 h 17"/>
                <a:gd name="T10" fmla="*/ 0 w 52"/>
                <a:gd name="T11" fmla="*/ 11 h 17"/>
                <a:gd name="T12" fmla="*/ 13 w 52"/>
                <a:gd name="T13" fmla="*/ 2 h 17"/>
                <a:gd name="T14" fmla="*/ 31 w 52"/>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7">
                  <a:moveTo>
                    <a:pt x="31" y="0"/>
                  </a:moveTo>
                  <a:lnTo>
                    <a:pt x="50" y="9"/>
                  </a:lnTo>
                  <a:lnTo>
                    <a:pt x="52" y="17"/>
                  </a:lnTo>
                  <a:lnTo>
                    <a:pt x="31" y="17"/>
                  </a:lnTo>
                  <a:lnTo>
                    <a:pt x="2" y="13"/>
                  </a:lnTo>
                  <a:lnTo>
                    <a:pt x="0" y="11"/>
                  </a:lnTo>
                  <a:lnTo>
                    <a:pt x="13" y="2"/>
                  </a:lnTo>
                  <a:lnTo>
                    <a:pt x="3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189">
              <a:extLst>
                <a:ext uri="{FF2B5EF4-FFF2-40B4-BE49-F238E27FC236}">
                  <a16:creationId xmlns:a16="http://schemas.microsoft.com/office/drawing/2014/main" id="{DE52EE6F-A916-4DA0-AF9A-45CA9DBD0737}"/>
                </a:ext>
              </a:extLst>
            </p:cNvPr>
            <p:cNvSpPr>
              <a:spLocks/>
            </p:cNvSpPr>
            <p:nvPr/>
          </p:nvSpPr>
          <p:spPr bwMode="auto">
            <a:xfrm>
              <a:off x="2243139" y="2455990"/>
              <a:ext cx="122238" cy="88940"/>
            </a:xfrm>
            <a:custGeom>
              <a:avLst/>
              <a:gdLst>
                <a:gd name="T0" fmla="*/ 21 w 77"/>
                <a:gd name="T1" fmla="*/ 0 h 56"/>
                <a:gd name="T2" fmla="*/ 52 w 77"/>
                <a:gd name="T3" fmla="*/ 0 h 56"/>
                <a:gd name="T4" fmla="*/ 77 w 77"/>
                <a:gd name="T5" fmla="*/ 8 h 56"/>
                <a:gd name="T6" fmla="*/ 58 w 77"/>
                <a:gd name="T7" fmla="*/ 31 h 56"/>
                <a:gd name="T8" fmla="*/ 40 w 77"/>
                <a:gd name="T9" fmla="*/ 37 h 56"/>
                <a:gd name="T10" fmla="*/ 25 w 77"/>
                <a:gd name="T11" fmla="*/ 56 h 56"/>
                <a:gd name="T12" fmla="*/ 10 w 77"/>
                <a:gd name="T13" fmla="*/ 56 h 56"/>
                <a:gd name="T14" fmla="*/ 0 w 77"/>
                <a:gd name="T15" fmla="*/ 33 h 56"/>
                <a:gd name="T16" fmla="*/ 0 w 77"/>
                <a:gd name="T17" fmla="*/ 25 h 56"/>
                <a:gd name="T18" fmla="*/ 2 w 77"/>
                <a:gd name="T19" fmla="*/ 19 h 56"/>
                <a:gd name="T20" fmla="*/ 8 w 77"/>
                <a:gd name="T21" fmla="*/ 8 h 56"/>
                <a:gd name="T22" fmla="*/ 21 w 77"/>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56">
                  <a:moveTo>
                    <a:pt x="21" y="0"/>
                  </a:moveTo>
                  <a:lnTo>
                    <a:pt x="52" y="0"/>
                  </a:lnTo>
                  <a:lnTo>
                    <a:pt x="77" y="8"/>
                  </a:lnTo>
                  <a:lnTo>
                    <a:pt x="58" y="31"/>
                  </a:lnTo>
                  <a:lnTo>
                    <a:pt x="40" y="37"/>
                  </a:lnTo>
                  <a:lnTo>
                    <a:pt x="25" y="56"/>
                  </a:lnTo>
                  <a:lnTo>
                    <a:pt x="10" y="56"/>
                  </a:lnTo>
                  <a:lnTo>
                    <a:pt x="0" y="33"/>
                  </a:lnTo>
                  <a:lnTo>
                    <a:pt x="0" y="25"/>
                  </a:lnTo>
                  <a:lnTo>
                    <a:pt x="2" y="19"/>
                  </a:lnTo>
                  <a:lnTo>
                    <a:pt x="8" y="8"/>
                  </a:lnTo>
                  <a:lnTo>
                    <a:pt x="2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191">
              <a:extLst>
                <a:ext uri="{FF2B5EF4-FFF2-40B4-BE49-F238E27FC236}">
                  <a16:creationId xmlns:a16="http://schemas.microsoft.com/office/drawing/2014/main" id="{735ABB14-CFAE-4FFA-97BD-6413E5A59946}"/>
                </a:ext>
              </a:extLst>
            </p:cNvPr>
            <p:cNvSpPr>
              <a:spLocks/>
            </p:cNvSpPr>
            <p:nvPr/>
          </p:nvSpPr>
          <p:spPr bwMode="auto">
            <a:xfrm>
              <a:off x="1585914" y="2441696"/>
              <a:ext cx="227013" cy="149292"/>
            </a:xfrm>
            <a:custGeom>
              <a:avLst/>
              <a:gdLst>
                <a:gd name="T0" fmla="*/ 59 w 143"/>
                <a:gd name="T1" fmla="*/ 0 h 94"/>
                <a:gd name="T2" fmla="*/ 80 w 143"/>
                <a:gd name="T3" fmla="*/ 5 h 94"/>
                <a:gd name="T4" fmla="*/ 115 w 143"/>
                <a:gd name="T5" fmla="*/ 7 h 94"/>
                <a:gd name="T6" fmla="*/ 128 w 143"/>
                <a:gd name="T7" fmla="*/ 17 h 94"/>
                <a:gd name="T8" fmla="*/ 143 w 143"/>
                <a:gd name="T9" fmla="*/ 26 h 94"/>
                <a:gd name="T10" fmla="*/ 126 w 143"/>
                <a:gd name="T11" fmla="*/ 32 h 94"/>
                <a:gd name="T12" fmla="*/ 92 w 143"/>
                <a:gd name="T13" fmla="*/ 51 h 94"/>
                <a:gd name="T14" fmla="*/ 74 w 143"/>
                <a:gd name="T15" fmla="*/ 69 h 94"/>
                <a:gd name="T16" fmla="*/ 74 w 143"/>
                <a:gd name="T17" fmla="*/ 82 h 94"/>
                <a:gd name="T18" fmla="*/ 38 w 143"/>
                <a:gd name="T19" fmla="*/ 94 h 94"/>
                <a:gd name="T20" fmla="*/ 30 w 143"/>
                <a:gd name="T21" fmla="*/ 84 h 94"/>
                <a:gd name="T22" fmla="*/ 0 w 143"/>
                <a:gd name="T23" fmla="*/ 69 h 94"/>
                <a:gd name="T24" fmla="*/ 3 w 143"/>
                <a:gd name="T25" fmla="*/ 57 h 94"/>
                <a:gd name="T26" fmla="*/ 15 w 143"/>
                <a:gd name="T27" fmla="*/ 40 h 94"/>
                <a:gd name="T28" fmla="*/ 26 w 143"/>
                <a:gd name="T29" fmla="*/ 21 h 94"/>
                <a:gd name="T30" fmla="*/ 13 w 143"/>
                <a:gd name="T31" fmla="*/ 3 h 94"/>
                <a:gd name="T32" fmla="*/ 59 w 143"/>
                <a:gd name="T3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3" h="94">
                  <a:moveTo>
                    <a:pt x="59" y="0"/>
                  </a:moveTo>
                  <a:lnTo>
                    <a:pt x="80" y="5"/>
                  </a:lnTo>
                  <a:lnTo>
                    <a:pt x="115" y="7"/>
                  </a:lnTo>
                  <a:lnTo>
                    <a:pt x="128" y="17"/>
                  </a:lnTo>
                  <a:lnTo>
                    <a:pt x="143" y="26"/>
                  </a:lnTo>
                  <a:lnTo>
                    <a:pt x="126" y="32"/>
                  </a:lnTo>
                  <a:lnTo>
                    <a:pt x="92" y="51"/>
                  </a:lnTo>
                  <a:lnTo>
                    <a:pt x="74" y="69"/>
                  </a:lnTo>
                  <a:lnTo>
                    <a:pt x="74" y="82"/>
                  </a:lnTo>
                  <a:lnTo>
                    <a:pt x="38" y="94"/>
                  </a:lnTo>
                  <a:lnTo>
                    <a:pt x="30" y="84"/>
                  </a:lnTo>
                  <a:lnTo>
                    <a:pt x="0" y="69"/>
                  </a:lnTo>
                  <a:lnTo>
                    <a:pt x="3" y="57"/>
                  </a:lnTo>
                  <a:lnTo>
                    <a:pt x="15" y="40"/>
                  </a:lnTo>
                  <a:lnTo>
                    <a:pt x="26" y="21"/>
                  </a:lnTo>
                  <a:lnTo>
                    <a:pt x="13" y="3"/>
                  </a:lnTo>
                  <a:lnTo>
                    <a:pt x="5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193">
              <a:extLst>
                <a:ext uri="{FF2B5EF4-FFF2-40B4-BE49-F238E27FC236}">
                  <a16:creationId xmlns:a16="http://schemas.microsoft.com/office/drawing/2014/main" id="{1ADF7794-E522-4612-BA91-FFCB8B55227A}"/>
                </a:ext>
              </a:extLst>
            </p:cNvPr>
            <p:cNvSpPr>
              <a:spLocks/>
            </p:cNvSpPr>
            <p:nvPr/>
          </p:nvSpPr>
          <p:spPr bwMode="auto">
            <a:xfrm>
              <a:off x="7597775" y="2395637"/>
              <a:ext cx="104775" cy="36530"/>
            </a:xfrm>
            <a:custGeom>
              <a:avLst/>
              <a:gdLst>
                <a:gd name="T0" fmla="*/ 4 w 66"/>
                <a:gd name="T1" fmla="*/ 0 h 23"/>
                <a:gd name="T2" fmla="*/ 31 w 66"/>
                <a:gd name="T3" fmla="*/ 6 h 23"/>
                <a:gd name="T4" fmla="*/ 66 w 66"/>
                <a:gd name="T5" fmla="*/ 11 h 23"/>
                <a:gd name="T6" fmla="*/ 50 w 66"/>
                <a:gd name="T7" fmla="*/ 23 h 23"/>
                <a:gd name="T8" fmla="*/ 27 w 66"/>
                <a:gd name="T9" fmla="*/ 19 h 23"/>
                <a:gd name="T10" fmla="*/ 0 w 66"/>
                <a:gd name="T11" fmla="*/ 9 h 23"/>
                <a:gd name="T12" fmla="*/ 4 w 66"/>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66" h="23">
                  <a:moveTo>
                    <a:pt x="4" y="0"/>
                  </a:moveTo>
                  <a:lnTo>
                    <a:pt x="31" y="6"/>
                  </a:lnTo>
                  <a:lnTo>
                    <a:pt x="66" y="11"/>
                  </a:lnTo>
                  <a:lnTo>
                    <a:pt x="50" y="23"/>
                  </a:lnTo>
                  <a:lnTo>
                    <a:pt x="27" y="19"/>
                  </a:lnTo>
                  <a:lnTo>
                    <a:pt x="0" y="9"/>
                  </a:lnTo>
                  <a:lnTo>
                    <a:pt x="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195">
              <a:extLst>
                <a:ext uri="{FF2B5EF4-FFF2-40B4-BE49-F238E27FC236}">
                  <a16:creationId xmlns:a16="http://schemas.microsoft.com/office/drawing/2014/main" id="{D2CCD40D-183A-4C03-9BE0-87F16EEE6D53}"/>
                </a:ext>
              </a:extLst>
            </p:cNvPr>
            <p:cNvSpPr>
              <a:spLocks/>
            </p:cNvSpPr>
            <p:nvPr/>
          </p:nvSpPr>
          <p:spPr bwMode="auto">
            <a:xfrm>
              <a:off x="2227264" y="2389285"/>
              <a:ext cx="71438" cy="46059"/>
            </a:xfrm>
            <a:custGeom>
              <a:avLst/>
              <a:gdLst>
                <a:gd name="T0" fmla="*/ 27 w 45"/>
                <a:gd name="T1" fmla="*/ 0 h 29"/>
                <a:gd name="T2" fmla="*/ 41 w 45"/>
                <a:gd name="T3" fmla="*/ 10 h 29"/>
                <a:gd name="T4" fmla="*/ 45 w 45"/>
                <a:gd name="T5" fmla="*/ 19 h 29"/>
                <a:gd name="T6" fmla="*/ 37 w 45"/>
                <a:gd name="T7" fmla="*/ 29 h 29"/>
                <a:gd name="T8" fmla="*/ 16 w 45"/>
                <a:gd name="T9" fmla="*/ 27 h 29"/>
                <a:gd name="T10" fmla="*/ 0 w 45"/>
                <a:gd name="T11" fmla="*/ 21 h 29"/>
                <a:gd name="T12" fmla="*/ 6 w 45"/>
                <a:gd name="T13" fmla="*/ 8 h 29"/>
                <a:gd name="T14" fmla="*/ 27 w 45"/>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29">
                  <a:moveTo>
                    <a:pt x="27" y="0"/>
                  </a:moveTo>
                  <a:lnTo>
                    <a:pt x="41" y="10"/>
                  </a:lnTo>
                  <a:lnTo>
                    <a:pt x="45" y="19"/>
                  </a:lnTo>
                  <a:lnTo>
                    <a:pt x="37" y="29"/>
                  </a:lnTo>
                  <a:lnTo>
                    <a:pt x="16" y="27"/>
                  </a:lnTo>
                  <a:lnTo>
                    <a:pt x="0" y="21"/>
                  </a:lnTo>
                  <a:lnTo>
                    <a:pt x="6" y="8"/>
                  </a:lnTo>
                  <a:lnTo>
                    <a:pt x="2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197">
              <a:extLst>
                <a:ext uri="{FF2B5EF4-FFF2-40B4-BE49-F238E27FC236}">
                  <a16:creationId xmlns:a16="http://schemas.microsoft.com/office/drawing/2014/main" id="{AF0F44B0-BAE2-4A86-9326-F0EF27D97A13}"/>
                </a:ext>
              </a:extLst>
            </p:cNvPr>
            <p:cNvSpPr>
              <a:spLocks/>
            </p:cNvSpPr>
            <p:nvPr/>
          </p:nvSpPr>
          <p:spPr bwMode="auto">
            <a:xfrm>
              <a:off x="7397750" y="2367049"/>
              <a:ext cx="179388" cy="68294"/>
            </a:xfrm>
            <a:custGeom>
              <a:avLst/>
              <a:gdLst>
                <a:gd name="T0" fmla="*/ 25 w 113"/>
                <a:gd name="T1" fmla="*/ 0 h 43"/>
                <a:gd name="T2" fmla="*/ 61 w 113"/>
                <a:gd name="T3" fmla="*/ 0 h 43"/>
                <a:gd name="T4" fmla="*/ 113 w 113"/>
                <a:gd name="T5" fmla="*/ 16 h 43"/>
                <a:gd name="T6" fmla="*/ 101 w 113"/>
                <a:gd name="T7" fmla="*/ 37 h 43"/>
                <a:gd name="T8" fmla="*/ 50 w 113"/>
                <a:gd name="T9" fmla="*/ 37 h 43"/>
                <a:gd name="T10" fmla="*/ 27 w 113"/>
                <a:gd name="T11" fmla="*/ 43 h 43"/>
                <a:gd name="T12" fmla="*/ 0 w 113"/>
                <a:gd name="T13" fmla="*/ 25 h 43"/>
                <a:gd name="T14" fmla="*/ 7 w 113"/>
                <a:gd name="T15" fmla="*/ 4 h 43"/>
                <a:gd name="T16" fmla="*/ 25 w 113"/>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43">
                  <a:moveTo>
                    <a:pt x="25" y="0"/>
                  </a:moveTo>
                  <a:lnTo>
                    <a:pt x="61" y="0"/>
                  </a:lnTo>
                  <a:lnTo>
                    <a:pt x="113" y="16"/>
                  </a:lnTo>
                  <a:lnTo>
                    <a:pt x="101" y="37"/>
                  </a:lnTo>
                  <a:lnTo>
                    <a:pt x="50" y="37"/>
                  </a:lnTo>
                  <a:lnTo>
                    <a:pt x="27" y="43"/>
                  </a:lnTo>
                  <a:lnTo>
                    <a:pt x="0" y="25"/>
                  </a:lnTo>
                  <a:lnTo>
                    <a:pt x="7" y="4"/>
                  </a:lnTo>
                  <a:lnTo>
                    <a:pt x="2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199">
              <a:extLst>
                <a:ext uri="{FF2B5EF4-FFF2-40B4-BE49-F238E27FC236}">
                  <a16:creationId xmlns:a16="http://schemas.microsoft.com/office/drawing/2014/main" id="{72C70C40-A0C6-4798-AB2D-C5EFC9FA9297}"/>
                </a:ext>
              </a:extLst>
            </p:cNvPr>
            <p:cNvSpPr>
              <a:spLocks/>
            </p:cNvSpPr>
            <p:nvPr/>
          </p:nvSpPr>
          <p:spPr bwMode="auto">
            <a:xfrm>
              <a:off x="2100264" y="2340050"/>
              <a:ext cx="109538" cy="82587"/>
            </a:xfrm>
            <a:custGeom>
              <a:avLst/>
              <a:gdLst>
                <a:gd name="T0" fmla="*/ 56 w 69"/>
                <a:gd name="T1" fmla="*/ 0 h 52"/>
                <a:gd name="T2" fmla="*/ 67 w 69"/>
                <a:gd name="T3" fmla="*/ 14 h 52"/>
                <a:gd name="T4" fmla="*/ 69 w 69"/>
                <a:gd name="T5" fmla="*/ 27 h 52"/>
                <a:gd name="T6" fmla="*/ 61 w 69"/>
                <a:gd name="T7" fmla="*/ 48 h 52"/>
                <a:gd name="T8" fmla="*/ 38 w 69"/>
                <a:gd name="T9" fmla="*/ 52 h 52"/>
                <a:gd name="T10" fmla="*/ 23 w 69"/>
                <a:gd name="T11" fmla="*/ 46 h 52"/>
                <a:gd name="T12" fmla="*/ 23 w 69"/>
                <a:gd name="T13" fmla="*/ 31 h 52"/>
                <a:gd name="T14" fmla="*/ 2 w 69"/>
                <a:gd name="T15" fmla="*/ 33 h 52"/>
                <a:gd name="T16" fmla="*/ 0 w 69"/>
                <a:gd name="T17" fmla="*/ 12 h 52"/>
                <a:gd name="T18" fmla="*/ 15 w 69"/>
                <a:gd name="T19" fmla="*/ 12 h 52"/>
                <a:gd name="T20" fmla="*/ 36 w 69"/>
                <a:gd name="T21" fmla="*/ 2 h 52"/>
                <a:gd name="T22" fmla="*/ 54 w 69"/>
                <a:gd name="T23" fmla="*/ 4 h 52"/>
                <a:gd name="T24" fmla="*/ 56 w 69"/>
                <a:gd name="T2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52">
                  <a:moveTo>
                    <a:pt x="56" y="0"/>
                  </a:moveTo>
                  <a:lnTo>
                    <a:pt x="67" y="14"/>
                  </a:lnTo>
                  <a:lnTo>
                    <a:pt x="69" y="27"/>
                  </a:lnTo>
                  <a:lnTo>
                    <a:pt x="61" y="48"/>
                  </a:lnTo>
                  <a:lnTo>
                    <a:pt x="38" y="52"/>
                  </a:lnTo>
                  <a:lnTo>
                    <a:pt x="23" y="46"/>
                  </a:lnTo>
                  <a:lnTo>
                    <a:pt x="23" y="31"/>
                  </a:lnTo>
                  <a:lnTo>
                    <a:pt x="2" y="33"/>
                  </a:lnTo>
                  <a:lnTo>
                    <a:pt x="0" y="12"/>
                  </a:lnTo>
                  <a:lnTo>
                    <a:pt x="15" y="12"/>
                  </a:lnTo>
                  <a:lnTo>
                    <a:pt x="36" y="2"/>
                  </a:lnTo>
                  <a:lnTo>
                    <a:pt x="54" y="4"/>
                  </a:lnTo>
                  <a:lnTo>
                    <a:pt x="5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201">
              <a:extLst>
                <a:ext uri="{FF2B5EF4-FFF2-40B4-BE49-F238E27FC236}">
                  <a16:creationId xmlns:a16="http://schemas.microsoft.com/office/drawing/2014/main" id="{8C56CAD5-6EE1-4261-A7E5-294EEE36D4E4}"/>
                </a:ext>
              </a:extLst>
            </p:cNvPr>
            <p:cNvSpPr>
              <a:spLocks/>
            </p:cNvSpPr>
            <p:nvPr/>
          </p:nvSpPr>
          <p:spPr bwMode="auto">
            <a:xfrm>
              <a:off x="1765302" y="2336874"/>
              <a:ext cx="265113" cy="106411"/>
            </a:xfrm>
            <a:custGeom>
              <a:avLst/>
              <a:gdLst>
                <a:gd name="T0" fmla="*/ 113 w 167"/>
                <a:gd name="T1" fmla="*/ 0 h 67"/>
                <a:gd name="T2" fmla="*/ 126 w 167"/>
                <a:gd name="T3" fmla="*/ 4 h 67"/>
                <a:gd name="T4" fmla="*/ 132 w 167"/>
                <a:gd name="T5" fmla="*/ 18 h 67"/>
                <a:gd name="T6" fmla="*/ 136 w 167"/>
                <a:gd name="T7" fmla="*/ 27 h 67"/>
                <a:gd name="T8" fmla="*/ 151 w 167"/>
                <a:gd name="T9" fmla="*/ 21 h 67"/>
                <a:gd name="T10" fmla="*/ 165 w 167"/>
                <a:gd name="T11" fmla="*/ 23 h 67"/>
                <a:gd name="T12" fmla="*/ 167 w 167"/>
                <a:gd name="T13" fmla="*/ 37 h 67"/>
                <a:gd name="T14" fmla="*/ 159 w 167"/>
                <a:gd name="T15" fmla="*/ 50 h 67"/>
                <a:gd name="T16" fmla="*/ 113 w 167"/>
                <a:gd name="T17" fmla="*/ 56 h 67"/>
                <a:gd name="T18" fmla="*/ 77 w 167"/>
                <a:gd name="T19" fmla="*/ 67 h 67"/>
                <a:gd name="T20" fmla="*/ 55 w 167"/>
                <a:gd name="T21" fmla="*/ 67 h 67"/>
                <a:gd name="T22" fmla="*/ 54 w 167"/>
                <a:gd name="T23" fmla="*/ 58 h 67"/>
                <a:gd name="T24" fmla="*/ 82 w 167"/>
                <a:gd name="T25" fmla="*/ 46 h 67"/>
                <a:gd name="T26" fmla="*/ 19 w 167"/>
                <a:gd name="T27" fmla="*/ 50 h 67"/>
                <a:gd name="T28" fmla="*/ 0 w 167"/>
                <a:gd name="T29" fmla="*/ 46 h 67"/>
                <a:gd name="T30" fmla="*/ 19 w 167"/>
                <a:gd name="T31" fmla="*/ 18 h 67"/>
                <a:gd name="T32" fmla="*/ 32 w 167"/>
                <a:gd name="T33" fmla="*/ 8 h 67"/>
                <a:gd name="T34" fmla="*/ 73 w 167"/>
                <a:gd name="T35" fmla="*/ 19 h 67"/>
                <a:gd name="T36" fmla="*/ 96 w 167"/>
                <a:gd name="T37" fmla="*/ 35 h 67"/>
                <a:gd name="T38" fmla="*/ 121 w 167"/>
                <a:gd name="T39" fmla="*/ 37 h 67"/>
                <a:gd name="T40" fmla="*/ 100 w 167"/>
                <a:gd name="T41" fmla="*/ 10 h 67"/>
                <a:gd name="T42" fmla="*/ 113 w 167"/>
                <a:gd name="T4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7" h="67">
                  <a:moveTo>
                    <a:pt x="113" y="0"/>
                  </a:moveTo>
                  <a:lnTo>
                    <a:pt x="126" y="4"/>
                  </a:lnTo>
                  <a:lnTo>
                    <a:pt x="132" y="18"/>
                  </a:lnTo>
                  <a:lnTo>
                    <a:pt x="136" y="27"/>
                  </a:lnTo>
                  <a:lnTo>
                    <a:pt x="151" y="21"/>
                  </a:lnTo>
                  <a:lnTo>
                    <a:pt x="165" y="23"/>
                  </a:lnTo>
                  <a:lnTo>
                    <a:pt x="167" y="37"/>
                  </a:lnTo>
                  <a:lnTo>
                    <a:pt x="159" y="50"/>
                  </a:lnTo>
                  <a:lnTo>
                    <a:pt x="113" y="56"/>
                  </a:lnTo>
                  <a:lnTo>
                    <a:pt x="77" y="67"/>
                  </a:lnTo>
                  <a:lnTo>
                    <a:pt x="55" y="67"/>
                  </a:lnTo>
                  <a:lnTo>
                    <a:pt x="54" y="58"/>
                  </a:lnTo>
                  <a:lnTo>
                    <a:pt x="82" y="46"/>
                  </a:lnTo>
                  <a:lnTo>
                    <a:pt x="19" y="50"/>
                  </a:lnTo>
                  <a:lnTo>
                    <a:pt x="0" y="46"/>
                  </a:lnTo>
                  <a:lnTo>
                    <a:pt x="19" y="18"/>
                  </a:lnTo>
                  <a:lnTo>
                    <a:pt x="32" y="8"/>
                  </a:lnTo>
                  <a:lnTo>
                    <a:pt x="73" y="19"/>
                  </a:lnTo>
                  <a:lnTo>
                    <a:pt x="96" y="35"/>
                  </a:lnTo>
                  <a:lnTo>
                    <a:pt x="121" y="37"/>
                  </a:lnTo>
                  <a:lnTo>
                    <a:pt x="100" y="10"/>
                  </a:lnTo>
                  <a:lnTo>
                    <a:pt x="11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203">
              <a:extLst>
                <a:ext uri="{FF2B5EF4-FFF2-40B4-BE49-F238E27FC236}">
                  <a16:creationId xmlns:a16="http://schemas.microsoft.com/office/drawing/2014/main" id="{5651E49C-8CD8-4626-B972-04C76B2B8015}"/>
                </a:ext>
              </a:extLst>
            </p:cNvPr>
            <p:cNvSpPr>
              <a:spLocks/>
            </p:cNvSpPr>
            <p:nvPr/>
          </p:nvSpPr>
          <p:spPr bwMode="auto">
            <a:xfrm>
              <a:off x="5505451" y="2328932"/>
              <a:ext cx="387350" cy="273173"/>
            </a:xfrm>
            <a:custGeom>
              <a:avLst/>
              <a:gdLst>
                <a:gd name="T0" fmla="*/ 234 w 244"/>
                <a:gd name="T1" fmla="*/ 0 h 172"/>
                <a:gd name="T2" fmla="*/ 244 w 244"/>
                <a:gd name="T3" fmla="*/ 13 h 172"/>
                <a:gd name="T4" fmla="*/ 234 w 244"/>
                <a:gd name="T5" fmla="*/ 23 h 172"/>
                <a:gd name="T6" fmla="*/ 184 w 244"/>
                <a:gd name="T7" fmla="*/ 34 h 172"/>
                <a:gd name="T8" fmla="*/ 142 w 244"/>
                <a:gd name="T9" fmla="*/ 49 h 172"/>
                <a:gd name="T10" fmla="*/ 98 w 244"/>
                <a:gd name="T11" fmla="*/ 74 h 172"/>
                <a:gd name="T12" fmla="*/ 77 w 244"/>
                <a:gd name="T13" fmla="*/ 101 h 172"/>
                <a:gd name="T14" fmla="*/ 56 w 244"/>
                <a:gd name="T15" fmla="*/ 128 h 172"/>
                <a:gd name="T16" fmla="*/ 58 w 244"/>
                <a:gd name="T17" fmla="*/ 149 h 172"/>
                <a:gd name="T18" fmla="*/ 85 w 244"/>
                <a:gd name="T19" fmla="*/ 168 h 172"/>
                <a:gd name="T20" fmla="*/ 77 w 244"/>
                <a:gd name="T21" fmla="*/ 172 h 172"/>
                <a:gd name="T22" fmla="*/ 31 w 244"/>
                <a:gd name="T23" fmla="*/ 168 h 172"/>
                <a:gd name="T24" fmla="*/ 29 w 244"/>
                <a:gd name="T25" fmla="*/ 157 h 172"/>
                <a:gd name="T26" fmla="*/ 2 w 244"/>
                <a:gd name="T27" fmla="*/ 151 h 172"/>
                <a:gd name="T28" fmla="*/ 0 w 244"/>
                <a:gd name="T29" fmla="*/ 136 h 172"/>
                <a:gd name="T30" fmla="*/ 15 w 244"/>
                <a:gd name="T31" fmla="*/ 130 h 172"/>
                <a:gd name="T32" fmla="*/ 14 w 244"/>
                <a:gd name="T33" fmla="*/ 115 h 172"/>
                <a:gd name="T34" fmla="*/ 42 w 244"/>
                <a:gd name="T35" fmla="*/ 94 h 172"/>
                <a:gd name="T36" fmla="*/ 29 w 244"/>
                <a:gd name="T37" fmla="*/ 90 h 172"/>
                <a:gd name="T38" fmla="*/ 62 w 244"/>
                <a:gd name="T39" fmla="*/ 67 h 172"/>
                <a:gd name="T40" fmla="*/ 58 w 244"/>
                <a:gd name="T41" fmla="*/ 53 h 172"/>
                <a:gd name="T42" fmla="*/ 90 w 244"/>
                <a:gd name="T43" fmla="*/ 38 h 172"/>
                <a:gd name="T44" fmla="*/ 134 w 244"/>
                <a:gd name="T45" fmla="*/ 21 h 172"/>
                <a:gd name="T46" fmla="*/ 182 w 244"/>
                <a:gd name="T47" fmla="*/ 15 h 172"/>
                <a:gd name="T48" fmla="*/ 205 w 244"/>
                <a:gd name="T49" fmla="*/ 5 h 172"/>
                <a:gd name="T50" fmla="*/ 234 w 244"/>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4" h="172">
                  <a:moveTo>
                    <a:pt x="234" y="0"/>
                  </a:moveTo>
                  <a:lnTo>
                    <a:pt x="244" y="13"/>
                  </a:lnTo>
                  <a:lnTo>
                    <a:pt x="234" y="23"/>
                  </a:lnTo>
                  <a:lnTo>
                    <a:pt x="184" y="34"/>
                  </a:lnTo>
                  <a:lnTo>
                    <a:pt x="142" y="49"/>
                  </a:lnTo>
                  <a:lnTo>
                    <a:pt x="98" y="74"/>
                  </a:lnTo>
                  <a:lnTo>
                    <a:pt x="77" y="101"/>
                  </a:lnTo>
                  <a:lnTo>
                    <a:pt x="56" y="128"/>
                  </a:lnTo>
                  <a:lnTo>
                    <a:pt x="58" y="149"/>
                  </a:lnTo>
                  <a:lnTo>
                    <a:pt x="85" y="168"/>
                  </a:lnTo>
                  <a:lnTo>
                    <a:pt x="77" y="172"/>
                  </a:lnTo>
                  <a:lnTo>
                    <a:pt x="31" y="168"/>
                  </a:lnTo>
                  <a:lnTo>
                    <a:pt x="29" y="157"/>
                  </a:lnTo>
                  <a:lnTo>
                    <a:pt x="2" y="151"/>
                  </a:lnTo>
                  <a:lnTo>
                    <a:pt x="0" y="136"/>
                  </a:lnTo>
                  <a:lnTo>
                    <a:pt x="15" y="130"/>
                  </a:lnTo>
                  <a:lnTo>
                    <a:pt x="14" y="115"/>
                  </a:lnTo>
                  <a:lnTo>
                    <a:pt x="42" y="94"/>
                  </a:lnTo>
                  <a:lnTo>
                    <a:pt x="29" y="90"/>
                  </a:lnTo>
                  <a:lnTo>
                    <a:pt x="62" y="67"/>
                  </a:lnTo>
                  <a:lnTo>
                    <a:pt x="58" y="53"/>
                  </a:lnTo>
                  <a:lnTo>
                    <a:pt x="90" y="38"/>
                  </a:lnTo>
                  <a:lnTo>
                    <a:pt x="134" y="21"/>
                  </a:lnTo>
                  <a:lnTo>
                    <a:pt x="182" y="15"/>
                  </a:lnTo>
                  <a:lnTo>
                    <a:pt x="205" y="5"/>
                  </a:lnTo>
                  <a:lnTo>
                    <a:pt x="23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205">
              <a:extLst>
                <a:ext uri="{FF2B5EF4-FFF2-40B4-BE49-F238E27FC236}">
                  <a16:creationId xmlns:a16="http://schemas.microsoft.com/office/drawing/2014/main" id="{21FCCF8F-91E0-46E5-820A-C5CDBCF09926}"/>
                </a:ext>
              </a:extLst>
            </p:cNvPr>
            <p:cNvSpPr>
              <a:spLocks/>
            </p:cNvSpPr>
            <p:nvPr/>
          </p:nvSpPr>
          <p:spPr bwMode="auto">
            <a:xfrm>
              <a:off x="2219327" y="2319403"/>
              <a:ext cx="382588" cy="123881"/>
            </a:xfrm>
            <a:custGeom>
              <a:avLst/>
              <a:gdLst>
                <a:gd name="T0" fmla="*/ 7 w 241"/>
                <a:gd name="T1" fmla="*/ 0 h 78"/>
                <a:gd name="T2" fmla="*/ 36 w 241"/>
                <a:gd name="T3" fmla="*/ 2 h 78"/>
                <a:gd name="T4" fmla="*/ 50 w 241"/>
                <a:gd name="T5" fmla="*/ 11 h 78"/>
                <a:gd name="T6" fmla="*/ 76 w 241"/>
                <a:gd name="T7" fmla="*/ 11 h 78"/>
                <a:gd name="T8" fmla="*/ 90 w 241"/>
                <a:gd name="T9" fmla="*/ 21 h 78"/>
                <a:gd name="T10" fmla="*/ 86 w 241"/>
                <a:gd name="T11" fmla="*/ 30 h 78"/>
                <a:gd name="T12" fmla="*/ 101 w 241"/>
                <a:gd name="T13" fmla="*/ 38 h 78"/>
                <a:gd name="T14" fmla="*/ 111 w 241"/>
                <a:gd name="T15" fmla="*/ 44 h 78"/>
                <a:gd name="T16" fmla="*/ 130 w 241"/>
                <a:gd name="T17" fmla="*/ 46 h 78"/>
                <a:gd name="T18" fmla="*/ 149 w 241"/>
                <a:gd name="T19" fmla="*/ 48 h 78"/>
                <a:gd name="T20" fmla="*/ 172 w 241"/>
                <a:gd name="T21" fmla="*/ 42 h 78"/>
                <a:gd name="T22" fmla="*/ 201 w 241"/>
                <a:gd name="T23" fmla="*/ 38 h 78"/>
                <a:gd name="T24" fmla="*/ 224 w 241"/>
                <a:gd name="T25" fmla="*/ 40 h 78"/>
                <a:gd name="T26" fmla="*/ 238 w 241"/>
                <a:gd name="T27" fmla="*/ 54 h 78"/>
                <a:gd name="T28" fmla="*/ 241 w 241"/>
                <a:gd name="T29" fmla="*/ 65 h 78"/>
                <a:gd name="T30" fmla="*/ 232 w 241"/>
                <a:gd name="T31" fmla="*/ 71 h 78"/>
                <a:gd name="T32" fmla="*/ 213 w 241"/>
                <a:gd name="T33" fmla="*/ 78 h 78"/>
                <a:gd name="T34" fmla="*/ 193 w 241"/>
                <a:gd name="T35" fmla="*/ 75 h 78"/>
                <a:gd name="T36" fmla="*/ 153 w 241"/>
                <a:gd name="T37" fmla="*/ 78 h 78"/>
                <a:gd name="T38" fmla="*/ 124 w 241"/>
                <a:gd name="T39" fmla="*/ 78 h 78"/>
                <a:gd name="T40" fmla="*/ 103 w 241"/>
                <a:gd name="T41" fmla="*/ 75 h 78"/>
                <a:gd name="T42" fmla="*/ 67 w 241"/>
                <a:gd name="T43" fmla="*/ 67 h 78"/>
                <a:gd name="T44" fmla="*/ 61 w 241"/>
                <a:gd name="T45" fmla="*/ 52 h 78"/>
                <a:gd name="T46" fmla="*/ 59 w 241"/>
                <a:gd name="T47" fmla="*/ 38 h 78"/>
                <a:gd name="T48" fmla="*/ 46 w 241"/>
                <a:gd name="T49" fmla="*/ 25 h 78"/>
                <a:gd name="T50" fmla="*/ 17 w 241"/>
                <a:gd name="T51" fmla="*/ 21 h 78"/>
                <a:gd name="T52" fmla="*/ 0 w 241"/>
                <a:gd name="T53" fmla="*/ 13 h 78"/>
                <a:gd name="T54" fmla="*/ 7 w 241"/>
                <a:gd name="T55"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1" h="78">
                  <a:moveTo>
                    <a:pt x="7" y="0"/>
                  </a:moveTo>
                  <a:lnTo>
                    <a:pt x="36" y="2"/>
                  </a:lnTo>
                  <a:lnTo>
                    <a:pt x="50" y="11"/>
                  </a:lnTo>
                  <a:lnTo>
                    <a:pt x="76" y="11"/>
                  </a:lnTo>
                  <a:lnTo>
                    <a:pt x="90" y="21"/>
                  </a:lnTo>
                  <a:lnTo>
                    <a:pt x="86" y="30"/>
                  </a:lnTo>
                  <a:lnTo>
                    <a:pt x="101" y="38"/>
                  </a:lnTo>
                  <a:lnTo>
                    <a:pt x="111" y="44"/>
                  </a:lnTo>
                  <a:lnTo>
                    <a:pt x="130" y="46"/>
                  </a:lnTo>
                  <a:lnTo>
                    <a:pt x="149" y="48"/>
                  </a:lnTo>
                  <a:lnTo>
                    <a:pt x="172" y="42"/>
                  </a:lnTo>
                  <a:lnTo>
                    <a:pt x="201" y="38"/>
                  </a:lnTo>
                  <a:lnTo>
                    <a:pt x="224" y="40"/>
                  </a:lnTo>
                  <a:lnTo>
                    <a:pt x="238" y="54"/>
                  </a:lnTo>
                  <a:lnTo>
                    <a:pt x="241" y="65"/>
                  </a:lnTo>
                  <a:lnTo>
                    <a:pt x="232" y="71"/>
                  </a:lnTo>
                  <a:lnTo>
                    <a:pt x="213" y="78"/>
                  </a:lnTo>
                  <a:lnTo>
                    <a:pt x="193" y="75"/>
                  </a:lnTo>
                  <a:lnTo>
                    <a:pt x="153" y="78"/>
                  </a:lnTo>
                  <a:lnTo>
                    <a:pt x="124" y="78"/>
                  </a:lnTo>
                  <a:lnTo>
                    <a:pt x="103" y="75"/>
                  </a:lnTo>
                  <a:lnTo>
                    <a:pt x="67" y="67"/>
                  </a:lnTo>
                  <a:lnTo>
                    <a:pt x="61" y="52"/>
                  </a:lnTo>
                  <a:lnTo>
                    <a:pt x="59" y="38"/>
                  </a:lnTo>
                  <a:lnTo>
                    <a:pt x="46" y="25"/>
                  </a:lnTo>
                  <a:lnTo>
                    <a:pt x="17" y="21"/>
                  </a:lnTo>
                  <a:lnTo>
                    <a:pt x="0" y="13"/>
                  </a:lnTo>
                  <a:lnTo>
                    <a:pt x="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208">
              <a:extLst>
                <a:ext uri="{FF2B5EF4-FFF2-40B4-BE49-F238E27FC236}">
                  <a16:creationId xmlns:a16="http://schemas.microsoft.com/office/drawing/2014/main" id="{EC48CBA0-0CF8-4143-B7A9-A005C7200B11}"/>
                </a:ext>
              </a:extLst>
            </p:cNvPr>
            <p:cNvSpPr>
              <a:spLocks/>
            </p:cNvSpPr>
            <p:nvPr/>
          </p:nvSpPr>
          <p:spPr bwMode="auto">
            <a:xfrm>
              <a:off x="1652589" y="2293991"/>
              <a:ext cx="146050" cy="82587"/>
            </a:xfrm>
            <a:custGeom>
              <a:avLst/>
              <a:gdLst>
                <a:gd name="T0" fmla="*/ 92 w 92"/>
                <a:gd name="T1" fmla="*/ 0 h 52"/>
                <a:gd name="T2" fmla="*/ 90 w 92"/>
                <a:gd name="T3" fmla="*/ 23 h 52"/>
                <a:gd name="T4" fmla="*/ 80 w 92"/>
                <a:gd name="T5" fmla="*/ 35 h 52"/>
                <a:gd name="T6" fmla="*/ 65 w 92"/>
                <a:gd name="T7" fmla="*/ 35 h 52"/>
                <a:gd name="T8" fmla="*/ 42 w 92"/>
                <a:gd name="T9" fmla="*/ 48 h 52"/>
                <a:gd name="T10" fmla="*/ 17 w 92"/>
                <a:gd name="T11" fmla="*/ 52 h 52"/>
                <a:gd name="T12" fmla="*/ 0 w 92"/>
                <a:gd name="T13" fmla="*/ 46 h 52"/>
                <a:gd name="T14" fmla="*/ 23 w 92"/>
                <a:gd name="T15" fmla="*/ 25 h 52"/>
                <a:gd name="T16" fmla="*/ 52 w 92"/>
                <a:gd name="T17" fmla="*/ 6 h 52"/>
                <a:gd name="T18" fmla="*/ 73 w 92"/>
                <a:gd name="T19" fmla="*/ 6 h 52"/>
                <a:gd name="T20" fmla="*/ 92 w 92"/>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52">
                  <a:moveTo>
                    <a:pt x="92" y="0"/>
                  </a:moveTo>
                  <a:lnTo>
                    <a:pt x="90" y="23"/>
                  </a:lnTo>
                  <a:lnTo>
                    <a:pt x="80" y="35"/>
                  </a:lnTo>
                  <a:lnTo>
                    <a:pt x="65" y="35"/>
                  </a:lnTo>
                  <a:lnTo>
                    <a:pt x="42" y="48"/>
                  </a:lnTo>
                  <a:lnTo>
                    <a:pt x="17" y="52"/>
                  </a:lnTo>
                  <a:lnTo>
                    <a:pt x="0" y="46"/>
                  </a:lnTo>
                  <a:lnTo>
                    <a:pt x="23" y="25"/>
                  </a:lnTo>
                  <a:lnTo>
                    <a:pt x="52" y="6"/>
                  </a:lnTo>
                  <a:lnTo>
                    <a:pt x="73" y="6"/>
                  </a:lnTo>
                  <a:lnTo>
                    <a:pt x="9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210">
              <a:extLst>
                <a:ext uri="{FF2B5EF4-FFF2-40B4-BE49-F238E27FC236}">
                  <a16:creationId xmlns:a16="http://schemas.microsoft.com/office/drawing/2014/main" id="{552F1385-1EAB-4C32-8F56-3DDE8417BF7A}"/>
                </a:ext>
              </a:extLst>
            </p:cNvPr>
            <p:cNvSpPr>
              <a:spLocks/>
            </p:cNvSpPr>
            <p:nvPr/>
          </p:nvSpPr>
          <p:spPr bwMode="auto">
            <a:xfrm>
              <a:off x="3979863" y="2292403"/>
              <a:ext cx="4592637" cy="3014437"/>
            </a:xfrm>
            <a:custGeom>
              <a:avLst/>
              <a:gdLst/>
              <a:ahLst/>
              <a:cxnLst/>
              <a:rect l="l" t="t" r="r" b="b"/>
              <a:pathLst>
                <a:path w="4592637" h="3014437">
                  <a:moveTo>
                    <a:pt x="1519229" y="1084753"/>
                  </a:moveTo>
                  <a:lnTo>
                    <a:pt x="1492251" y="1099040"/>
                  </a:lnTo>
                  <a:lnTo>
                    <a:pt x="1476374" y="1102218"/>
                  </a:lnTo>
                  <a:lnTo>
                    <a:pt x="1465255" y="1121287"/>
                  </a:lnTo>
                  <a:lnTo>
                    <a:pt x="1443035" y="1127643"/>
                  </a:lnTo>
                  <a:lnTo>
                    <a:pt x="1422400" y="1154642"/>
                  </a:lnTo>
                  <a:lnTo>
                    <a:pt x="1439863" y="1178463"/>
                  </a:lnTo>
                  <a:lnTo>
                    <a:pt x="1436691" y="1197504"/>
                  </a:lnTo>
                  <a:lnTo>
                    <a:pt x="1462083" y="1230859"/>
                  </a:lnTo>
                  <a:lnTo>
                    <a:pt x="1476374" y="1243571"/>
                  </a:lnTo>
                  <a:lnTo>
                    <a:pt x="1485907" y="1261037"/>
                  </a:lnTo>
                  <a:lnTo>
                    <a:pt x="1495423" y="1264215"/>
                  </a:lnTo>
                  <a:lnTo>
                    <a:pt x="1501784" y="1267393"/>
                  </a:lnTo>
                  <a:lnTo>
                    <a:pt x="1485907" y="1270571"/>
                  </a:lnTo>
                  <a:lnTo>
                    <a:pt x="1479546" y="1291214"/>
                  </a:lnTo>
                  <a:lnTo>
                    <a:pt x="1476374" y="1300748"/>
                  </a:lnTo>
                  <a:lnTo>
                    <a:pt x="1471617" y="1307104"/>
                  </a:lnTo>
                  <a:lnTo>
                    <a:pt x="1471617" y="1319816"/>
                  </a:lnTo>
                  <a:lnTo>
                    <a:pt x="1476374" y="1337282"/>
                  </a:lnTo>
                  <a:lnTo>
                    <a:pt x="1495423" y="1343638"/>
                  </a:lnTo>
                  <a:lnTo>
                    <a:pt x="1511300" y="1356350"/>
                  </a:lnTo>
                  <a:lnTo>
                    <a:pt x="1544639" y="1361103"/>
                  </a:lnTo>
                  <a:lnTo>
                    <a:pt x="1577979" y="1353172"/>
                  </a:lnTo>
                  <a:lnTo>
                    <a:pt x="1581151" y="1349994"/>
                  </a:lnTo>
                  <a:lnTo>
                    <a:pt x="1574807" y="1330926"/>
                  </a:lnTo>
                  <a:lnTo>
                    <a:pt x="1577979" y="1303926"/>
                  </a:lnTo>
                  <a:lnTo>
                    <a:pt x="1562102" y="1294392"/>
                  </a:lnTo>
                  <a:lnTo>
                    <a:pt x="1568446" y="1276927"/>
                  </a:lnTo>
                  <a:lnTo>
                    <a:pt x="1552569" y="1273749"/>
                  </a:lnTo>
                  <a:cubicBezTo>
                    <a:pt x="1553626" y="1266343"/>
                    <a:pt x="1554701" y="1258909"/>
                    <a:pt x="1555758" y="1251503"/>
                  </a:cubicBezTo>
                  <a:lnTo>
                    <a:pt x="1577979" y="1261037"/>
                  </a:lnTo>
                  <a:lnTo>
                    <a:pt x="1598613" y="1248352"/>
                  </a:lnTo>
                  <a:lnTo>
                    <a:pt x="1584322" y="1234037"/>
                  </a:lnTo>
                  <a:lnTo>
                    <a:pt x="1574807" y="1221353"/>
                  </a:lnTo>
                  <a:lnTo>
                    <a:pt x="1555758" y="1227681"/>
                  </a:lnTo>
                  <a:lnTo>
                    <a:pt x="1555758" y="1245174"/>
                  </a:lnTo>
                  <a:lnTo>
                    <a:pt x="1549397" y="1230859"/>
                  </a:lnTo>
                  <a:lnTo>
                    <a:pt x="1549397" y="1224503"/>
                  </a:lnTo>
                  <a:lnTo>
                    <a:pt x="1552569" y="1211819"/>
                  </a:lnTo>
                  <a:lnTo>
                    <a:pt x="1549397" y="1200682"/>
                  </a:lnTo>
                  <a:lnTo>
                    <a:pt x="1522419" y="1194354"/>
                  </a:lnTo>
                  <a:lnTo>
                    <a:pt x="1512886" y="1167354"/>
                  </a:lnTo>
                  <a:lnTo>
                    <a:pt x="1501784" y="1164176"/>
                  </a:lnTo>
                  <a:lnTo>
                    <a:pt x="1501784" y="1154642"/>
                  </a:lnTo>
                  <a:lnTo>
                    <a:pt x="1522419" y="1157820"/>
                  </a:lnTo>
                  <a:lnTo>
                    <a:pt x="1522419" y="1135574"/>
                  </a:lnTo>
                  <a:lnTo>
                    <a:pt x="1541467" y="1130821"/>
                  </a:lnTo>
                  <a:lnTo>
                    <a:pt x="1558930" y="1135574"/>
                  </a:lnTo>
                  <a:lnTo>
                    <a:pt x="1565274" y="1108574"/>
                  </a:lnTo>
                  <a:lnTo>
                    <a:pt x="1558930" y="1091109"/>
                  </a:lnTo>
                  <a:lnTo>
                    <a:pt x="1538296" y="1094287"/>
                  </a:lnTo>
                  <a:close/>
                  <a:moveTo>
                    <a:pt x="2695419" y="0"/>
                  </a:moveTo>
                  <a:cubicBezTo>
                    <a:pt x="2707819" y="5728"/>
                    <a:pt x="2719760" y="11756"/>
                    <a:pt x="2732160" y="17484"/>
                  </a:cubicBezTo>
                  <a:cubicBezTo>
                    <a:pt x="2722975" y="21704"/>
                    <a:pt x="2714249" y="25924"/>
                    <a:pt x="2705063" y="30144"/>
                  </a:cubicBezTo>
                  <a:lnTo>
                    <a:pt x="2752827" y="36475"/>
                  </a:lnTo>
                  <a:cubicBezTo>
                    <a:pt x="2755123" y="43408"/>
                    <a:pt x="2756960" y="50341"/>
                    <a:pt x="2759256" y="57274"/>
                  </a:cubicBezTo>
                  <a:cubicBezTo>
                    <a:pt x="2766605" y="53959"/>
                    <a:pt x="2773953" y="50944"/>
                    <a:pt x="2781301" y="47628"/>
                  </a:cubicBezTo>
                  <a:lnTo>
                    <a:pt x="2844679" y="47628"/>
                  </a:lnTo>
                  <a:lnTo>
                    <a:pt x="2893821" y="72950"/>
                  </a:lnTo>
                  <a:lnTo>
                    <a:pt x="2914488" y="87419"/>
                  </a:lnTo>
                  <a:cubicBezTo>
                    <a:pt x="2911273" y="95859"/>
                    <a:pt x="2908517" y="104300"/>
                    <a:pt x="2905302" y="112740"/>
                  </a:cubicBezTo>
                  <a:lnTo>
                    <a:pt x="2881421" y="123893"/>
                  </a:lnTo>
                  <a:lnTo>
                    <a:pt x="2824013" y="149215"/>
                  </a:lnTo>
                  <a:lnTo>
                    <a:pt x="2808398" y="160368"/>
                  </a:lnTo>
                  <a:lnTo>
                    <a:pt x="2832279" y="166698"/>
                  </a:lnTo>
                  <a:lnTo>
                    <a:pt x="2868561" y="179359"/>
                  </a:lnTo>
                  <a:cubicBezTo>
                    <a:pt x="2874991" y="176345"/>
                    <a:pt x="2881421" y="173029"/>
                    <a:pt x="2887850" y="170014"/>
                  </a:cubicBezTo>
                  <a:cubicBezTo>
                    <a:pt x="2891065" y="179058"/>
                    <a:pt x="2893821" y="187800"/>
                    <a:pt x="2897036" y="196843"/>
                  </a:cubicBezTo>
                  <a:cubicBezTo>
                    <a:pt x="2900710" y="193226"/>
                    <a:pt x="2904843" y="189307"/>
                    <a:pt x="2908517" y="185689"/>
                  </a:cubicBezTo>
                  <a:lnTo>
                    <a:pt x="2941584" y="179359"/>
                  </a:lnTo>
                  <a:lnTo>
                    <a:pt x="3014607" y="185689"/>
                  </a:lnTo>
                  <a:cubicBezTo>
                    <a:pt x="3015526" y="192623"/>
                    <a:pt x="3016903" y="199556"/>
                    <a:pt x="3017822" y="206489"/>
                  </a:cubicBezTo>
                  <a:lnTo>
                    <a:pt x="3112889" y="212819"/>
                  </a:lnTo>
                  <a:lnTo>
                    <a:pt x="3112889" y="179359"/>
                  </a:lnTo>
                  <a:lnTo>
                    <a:pt x="3162490" y="189005"/>
                  </a:lnTo>
                  <a:lnTo>
                    <a:pt x="3195557" y="189005"/>
                  </a:lnTo>
                  <a:lnTo>
                    <a:pt x="3232298" y="209504"/>
                  </a:lnTo>
                  <a:lnTo>
                    <a:pt x="3243320" y="236633"/>
                  </a:lnTo>
                  <a:cubicBezTo>
                    <a:pt x="3238728" y="242964"/>
                    <a:pt x="3233676" y="249294"/>
                    <a:pt x="3229083" y="255624"/>
                  </a:cubicBezTo>
                  <a:cubicBezTo>
                    <a:pt x="3238268" y="265572"/>
                    <a:pt x="3246995" y="275821"/>
                    <a:pt x="3256180" y="285769"/>
                  </a:cubicBezTo>
                  <a:cubicBezTo>
                    <a:pt x="3267202" y="291195"/>
                    <a:pt x="3278224" y="296319"/>
                    <a:pt x="3289247" y="301745"/>
                  </a:cubicBezTo>
                  <a:cubicBezTo>
                    <a:pt x="3296595" y="287577"/>
                    <a:pt x="3304402" y="273108"/>
                    <a:pt x="3311751" y="258940"/>
                  </a:cubicBezTo>
                  <a:cubicBezTo>
                    <a:pt x="3323692" y="265873"/>
                    <a:pt x="3336092" y="272505"/>
                    <a:pt x="3348033" y="279438"/>
                  </a:cubicBezTo>
                  <a:lnTo>
                    <a:pt x="3387529" y="266778"/>
                  </a:lnTo>
                  <a:cubicBezTo>
                    <a:pt x="3401307" y="272204"/>
                    <a:pt x="3415085" y="277328"/>
                    <a:pt x="3428863" y="282754"/>
                  </a:cubicBezTo>
                  <a:cubicBezTo>
                    <a:pt x="3434374" y="277328"/>
                    <a:pt x="3439426" y="272204"/>
                    <a:pt x="3444937" y="266778"/>
                  </a:cubicBezTo>
                  <a:cubicBezTo>
                    <a:pt x="3456878" y="270094"/>
                    <a:pt x="3469278" y="273108"/>
                    <a:pt x="3481219" y="276424"/>
                  </a:cubicBezTo>
                  <a:cubicBezTo>
                    <a:pt x="3476167" y="263160"/>
                    <a:pt x="3470656" y="249897"/>
                    <a:pt x="3465604" y="236633"/>
                  </a:cubicBezTo>
                  <a:cubicBezTo>
                    <a:pt x="3475249" y="230906"/>
                    <a:pt x="3484434" y="224877"/>
                    <a:pt x="3494078" y="219150"/>
                  </a:cubicBezTo>
                  <a:lnTo>
                    <a:pt x="3694317" y="242964"/>
                  </a:lnTo>
                  <a:cubicBezTo>
                    <a:pt x="3700747" y="252007"/>
                    <a:pt x="3706717" y="261050"/>
                    <a:pt x="3713147" y="270094"/>
                  </a:cubicBezTo>
                  <a:cubicBezTo>
                    <a:pt x="3731977" y="279740"/>
                    <a:pt x="3751266" y="289085"/>
                    <a:pt x="3770096" y="298731"/>
                  </a:cubicBezTo>
                  <a:lnTo>
                    <a:pt x="3859193" y="292099"/>
                  </a:lnTo>
                  <a:lnTo>
                    <a:pt x="3905119" y="298731"/>
                  </a:lnTo>
                  <a:cubicBezTo>
                    <a:pt x="3911090" y="304458"/>
                    <a:pt x="3916601" y="310186"/>
                    <a:pt x="3922571" y="315913"/>
                  </a:cubicBezTo>
                  <a:cubicBezTo>
                    <a:pt x="3921653" y="324956"/>
                    <a:pt x="3920275" y="334000"/>
                    <a:pt x="3919357" y="343043"/>
                  </a:cubicBezTo>
                  <a:lnTo>
                    <a:pt x="3948290" y="355704"/>
                  </a:lnTo>
                  <a:cubicBezTo>
                    <a:pt x="3958394" y="352689"/>
                    <a:pt x="3968039" y="349373"/>
                    <a:pt x="3978142" y="346359"/>
                  </a:cubicBezTo>
                  <a:lnTo>
                    <a:pt x="4018098" y="346359"/>
                  </a:lnTo>
                  <a:cubicBezTo>
                    <a:pt x="4032335" y="349373"/>
                    <a:pt x="4046573" y="352689"/>
                    <a:pt x="4060810" y="355704"/>
                  </a:cubicBezTo>
                  <a:lnTo>
                    <a:pt x="4100306" y="349373"/>
                  </a:lnTo>
                  <a:cubicBezTo>
                    <a:pt x="4113166" y="360527"/>
                    <a:pt x="4125566" y="371680"/>
                    <a:pt x="4138425" y="382834"/>
                  </a:cubicBezTo>
                  <a:lnTo>
                    <a:pt x="4164144" y="374695"/>
                  </a:lnTo>
                  <a:cubicBezTo>
                    <a:pt x="4158633" y="365350"/>
                    <a:pt x="4153581" y="355704"/>
                    <a:pt x="4148070" y="346359"/>
                  </a:cubicBezTo>
                  <a:lnTo>
                    <a:pt x="4157714" y="331890"/>
                  </a:lnTo>
                  <a:lnTo>
                    <a:pt x="4230737" y="343043"/>
                  </a:lnTo>
                  <a:cubicBezTo>
                    <a:pt x="4244975" y="342139"/>
                    <a:pt x="4259212" y="340933"/>
                    <a:pt x="4273449" y="340029"/>
                  </a:cubicBezTo>
                  <a:lnTo>
                    <a:pt x="4336827" y="359020"/>
                  </a:lnTo>
                  <a:lnTo>
                    <a:pt x="4370354" y="374695"/>
                  </a:lnTo>
                  <a:lnTo>
                    <a:pt x="4422709" y="405140"/>
                  </a:lnTo>
                  <a:cubicBezTo>
                    <a:pt x="4441999" y="417198"/>
                    <a:pt x="4460829" y="429557"/>
                    <a:pt x="4480117" y="441615"/>
                  </a:cubicBezTo>
                  <a:cubicBezTo>
                    <a:pt x="4479199" y="449453"/>
                    <a:pt x="4477821" y="457592"/>
                    <a:pt x="4476903" y="465429"/>
                  </a:cubicBezTo>
                  <a:lnTo>
                    <a:pt x="4492517" y="474774"/>
                  </a:lnTo>
                  <a:cubicBezTo>
                    <a:pt x="4491599" y="465731"/>
                    <a:pt x="4490221" y="456989"/>
                    <a:pt x="4489303" y="447945"/>
                  </a:cubicBezTo>
                  <a:lnTo>
                    <a:pt x="4551303" y="452769"/>
                  </a:lnTo>
                  <a:cubicBezTo>
                    <a:pt x="4565081" y="464223"/>
                    <a:pt x="4578859" y="475980"/>
                    <a:pt x="4592637" y="487435"/>
                  </a:cubicBezTo>
                  <a:cubicBezTo>
                    <a:pt x="4585748" y="493162"/>
                    <a:pt x="4578859" y="499191"/>
                    <a:pt x="4571970" y="504918"/>
                  </a:cubicBezTo>
                  <a:cubicBezTo>
                    <a:pt x="4560029" y="506124"/>
                    <a:pt x="4547629" y="507028"/>
                    <a:pt x="4535689" y="508234"/>
                  </a:cubicBezTo>
                  <a:lnTo>
                    <a:pt x="4535689" y="541694"/>
                  </a:lnTo>
                  <a:cubicBezTo>
                    <a:pt x="4531555" y="543805"/>
                    <a:pt x="4526963" y="545915"/>
                    <a:pt x="4522829" y="548025"/>
                  </a:cubicBezTo>
                  <a:lnTo>
                    <a:pt x="4505377" y="548025"/>
                  </a:lnTo>
                  <a:lnTo>
                    <a:pt x="4486088" y="535364"/>
                  </a:lnTo>
                  <a:lnTo>
                    <a:pt x="4459451" y="524211"/>
                  </a:lnTo>
                  <a:cubicBezTo>
                    <a:pt x="4457154" y="518785"/>
                    <a:pt x="4455317" y="513660"/>
                    <a:pt x="4453021" y="508234"/>
                  </a:cubicBezTo>
                  <a:cubicBezTo>
                    <a:pt x="4445213" y="507028"/>
                    <a:pt x="4436947" y="506124"/>
                    <a:pt x="4429139" y="504918"/>
                  </a:cubicBezTo>
                  <a:cubicBezTo>
                    <a:pt x="4420873" y="506124"/>
                    <a:pt x="4412147" y="507028"/>
                    <a:pt x="4403880" y="508234"/>
                  </a:cubicBezTo>
                  <a:cubicBezTo>
                    <a:pt x="4400206" y="504014"/>
                    <a:pt x="4396072" y="499794"/>
                    <a:pt x="4392398" y="495574"/>
                  </a:cubicBezTo>
                  <a:cubicBezTo>
                    <a:pt x="4394695" y="490750"/>
                    <a:pt x="4396532" y="485927"/>
                    <a:pt x="4398828" y="481104"/>
                  </a:cubicBezTo>
                  <a:lnTo>
                    <a:pt x="4370354" y="490750"/>
                  </a:lnTo>
                  <a:cubicBezTo>
                    <a:pt x="4374487" y="496478"/>
                    <a:pt x="4379080" y="502507"/>
                    <a:pt x="4383213" y="508234"/>
                  </a:cubicBezTo>
                  <a:cubicBezTo>
                    <a:pt x="4379080" y="513660"/>
                    <a:pt x="4374487" y="518785"/>
                    <a:pt x="4370354" y="524211"/>
                  </a:cubicBezTo>
                  <a:cubicBezTo>
                    <a:pt x="4360250" y="529034"/>
                    <a:pt x="4350146" y="533555"/>
                    <a:pt x="4340042" y="538379"/>
                  </a:cubicBezTo>
                  <a:cubicBezTo>
                    <a:pt x="4329938" y="537474"/>
                    <a:pt x="4320294" y="536268"/>
                    <a:pt x="4310190" y="535364"/>
                  </a:cubicBezTo>
                  <a:lnTo>
                    <a:pt x="4330857" y="554355"/>
                  </a:lnTo>
                  <a:cubicBezTo>
                    <a:pt x="4335909" y="564303"/>
                    <a:pt x="4341420" y="574552"/>
                    <a:pt x="4346472" y="584499"/>
                  </a:cubicBezTo>
                  <a:cubicBezTo>
                    <a:pt x="4349687" y="587514"/>
                    <a:pt x="4352902" y="590830"/>
                    <a:pt x="4356116" y="593844"/>
                  </a:cubicBezTo>
                  <a:cubicBezTo>
                    <a:pt x="4357035" y="598667"/>
                    <a:pt x="4358413" y="603490"/>
                    <a:pt x="4359331" y="608314"/>
                  </a:cubicBezTo>
                  <a:cubicBezTo>
                    <a:pt x="4357035" y="611629"/>
                    <a:pt x="4355198" y="614644"/>
                    <a:pt x="4352902" y="617960"/>
                  </a:cubicBezTo>
                  <a:cubicBezTo>
                    <a:pt x="4338664" y="615850"/>
                    <a:pt x="4324427" y="613438"/>
                    <a:pt x="4310190" y="611328"/>
                  </a:cubicBezTo>
                  <a:lnTo>
                    <a:pt x="4249567" y="633635"/>
                  </a:lnTo>
                  <a:cubicBezTo>
                    <a:pt x="4243138" y="635745"/>
                    <a:pt x="4237167" y="637855"/>
                    <a:pt x="4230737" y="639965"/>
                  </a:cubicBezTo>
                  <a:cubicBezTo>
                    <a:pt x="4218337" y="647803"/>
                    <a:pt x="4206397" y="655942"/>
                    <a:pt x="4193996" y="663779"/>
                  </a:cubicBezTo>
                  <a:cubicBezTo>
                    <a:pt x="4183892" y="670712"/>
                    <a:pt x="4174248" y="677646"/>
                    <a:pt x="4164144" y="684579"/>
                  </a:cubicBezTo>
                  <a:lnTo>
                    <a:pt x="4154500" y="697239"/>
                  </a:lnTo>
                  <a:lnTo>
                    <a:pt x="4124188" y="676440"/>
                  </a:lnTo>
                  <a:cubicBezTo>
                    <a:pt x="4104440" y="684277"/>
                    <a:pt x="4085151" y="692416"/>
                    <a:pt x="4065402" y="700254"/>
                  </a:cubicBezTo>
                  <a:cubicBezTo>
                    <a:pt x="4062647" y="697239"/>
                    <a:pt x="4060351" y="693924"/>
                    <a:pt x="4057595" y="690909"/>
                  </a:cubicBezTo>
                  <a:lnTo>
                    <a:pt x="4035550" y="703570"/>
                  </a:lnTo>
                  <a:lnTo>
                    <a:pt x="4005239" y="697239"/>
                  </a:lnTo>
                  <a:cubicBezTo>
                    <a:pt x="4002943" y="704173"/>
                    <a:pt x="4001106" y="710804"/>
                    <a:pt x="3998809" y="717738"/>
                  </a:cubicBezTo>
                  <a:cubicBezTo>
                    <a:pt x="3989624" y="728288"/>
                    <a:pt x="3980898" y="739140"/>
                    <a:pt x="3971713" y="749691"/>
                  </a:cubicBezTo>
                  <a:lnTo>
                    <a:pt x="3971713" y="763858"/>
                  </a:lnTo>
                  <a:lnTo>
                    <a:pt x="3998809" y="773505"/>
                  </a:lnTo>
                  <a:cubicBezTo>
                    <a:pt x="3997891" y="787673"/>
                    <a:pt x="3996513" y="802142"/>
                    <a:pt x="3995594" y="816310"/>
                  </a:cubicBezTo>
                  <a:cubicBezTo>
                    <a:pt x="3988705" y="817515"/>
                    <a:pt x="3981816" y="818420"/>
                    <a:pt x="3974927" y="819626"/>
                  </a:cubicBezTo>
                  <a:cubicBezTo>
                    <a:pt x="3970794" y="827463"/>
                    <a:pt x="3966661" y="835602"/>
                    <a:pt x="3962527" y="843440"/>
                  </a:cubicBezTo>
                  <a:lnTo>
                    <a:pt x="3974927" y="856100"/>
                  </a:lnTo>
                  <a:lnTo>
                    <a:pt x="3935431" y="870268"/>
                  </a:lnTo>
                  <a:cubicBezTo>
                    <a:pt x="3933134" y="882326"/>
                    <a:pt x="3931297" y="894685"/>
                    <a:pt x="3929001" y="906743"/>
                  </a:cubicBezTo>
                  <a:cubicBezTo>
                    <a:pt x="3917979" y="910059"/>
                    <a:pt x="3906956" y="913073"/>
                    <a:pt x="3895934" y="916389"/>
                  </a:cubicBezTo>
                  <a:cubicBezTo>
                    <a:pt x="3893638" y="925432"/>
                    <a:pt x="3891801" y="934476"/>
                    <a:pt x="3889504" y="943519"/>
                  </a:cubicBezTo>
                  <a:lnTo>
                    <a:pt x="3859193" y="975171"/>
                  </a:lnTo>
                  <a:cubicBezTo>
                    <a:pt x="3855978" y="967634"/>
                    <a:pt x="3852763" y="960400"/>
                    <a:pt x="3849548" y="952864"/>
                  </a:cubicBezTo>
                  <a:cubicBezTo>
                    <a:pt x="3845874" y="938696"/>
                    <a:pt x="3842200" y="924227"/>
                    <a:pt x="3838526" y="910059"/>
                  </a:cubicBezTo>
                  <a:cubicBezTo>
                    <a:pt x="3834393" y="886848"/>
                    <a:pt x="3829800" y="863335"/>
                    <a:pt x="3825667" y="840124"/>
                  </a:cubicBezTo>
                  <a:cubicBezTo>
                    <a:pt x="3829800" y="825956"/>
                    <a:pt x="3834393" y="811487"/>
                    <a:pt x="3838526" y="797319"/>
                  </a:cubicBezTo>
                  <a:cubicBezTo>
                    <a:pt x="3844497" y="791591"/>
                    <a:pt x="3850008" y="785562"/>
                    <a:pt x="3855978" y="779835"/>
                  </a:cubicBezTo>
                  <a:cubicBezTo>
                    <a:pt x="3856897" y="774409"/>
                    <a:pt x="3858274" y="769284"/>
                    <a:pt x="3859193" y="763858"/>
                  </a:cubicBezTo>
                  <a:lnTo>
                    <a:pt x="3892719" y="757528"/>
                  </a:lnTo>
                  <a:lnTo>
                    <a:pt x="3932216" y="716230"/>
                  </a:lnTo>
                  <a:lnTo>
                    <a:pt x="3968957" y="681263"/>
                  </a:lnTo>
                  <a:lnTo>
                    <a:pt x="4008454" y="654434"/>
                  </a:lnTo>
                  <a:cubicBezTo>
                    <a:pt x="4014883" y="639061"/>
                    <a:pt x="4020854" y="623687"/>
                    <a:pt x="4027284" y="608314"/>
                  </a:cubicBezTo>
                  <a:cubicBezTo>
                    <a:pt x="4017639" y="609218"/>
                    <a:pt x="4008454" y="610424"/>
                    <a:pt x="3998809" y="611328"/>
                  </a:cubicBezTo>
                  <a:cubicBezTo>
                    <a:pt x="3994217" y="620974"/>
                    <a:pt x="3989165" y="630319"/>
                    <a:pt x="3984572" y="639965"/>
                  </a:cubicBezTo>
                  <a:lnTo>
                    <a:pt x="3929001" y="676440"/>
                  </a:lnTo>
                  <a:cubicBezTo>
                    <a:pt x="3924408" y="662272"/>
                    <a:pt x="3919357" y="647803"/>
                    <a:pt x="3914764" y="633635"/>
                  </a:cubicBezTo>
                  <a:lnTo>
                    <a:pt x="3855978" y="644788"/>
                  </a:lnTo>
                  <a:cubicBezTo>
                    <a:pt x="3837148" y="664382"/>
                    <a:pt x="3817859" y="683976"/>
                    <a:pt x="3799029" y="703570"/>
                  </a:cubicBezTo>
                  <a:cubicBezTo>
                    <a:pt x="3805000" y="709297"/>
                    <a:pt x="3810511" y="715326"/>
                    <a:pt x="3816481" y="721053"/>
                  </a:cubicBezTo>
                  <a:lnTo>
                    <a:pt x="3767340" y="730700"/>
                  </a:lnTo>
                  <a:cubicBezTo>
                    <a:pt x="3757236" y="731604"/>
                    <a:pt x="3747133" y="732810"/>
                    <a:pt x="3737029" y="733714"/>
                  </a:cubicBezTo>
                  <a:lnTo>
                    <a:pt x="3737029" y="709900"/>
                  </a:lnTo>
                  <a:cubicBezTo>
                    <a:pt x="3724629" y="708996"/>
                    <a:pt x="3712688" y="707790"/>
                    <a:pt x="3700288" y="706886"/>
                  </a:cubicBezTo>
                  <a:cubicBezTo>
                    <a:pt x="3691562" y="711709"/>
                    <a:pt x="3682376" y="716230"/>
                    <a:pt x="3673650" y="721053"/>
                  </a:cubicBezTo>
                  <a:lnTo>
                    <a:pt x="3606598" y="716230"/>
                  </a:lnTo>
                  <a:lnTo>
                    <a:pt x="3533575" y="727384"/>
                  </a:lnTo>
                  <a:lnTo>
                    <a:pt x="3460552" y="789481"/>
                  </a:lnTo>
                  <a:lnTo>
                    <a:pt x="3375129" y="862431"/>
                  </a:lnTo>
                  <a:cubicBezTo>
                    <a:pt x="3386151" y="863335"/>
                    <a:pt x="3397174" y="864541"/>
                    <a:pt x="3408196" y="865445"/>
                  </a:cubicBezTo>
                  <a:cubicBezTo>
                    <a:pt x="3412329" y="871172"/>
                    <a:pt x="3416922" y="877201"/>
                    <a:pt x="3421055" y="882929"/>
                  </a:cubicBezTo>
                  <a:cubicBezTo>
                    <a:pt x="3428863" y="886245"/>
                    <a:pt x="3437130" y="889259"/>
                    <a:pt x="3444937" y="892575"/>
                  </a:cubicBezTo>
                  <a:cubicBezTo>
                    <a:pt x="3449071" y="886245"/>
                    <a:pt x="3453663" y="879914"/>
                    <a:pt x="3457797" y="873584"/>
                  </a:cubicBezTo>
                  <a:cubicBezTo>
                    <a:pt x="3465604" y="874488"/>
                    <a:pt x="3473412" y="875694"/>
                    <a:pt x="3481219" y="876598"/>
                  </a:cubicBezTo>
                  <a:lnTo>
                    <a:pt x="3511530" y="910059"/>
                  </a:lnTo>
                  <a:lnTo>
                    <a:pt x="3511530" y="938696"/>
                  </a:lnTo>
                  <a:cubicBezTo>
                    <a:pt x="3506938" y="947739"/>
                    <a:pt x="3501886" y="956481"/>
                    <a:pt x="3497293" y="965524"/>
                  </a:cubicBezTo>
                  <a:cubicBezTo>
                    <a:pt x="3496375" y="977884"/>
                    <a:pt x="3494997" y="989941"/>
                    <a:pt x="3494078" y="1002300"/>
                  </a:cubicBezTo>
                  <a:cubicBezTo>
                    <a:pt x="3490864" y="1016468"/>
                    <a:pt x="3487649" y="1030938"/>
                    <a:pt x="3484434" y="1045105"/>
                  </a:cubicBezTo>
                  <a:cubicBezTo>
                    <a:pt x="3473412" y="1059273"/>
                    <a:pt x="3462389" y="1073743"/>
                    <a:pt x="3451367" y="1087910"/>
                  </a:cubicBezTo>
                  <a:cubicBezTo>
                    <a:pt x="3449071" y="1093638"/>
                    <a:pt x="3447233" y="1099667"/>
                    <a:pt x="3444937" y="1105394"/>
                  </a:cubicBezTo>
                  <a:lnTo>
                    <a:pt x="3414626" y="1138854"/>
                  </a:lnTo>
                  <a:cubicBezTo>
                    <a:pt x="3405440" y="1148802"/>
                    <a:pt x="3396714" y="1159051"/>
                    <a:pt x="3387529" y="1168999"/>
                  </a:cubicBezTo>
                  <a:cubicBezTo>
                    <a:pt x="3382477" y="1174123"/>
                    <a:pt x="3376966" y="1179549"/>
                    <a:pt x="3371914" y="1184674"/>
                  </a:cubicBezTo>
                  <a:cubicBezTo>
                    <a:pt x="3361810" y="1190100"/>
                    <a:pt x="3351707" y="1195224"/>
                    <a:pt x="3341603" y="1200650"/>
                  </a:cubicBezTo>
                  <a:lnTo>
                    <a:pt x="3329203" y="1200650"/>
                  </a:lnTo>
                  <a:cubicBezTo>
                    <a:pt x="3323692" y="1196430"/>
                    <a:pt x="3318640" y="1192210"/>
                    <a:pt x="3313128" y="1187990"/>
                  </a:cubicBezTo>
                  <a:lnTo>
                    <a:pt x="3282817" y="1206981"/>
                  </a:lnTo>
                  <a:cubicBezTo>
                    <a:pt x="3281899" y="1210598"/>
                    <a:pt x="3280521" y="1214517"/>
                    <a:pt x="3279602" y="1218134"/>
                  </a:cubicBezTo>
                  <a:cubicBezTo>
                    <a:pt x="3276847" y="1217230"/>
                    <a:pt x="3274550" y="1216024"/>
                    <a:pt x="3271795" y="1215120"/>
                  </a:cubicBezTo>
                  <a:lnTo>
                    <a:pt x="3262150" y="1227780"/>
                  </a:lnTo>
                  <a:cubicBezTo>
                    <a:pt x="3260313" y="1229890"/>
                    <a:pt x="3258017" y="1232001"/>
                    <a:pt x="3256180" y="1234111"/>
                  </a:cubicBezTo>
                  <a:lnTo>
                    <a:pt x="3256180" y="1251594"/>
                  </a:lnTo>
                  <a:cubicBezTo>
                    <a:pt x="3252046" y="1253705"/>
                    <a:pt x="3247454" y="1255815"/>
                    <a:pt x="3243320" y="1257925"/>
                  </a:cubicBezTo>
                  <a:cubicBezTo>
                    <a:pt x="3242402" y="1260035"/>
                    <a:pt x="3241024" y="1262145"/>
                    <a:pt x="3240106" y="1264255"/>
                  </a:cubicBezTo>
                  <a:cubicBezTo>
                    <a:pt x="3237350" y="1266365"/>
                    <a:pt x="3235054" y="1268475"/>
                    <a:pt x="3232298" y="1270585"/>
                  </a:cubicBezTo>
                  <a:cubicBezTo>
                    <a:pt x="3228165" y="1272695"/>
                    <a:pt x="3223572" y="1274806"/>
                    <a:pt x="3219439" y="1276916"/>
                  </a:cubicBezTo>
                  <a:cubicBezTo>
                    <a:pt x="3216224" y="1278423"/>
                    <a:pt x="3213009" y="1280232"/>
                    <a:pt x="3209794" y="1281739"/>
                  </a:cubicBezTo>
                  <a:lnTo>
                    <a:pt x="3209794" y="1291084"/>
                  </a:lnTo>
                  <a:cubicBezTo>
                    <a:pt x="3208876" y="1292289"/>
                    <a:pt x="3207498" y="1293194"/>
                    <a:pt x="3206579" y="1294399"/>
                  </a:cubicBezTo>
                  <a:cubicBezTo>
                    <a:pt x="3208876" y="1296510"/>
                    <a:pt x="3210713" y="1298620"/>
                    <a:pt x="3213009" y="1300730"/>
                  </a:cubicBezTo>
                  <a:cubicBezTo>
                    <a:pt x="3217142" y="1304046"/>
                    <a:pt x="3221735" y="1307060"/>
                    <a:pt x="3225868" y="1310376"/>
                  </a:cubicBezTo>
                  <a:cubicBezTo>
                    <a:pt x="3231839" y="1321529"/>
                    <a:pt x="3237350" y="1332381"/>
                    <a:pt x="3243320" y="1343535"/>
                  </a:cubicBezTo>
                  <a:cubicBezTo>
                    <a:pt x="3245617" y="1348358"/>
                    <a:pt x="3247454" y="1353181"/>
                    <a:pt x="3249750" y="1358004"/>
                  </a:cubicBezTo>
                  <a:lnTo>
                    <a:pt x="3249750" y="1370665"/>
                  </a:lnTo>
                  <a:lnTo>
                    <a:pt x="3249750" y="1389656"/>
                  </a:lnTo>
                  <a:cubicBezTo>
                    <a:pt x="3247454" y="1393273"/>
                    <a:pt x="3245617" y="1397192"/>
                    <a:pt x="3243320" y="1400809"/>
                  </a:cubicBezTo>
                  <a:lnTo>
                    <a:pt x="3222654" y="1407139"/>
                  </a:lnTo>
                  <a:lnTo>
                    <a:pt x="3206579" y="1416786"/>
                  </a:lnTo>
                  <a:cubicBezTo>
                    <a:pt x="3198772" y="1417690"/>
                    <a:pt x="3190964" y="1418896"/>
                    <a:pt x="3183157" y="1419800"/>
                  </a:cubicBezTo>
                  <a:cubicBezTo>
                    <a:pt x="3182238" y="1414675"/>
                    <a:pt x="3180861" y="1409249"/>
                    <a:pt x="3179942" y="1404125"/>
                  </a:cubicBezTo>
                  <a:cubicBezTo>
                    <a:pt x="3181779" y="1398397"/>
                    <a:pt x="3184075" y="1392369"/>
                    <a:pt x="3185912" y="1386641"/>
                  </a:cubicBezTo>
                  <a:cubicBezTo>
                    <a:pt x="3182698" y="1376995"/>
                    <a:pt x="3179942" y="1367650"/>
                    <a:pt x="3176727" y="1358004"/>
                  </a:cubicBezTo>
                  <a:lnTo>
                    <a:pt x="3192342" y="1356195"/>
                  </a:lnTo>
                  <a:cubicBezTo>
                    <a:pt x="3188209" y="1348961"/>
                    <a:pt x="3184075" y="1341425"/>
                    <a:pt x="3179942" y="1334190"/>
                  </a:cubicBezTo>
                  <a:cubicBezTo>
                    <a:pt x="3175809" y="1332984"/>
                    <a:pt x="3171216" y="1332080"/>
                    <a:pt x="3167083" y="1330874"/>
                  </a:cubicBezTo>
                  <a:cubicBezTo>
                    <a:pt x="3166164" y="1332080"/>
                    <a:pt x="3164786" y="1332984"/>
                    <a:pt x="3163868" y="1334190"/>
                  </a:cubicBezTo>
                  <a:lnTo>
                    <a:pt x="3159275" y="1334190"/>
                  </a:lnTo>
                  <a:lnTo>
                    <a:pt x="3159275" y="1330874"/>
                  </a:lnTo>
                  <a:lnTo>
                    <a:pt x="3152845" y="1330874"/>
                  </a:lnTo>
                  <a:cubicBezTo>
                    <a:pt x="3150549" y="1328764"/>
                    <a:pt x="3148712" y="1326654"/>
                    <a:pt x="3146416" y="1324544"/>
                  </a:cubicBezTo>
                  <a:cubicBezTo>
                    <a:pt x="3148712" y="1320926"/>
                    <a:pt x="3150549" y="1317008"/>
                    <a:pt x="3152845" y="1313390"/>
                  </a:cubicBezTo>
                  <a:cubicBezTo>
                    <a:pt x="3155142" y="1312486"/>
                    <a:pt x="3156979" y="1311280"/>
                    <a:pt x="3159275" y="1310376"/>
                  </a:cubicBezTo>
                  <a:cubicBezTo>
                    <a:pt x="3158357" y="1309170"/>
                    <a:pt x="3156979" y="1308266"/>
                    <a:pt x="3156060" y="1307060"/>
                  </a:cubicBezTo>
                  <a:cubicBezTo>
                    <a:pt x="3158357" y="1301634"/>
                    <a:pt x="3160194" y="1296510"/>
                    <a:pt x="3162490" y="1291084"/>
                  </a:cubicBezTo>
                  <a:lnTo>
                    <a:pt x="3162490" y="1288069"/>
                  </a:lnTo>
                  <a:cubicBezTo>
                    <a:pt x="3156979" y="1286863"/>
                    <a:pt x="3151927" y="1285959"/>
                    <a:pt x="3146416" y="1284753"/>
                  </a:cubicBezTo>
                  <a:cubicBezTo>
                    <a:pt x="3143201" y="1282040"/>
                    <a:pt x="3139986" y="1279629"/>
                    <a:pt x="3136771" y="1276916"/>
                  </a:cubicBezTo>
                  <a:cubicBezTo>
                    <a:pt x="3125749" y="1279629"/>
                    <a:pt x="3114727" y="1282040"/>
                    <a:pt x="3103704" y="1284753"/>
                  </a:cubicBezTo>
                  <a:cubicBezTo>
                    <a:pt x="3098193" y="1288973"/>
                    <a:pt x="3093141" y="1293495"/>
                    <a:pt x="3087630" y="1297715"/>
                  </a:cubicBezTo>
                  <a:lnTo>
                    <a:pt x="3063748" y="1307060"/>
                  </a:lnTo>
                  <a:cubicBezTo>
                    <a:pt x="3069259" y="1301634"/>
                    <a:pt x="3074311" y="1296510"/>
                    <a:pt x="3079823" y="1291084"/>
                  </a:cubicBezTo>
                  <a:cubicBezTo>
                    <a:pt x="3077526" y="1288069"/>
                    <a:pt x="3075689" y="1284753"/>
                    <a:pt x="3073393" y="1281739"/>
                  </a:cubicBezTo>
                  <a:cubicBezTo>
                    <a:pt x="3077985" y="1276011"/>
                    <a:pt x="3083037" y="1269982"/>
                    <a:pt x="3087630" y="1264255"/>
                  </a:cubicBezTo>
                  <a:cubicBezTo>
                    <a:pt x="3084874" y="1258829"/>
                    <a:pt x="3082578" y="1253705"/>
                    <a:pt x="3079823" y="1248279"/>
                  </a:cubicBezTo>
                  <a:cubicBezTo>
                    <a:pt x="3072474" y="1252499"/>
                    <a:pt x="3064667" y="1256719"/>
                    <a:pt x="3057319" y="1260939"/>
                  </a:cubicBezTo>
                  <a:cubicBezTo>
                    <a:pt x="3049511" y="1267269"/>
                    <a:pt x="3041704" y="1273901"/>
                    <a:pt x="3033896" y="1280232"/>
                  </a:cubicBezTo>
                  <a:lnTo>
                    <a:pt x="3017822" y="1294399"/>
                  </a:lnTo>
                  <a:cubicBezTo>
                    <a:pt x="3010933" y="1295605"/>
                    <a:pt x="3004044" y="1296510"/>
                    <a:pt x="2997155" y="1297715"/>
                  </a:cubicBezTo>
                  <a:cubicBezTo>
                    <a:pt x="2993940" y="1300730"/>
                    <a:pt x="2990725" y="1304046"/>
                    <a:pt x="2987511" y="1307060"/>
                  </a:cubicBezTo>
                  <a:lnTo>
                    <a:pt x="2997155" y="1327860"/>
                  </a:lnTo>
                  <a:cubicBezTo>
                    <a:pt x="3003125" y="1328764"/>
                    <a:pt x="3008637" y="1329970"/>
                    <a:pt x="3014607" y="1330874"/>
                  </a:cubicBezTo>
                  <a:lnTo>
                    <a:pt x="3014607" y="1343535"/>
                  </a:lnTo>
                  <a:lnTo>
                    <a:pt x="3037111" y="1349865"/>
                  </a:lnTo>
                  <a:cubicBezTo>
                    <a:pt x="3044000" y="1343535"/>
                    <a:pt x="3050430" y="1337204"/>
                    <a:pt x="3057319" y="1330874"/>
                  </a:cubicBezTo>
                  <a:lnTo>
                    <a:pt x="3083037" y="1340520"/>
                  </a:lnTo>
                  <a:lnTo>
                    <a:pt x="3094060" y="1340520"/>
                  </a:lnTo>
                  <a:cubicBezTo>
                    <a:pt x="3094978" y="1345645"/>
                    <a:pt x="3096356" y="1351071"/>
                    <a:pt x="3097275" y="1356195"/>
                  </a:cubicBezTo>
                  <a:cubicBezTo>
                    <a:pt x="3087171" y="1357703"/>
                    <a:pt x="3077067" y="1359511"/>
                    <a:pt x="3066963" y="1361018"/>
                  </a:cubicBezTo>
                  <a:lnTo>
                    <a:pt x="3057319" y="1373679"/>
                  </a:lnTo>
                  <a:lnTo>
                    <a:pt x="3037111" y="1389656"/>
                  </a:lnTo>
                  <a:cubicBezTo>
                    <a:pt x="3031600" y="1395383"/>
                    <a:pt x="3026548" y="1401412"/>
                    <a:pt x="3021037" y="1407139"/>
                  </a:cubicBezTo>
                  <a:cubicBezTo>
                    <a:pt x="3029304" y="1411360"/>
                    <a:pt x="3038030" y="1415580"/>
                    <a:pt x="3046296" y="1419800"/>
                  </a:cubicBezTo>
                  <a:cubicBezTo>
                    <a:pt x="3049970" y="1427638"/>
                    <a:pt x="3053644" y="1435777"/>
                    <a:pt x="3057319" y="1443614"/>
                  </a:cubicBezTo>
                  <a:cubicBezTo>
                    <a:pt x="3061452" y="1452054"/>
                    <a:pt x="3066045" y="1460796"/>
                    <a:pt x="3070178" y="1469237"/>
                  </a:cubicBezTo>
                  <a:cubicBezTo>
                    <a:pt x="3074311" y="1474964"/>
                    <a:pt x="3078904" y="1480993"/>
                    <a:pt x="3083037" y="1486720"/>
                  </a:cubicBezTo>
                  <a:lnTo>
                    <a:pt x="3083037" y="1502396"/>
                  </a:lnTo>
                  <a:cubicBezTo>
                    <a:pt x="3078904" y="1505109"/>
                    <a:pt x="3074311" y="1507822"/>
                    <a:pt x="3070178" y="1510535"/>
                  </a:cubicBezTo>
                  <a:cubicBezTo>
                    <a:pt x="3072474" y="1514755"/>
                    <a:pt x="3074311" y="1518975"/>
                    <a:pt x="3076608" y="1523195"/>
                  </a:cubicBezTo>
                  <a:cubicBezTo>
                    <a:pt x="3080282" y="1526210"/>
                    <a:pt x="3083956" y="1529525"/>
                    <a:pt x="3087630" y="1532540"/>
                  </a:cubicBezTo>
                  <a:cubicBezTo>
                    <a:pt x="3086252" y="1538267"/>
                    <a:pt x="3084415" y="1544296"/>
                    <a:pt x="3083037" y="1550024"/>
                  </a:cubicBezTo>
                  <a:cubicBezTo>
                    <a:pt x="3082119" y="1556354"/>
                    <a:pt x="3080741" y="1562684"/>
                    <a:pt x="3079823" y="1569015"/>
                  </a:cubicBezTo>
                  <a:cubicBezTo>
                    <a:pt x="3075689" y="1570220"/>
                    <a:pt x="3071097" y="1571125"/>
                    <a:pt x="3066963" y="1572331"/>
                  </a:cubicBezTo>
                  <a:cubicBezTo>
                    <a:pt x="3061911" y="1580168"/>
                    <a:pt x="3056400" y="1588307"/>
                    <a:pt x="3051348" y="1596145"/>
                  </a:cubicBezTo>
                  <a:cubicBezTo>
                    <a:pt x="3045378" y="1606092"/>
                    <a:pt x="3039867" y="1616341"/>
                    <a:pt x="3033896" y="1626289"/>
                  </a:cubicBezTo>
                  <a:cubicBezTo>
                    <a:pt x="3027007" y="1636839"/>
                    <a:pt x="3020118" y="1647691"/>
                    <a:pt x="3013229" y="1658242"/>
                  </a:cubicBezTo>
                  <a:cubicBezTo>
                    <a:pt x="3002666" y="1665175"/>
                    <a:pt x="2992103" y="1671807"/>
                    <a:pt x="2981540" y="1678740"/>
                  </a:cubicBezTo>
                  <a:lnTo>
                    <a:pt x="2951229" y="1697731"/>
                  </a:lnTo>
                  <a:lnTo>
                    <a:pt x="2927347" y="1699540"/>
                  </a:lnTo>
                  <a:lnTo>
                    <a:pt x="2914488" y="1708884"/>
                  </a:lnTo>
                  <a:cubicBezTo>
                    <a:pt x="2911273" y="1706774"/>
                    <a:pt x="2908517" y="1704664"/>
                    <a:pt x="2905302" y="1702554"/>
                  </a:cubicBezTo>
                  <a:cubicBezTo>
                    <a:pt x="2901628" y="1706774"/>
                    <a:pt x="2897495" y="1710995"/>
                    <a:pt x="2893821" y="1715215"/>
                  </a:cubicBezTo>
                  <a:cubicBezTo>
                    <a:pt x="2882798" y="1718531"/>
                    <a:pt x="2871776" y="1721545"/>
                    <a:pt x="2860754" y="1724861"/>
                  </a:cubicBezTo>
                  <a:lnTo>
                    <a:pt x="2838250" y="1731191"/>
                  </a:lnTo>
                  <a:cubicBezTo>
                    <a:pt x="2836413" y="1739029"/>
                    <a:pt x="2834116" y="1747168"/>
                    <a:pt x="2832279" y="1755005"/>
                  </a:cubicBezTo>
                  <a:lnTo>
                    <a:pt x="2817583" y="1755005"/>
                  </a:lnTo>
                  <a:cubicBezTo>
                    <a:pt x="2816664" y="1749579"/>
                    <a:pt x="2815746" y="1744455"/>
                    <a:pt x="2814827" y="1739029"/>
                  </a:cubicBezTo>
                  <a:cubicBezTo>
                    <a:pt x="2815746" y="1736316"/>
                    <a:pt x="2816664" y="1733904"/>
                    <a:pt x="2817583" y="1731191"/>
                  </a:cubicBezTo>
                  <a:lnTo>
                    <a:pt x="2787731" y="1721545"/>
                  </a:lnTo>
                  <a:cubicBezTo>
                    <a:pt x="2784516" y="1722751"/>
                    <a:pt x="2781301" y="1723655"/>
                    <a:pt x="2778086" y="1724861"/>
                  </a:cubicBezTo>
                  <a:lnTo>
                    <a:pt x="2750990" y="1745359"/>
                  </a:lnTo>
                  <a:cubicBezTo>
                    <a:pt x="2743641" y="1752895"/>
                    <a:pt x="2736293" y="1760130"/>
                    <a:pt x="2728945" y="1767666"/>
                  </a:cubicBezTo>
                  <a:cubicBezTo>
                    <a:pt x="2728027" y="1773393"/>
                    <a:pt x="2726649" y="1779422"/>
                    <a:pt x="2725730" y="1785150"/>
                  </a:cubicBezTo>
                  <a:cubicBezTo>
                    <a:pt x="2731241" y="1792686"/>
                    <a:pt x="2736293" y="1799920"/>
                    <a:pt x="2741804" y="1807457"/>
                  </a:cubicBezTo>
                  <a:cubicBezTo>
                    <a:pt x="2748693" y="1817404"/>
                    <a:pt x="2755582" y="1827653"/>
                    <a:pt x="2762471" y="1837601"/>
                  </a:cubicBezTo>
                  <a:cubicBezTo>
                    <a:pt x="2769820" y="1842424"/>
                    <a:pt x="2777168" y="1846946"/>
                    <a:pt x="2784516" y="1851769"/>
                  </a:cubicBezTo>
                  <a:cubicBezTo>
                    <a:pt x="2788190" y="1857195"/>
                    <a:pt x="2791864" y="1862319"/>
                    <a:pt x="2795538" y="1867745"/>
                  </a:cubicBezTo>
                  <a:cubicBezTo>
                    <a:pt x="2799672" y="1881913"/>
                    <a:pt x="2804264" y="1896382"/>
                    <a:pt x="2808398" y="1910550"/>
                  </a:cubicBezTo>
                  <a:cubicBezTo>
                    <a:pt x="2806101" y="1923814"/>
                    <a:pt x="2804264" y="1937077"/>
                    <a:pt x="2801968" y="1950341"/>
                  </a:cubicBezTo>
                  <a:cubicBezTo>
                    <a:pt x="2797375" y="1956068"/>
                    <a:pt x="2792323" y="1962097"/>
                    <a:pt x="2787731" y="1967825"/>
                  </a:cubicBezTo>
                  <a:cubicBezTo>
                    <a:pt x="2778086" y="1972045"/>
                    <a:pt x="2768901" y="1976265"/>
                    <a:pt x="2759256" y="1980485"/>
                  </a:cubicBezTo>
                  <a:cubicBezTo>
                    <a:pt x="2753286" y="1986816"/>
                    <a:pt x="2747775" y="1993146"/>
                    <a:pt x="2741804" y="1999476"/>
                  </a:cubicBezTo>
                  <a:lnTo>
                    <a:pt x="2712871" y="2020276"/>
                  </a:lnTo>
                  <a:cubicBezTo>
                    <a:pt x="2711493" y="2014850"/>
                    <a:pt x="2709656" y="2009725"/>
                    <a:pt x="2708278" y="2004299"/>
                  </a:cubicBezTo>
                  <a:cubicBezTo>
                    <a:pt x="2709197" y="1999476"/>
                    <a:pt x="2710574" y="1994955"/>
                    <a:pt x="2711493" y="1990131"/>
                  </a:cubicBezTo>
                  <a:cubicBezTo>
                    <a:pt x="2705982" y="1985911"/>
                    <a:pt x="2700930" y="1981691"/>
                    <a:pt x="2695419" y="1977471"/>
                  </a:cubicBezTo>
                  <a:cubicBezTo>
                    <a:pt x="2688989" y="1976265"/>
                    <a:pt x="2683019" y="1975361"/>
                    <a:pt x="2676589" y="1974155"/>
                  </a:cubicBezTo>
                  <a:cubicBezTo>
                    <a:pt x="2673833" y="1969935"/>
                    <a:pt x="2671537" y="1965715"/>
                    <a:pt x="2668781" y="1961494"/>
                  </a:cubicBezTo>
                  <a:cubicBezTo>
                    <a:pt x="2664648" y="1954561"/>
                    <a:pt x="2660055" y="1947628"/>
                    <a:pt x="2655922" y="1940695"/>
                  </a:cubicBezTo>
                  <a:cubicBezTo>
                    <a:pt x="2649952" y="1936474"/>
                    <a:pt x="2644441" y="1932254"/>
                    <a:pt x="2638470" y="1928034"/>
                  </a:cubicBezTo>
                  <a:lnTo>
                    <a:pt x="2619181" y="1928034"/>
                  </a:lnTo>
                  <a:cubicBezTo>
                    <a:pt x="2620100" y="1922307"/>
                    <a:pt x="2621477" y="1916278"/>
                    <a:pt x="2622396" y="1910550"/>
                  </a:cubicBezTo>
                  <a:lnTo>
                    <a:pt x="2603566" y="1910550"/>
                  </a:lnTo>
                  <a:cubicBezTo>
                    <a:pt x="2602648" y="1919594"/>
                    <a:pt x="2601270" y="1928637"/>
                    <a:pt x="2600351" y="1937680"/>
                  </a:cubicBezTo>
                  <a:cubicBezTo>
                    <a:pt x="2597596" y="1947628"/>
                    <a:pt x="2595299" y="1957877"/>
                    <a:pt x="2592544" y="1967825"/>
                  </a:cubicBezTo>
                  <a:lnTo>
                    <a:pt x="2582899" y="1986816"/>
                  </a:lnTo>
                  <a:lnTo>
                    <a:pt x="2582899" y="2004299"/>
                  </a:lnTo>
                  <a:cubicBezTo>
                    <a:pt x="2587951" y="2005505"/>
                    <a:pt x="2593462" y="2006409"/>
                    <a:pt x="2598514" y="2007615"/>
                  </a:cubicBezTo>
                  <a:lnTo>
                    <a:pt x="2606781" y="2026606"/>
                  </a:lnTo>
                  <a:cubicBezTo>
                    <a:pt x="2607699" y="2033539"/>
                    <a:pt x="2609077" y="2040171"/>
                    <a:pt x="2609996" y="2047104"/>
                  </a:cubicBezTo>
                  <a:cubicBezTo>
                    <a:pt x="2614129" y="2050420"/>
                    <a:pt x="2618262" y="2053435"/>
                    <a:pt x="2622396" y="2056751"/>
                  </a:cubicBezTo>
                  <a:cubicBezTo>
                    <a:pt x="2626529" y="2057956"/>
                    <a:pt x="2631122" y="2058861"/>
                    <a:pt x="2635255" y="2060066"/>
                  </a:cubicBezTo>
                  <a:cubicBezTo>
                    <a:pt x="2639848" y="2064287"/>
                    <a:pt x="2644900" y="2068507"/>
                    <a:pt x="2649492" y="2072727"/>
                  </a:cubicBezTo>
                  <a:lnTo>
                    <a:pt x="2652707" y="2072727"/>
                  </a:lnTo>
                  <a:lnTo>
                    <a:pt x="2668781" y="2086895"/>
                  </a:lnTo>
                  <a:cubicBezTo>
                    <a:pt x="2670619" y="2092321"/>
                    <a:pt x="2672915" y="2097445"/>
                    <a:pt x="2674752" y="2102871"/>
                  </a:cubicBezTo>
                  <a:lnTo>
                    <a:pt x="2674752" y="2117039"/>
                  </a:lnTo>
                  <a:lnTo>
                    <a:pt x="2674752" y="2129700"/>
                  </a:lnTo>
                  <a:lnTo>
                    <a:pt x="2674752" y="2133016"/>
                  </a:lnTo>
                  <a:cubicBezTo>
                    <a:pt x="2675211" y="2138442"/>
                    <a:pt x="2676130" y="2143566"/>
                    <a:pt x="2676589" y="2148992"/>
                  </a:cubicBezTo>
                  <a:lnTo>
                    <a:pt x="2686234" y="2153514"/>
                  </a:lnTo>
                  <a:cubicBezTo>
                    <a:pt x="2688071" y="2161050"/>
                    <a:pt x="2690367" y="2168285"/>
                    <a:pt x="2692204" y="2175821"/>
                  </a:cubicBezTo>
                  <a:lnTo>
                    <a:pt x="2692204" y="2182151"/>
                  </a:lnTo>
                  <a:lnTo>
                    <a:pt x="2676589" y="2182151"/>
                  </a:lnTo>
                  <a:cubicBezTo>
                    <a:pt x="2669700" y="2177026"/>
                    <a:pt x="2662811" y="2171601"/>
                    <a:pt x="2655922" y="2166476"/>
                  </a:cubicBezTo>
                  <a:cubicBezTo>
                    <a:pt x="2646737" y="2160749"/>
                    <a:pt x="2638011" y="2154720"/>
                    <a:pt x="2628826" y="2148992"/>
                  </a:cubicBezTo>
                  <a:cubicBezTo>
                    <a:pt x="2627907" y="2144772"/>
                    <a:pt x="2626529" y="2140250"/>
                    <a:pt x="2625611" y="2136030"/>
                  </a:cubicBezTo>
                  <a:cubicBezTo>
                    <a:pt x="2622396" y="2131810"/>
                    <a:pt x="2619640" y="2127590"/>
                    <a:pt x="2616425" y="2123370"/>
                  </a:cubicBezTo>
                  <a:cubicBezTo>
                    <a:pt x="2615507" y="2117642"/>
                    <a:pt x="2614129" y="2111613"/>
                    <a:pt x="2613211" y="2105886"/>
                  </a:cubicBezTo>
                  <a:cubicBezTo>
                    <a:pt x="2610914" y="2100761"/>
                    <a:pt x="2609077" y="2095335"/>
                    <a:pt x="2606781" y="2090211"/>
                  </a:cubicBezTo>
                  <a:lnTo>
                    <a:pt x="2606781" y="2074234"/>
                  </a:lnTo>
                  <a:cubicBezTo>
                    <a:pt x="2605862" y="2072727"/>
                    <a:pt x="2604485" y="2070918"/>
                    <a:pt x="2603566" y="2069411"/>
                  </a:cubicBezTo>
                  <a:lnTo>
                    <a:pt x="2592544" y="2056751"/>
                  </a:lnTo>
                  <a:lnTo>
                    <a:pt x="2592544" y="2047104"/>
                  </a:lnTo>
                  <a:cubicBezTo>
                    <a:pt x="2587033" y="2043487"/>
                    <a:pt x="2581981" y="2039568"/>
                    <a:pt x="2576469" y="2035951"/>
                  </a:cubicBezTo>
                  <a:lnTo>
                    <a:pt x="2563610" y="2026606"/>
                  </a:lnTo>
                  <a:cubicBezTo>
                    <a:pt x="2563151" y="2030223"/>
                    <a:pt x="2562692" y="2034142"/>
                    <a:pt x="2562232" y="2037760"/>
                  </a:cubicBezTo>
                  <a:cubicBezTo>
                    <a:pt x="2561314" y="2034142"/>
                    <a:pt x="2559936" y="2030223"/>
                    <a:pt x="2559017" y="2026606"/>
                  </a:cubicBezTo>
                  <a:cubicBezTo>
                    <a:pt x="2559936" y="2021180"/>
                    <a:pt x="2561314" y="2016056"/>
                    <a:pt x="2562232" y="2010630"/>
                  </a:cubicBezTo>
                  <a:cubicBezTo>
                    <a:pt x="2563610" y="2003696"/>
                    <a:pt x="2565447" y="1997065"/>
                    <a:pt x="2566825" y="1990131"/>
                  </a:cubicBezTo>
                  <a:cubicBezTo>
                    <a:pt x="2565906" y="1983801"/>
                    <a:pt x="2564529" y="1977169"/>
                    <a:pt x="2563610" y="1970839"/>
                  </a:cubicBezTo>
                  <a:cubicBezTo>
                    <a:pt x="2566825" y="1966016"/>
                    <a:pt x="2570040" y="1961494"/>
                    <a:pt x="2573255" y="1956671"/>
                  </a:cubicBezTo>
                  <a:lnTo>
                    <a:pt x="2563610" y="1944011"/>
                  </a:lnTo>
                  <a:lnTo>
                    <a:pt x="2563610" y="1920197"/>
                  </a:lnTo>
                  <a:cubicBezTo>
                    <a:pt x="2562232" y="1915976"/>
                    <a:pt x="2560395" y="1911756"/>
                    <a:pt x="2559017" y="1907536"/>
                  </a:cubicBezTo>
                  <a:lnTo>
                    <a:pt x="2549373" y="1880406"/>
                  </a:lnTo>
                  <a:cubicBezTo>
                    <a:pt x="2548454" y="1869855"/>
                    <a:pt x="2547077" y="1859305"/>
                    <a:pt x="2546158" y="1848754"/>
                  </a:cubicBezTo>
                  <a:cubicBezTo>
                    <a:pt x="2542943" y="1843027"/>
                    <a:pt x="2540188" y="1836998"/>
                    <a:pt x="2536973" y="1831271"/>
                  </a:cubicBezTo>
                  <a:cubicBezTo>
                    <a:pt x="2533299" y="1836697"/>
                    <a:pt x="2529165" y="1841821"/>
                    <a:pt x="2525491" y="1847247"/>
                  </a:cubicBezTo>
                  <a:lnTo>
                    <a:pt x="2497017" y="1861415"/>
                  </a:lnTo>
                  <a:cubicBezTo>
                    <a:pt x="2493343" y="1860209"/>
                    <a:pt x="2489669" y="1859305"/>
                    <a:pt x="2485995" y="1858099"/>
                  </a:cubicBezTo>
                  <a:cubicBezTo>
                    <a:pt x="2480483" y="1855989"/>
                    <a:pt x="2475431" y="1853879"/>
                    <a:pt x="2469920" y="1851769"/>
                  </a:cubicBezTo>
                  <a:cubicBezTo>
                    <a:pt x="2473135" y="1841821"/>
                    <a:pt x="2476350" y="1831572"/>
                    <a:pt x="2479565" y="1821624"/>
                  </a:cubicBezTo>
                  <a:cubicBezTo>
                    <a:pt x="2478646" y="1814691"/>
                    <a:pt x="2477269" y="1808059"/>
                    <a:pt x="2476350" y="1801126"/>
                  </a:cubicBezTo>
                  <a:cubicBezTo>
                    <a:pt x="2469920" y="1792686"/>
                    <a:pt x="2463950" y="1783944"/>
                    <a:pt x="2457520" y="1775504"/>
                  </a:cubicBezTo>
                  <a:lnTo>
                    <a:pt x="2457520" y="1767666"/>
                  </a:lnTo>
                  <a:cubicBezTo>
                    <a:pt x="2453846" y="1766762"/>
                    <a:pt x="2450172" y="1765556"/>
                    <a:pt x="2446498" y="1764652"/>
                  </a:cubicBezTo>
                  <a:cubicBezTo>
                    <a:pt x="2440987" y="1758321"/>
                    <a:pt x="2435935" y="1751689"/>
                    <a:pt x="2430424" y="1745359"/>
                  </a:cubicBezTo>
                  <a:cubicBezTo>
                    <a:pt x="2428127" y="1741742"/>
                    <a:pt x="2426290" y="1737823"/>
                    <a:pt x="2423994" y="1734206"/>
                  </a:cubicBezTo>
                  <a:lnTo>
                    <a:pt x="2423994" y="1721545"/>
                  </a:lnTo>
                  <a:cubicBezTo>
                    <a:pt x="2423075" y="1718531"/>
                    <a:pt x="2421698" y="1715215"/>
                    <a:pt x="2420779" y="1712200"/>
                  </a:cubicBezTo>
                  <a:lnTo>
                    <a:pt x="2409757" y="1697731"/>
                  </a:lnTo>
                  <a:lnTo>
                    <a:pt x="2390927" y="1697731"/>
                  </a:lnTo>
                  <a:cubicBezTo>
                    <a:pt x="2391845" y="1700444"/>
                    <a:pt x="2393223" y="1703157"/>
                    <a:pt x="2394142" y="1705870"/>
                  </a:cubicBezTo>
                  <a:cubicBezTo>
                    <a:pt x="2390927" y="1710995"/>
                    <a:pt x="2387712" y="1716421"/>
                    <a:pt x="2384497" y="1721545"/>
                  </a:cubicBezTo>
                  <a:lnTo>
                    <a:pt x="2374853" y="1715215"/>
                  </a:lnTo>
                  <a:lnTo>
                    <a:pt x="2373475" y="1721545"/>
                  </a:lnTo>
                  <a:cubicBezTo>
                    <a:pt x="2371179" y="1720641"/>
                    <a:pt x="2369342" y="1719435"/>
                    <a:pt x="2367045" y="1718531"/>
                  </a:cubicBezTo>
                  <a:cubicBezTo>
                    <a:pt x="2364749" y="1717325"/>
                    <a:pt x="2362912" y="1716421"/>
                    <a:pt x="2360616" y="1715215"/>
                  </a:cubicBezTo>
                  <a:cubicBezTo>
                    <a:pt x="2358319" y="1717325"/>
                    <a:pt x="2356482" y="1719435"/>
                    <a:pt x="2354186" y="1721545"/>
                  </a:cubicBezTo>
                  <a:lnTo>
                    <a:pt x="2338571" y="1721545"/>
                  </a:lnTo>
                  <a:lnTo>
                    <a:pt x="2311474" y="1727875"/>
                  </a:lnTo>
                  <a:cubicBezTo>
                    <a:pt x="2312393" y="1732699"/>
                    <a:pt x="2313771" y="1737522"/>
                    <a:pt x="2314689" y="1742345"/>
                  </a:cubicBezTo>
                  <a:cubicBezTo>
                    <a:pt x="2310097" y="1747469"/>
                    <a:pt x="2305045" y="1752895"/>
                    <a:pt x="2300452" y="1758020"/>
                  </a:cubicBezTo>
                  <a:lnTo>
                    <a:pt x="2268763" y="1772489"/>
                  </a:lnTo>
                  <a:cubicBezTo>
                    <a:pt x="2260955" y="1782135"/>
                    <a:pt x="2252689" y="1791480"/>
                    <a:pt x="2244881" y="1801126"/>
                  </a:cubicBezTo>
                  <a:lnTo>
                    <a:pt x="2228807" y="1815294"/>
                  </a:lnTo>
                  <a:cubicBezTo>
                    <a:pt x="2221918" y="1820720"/>
                    <a:pt x="2215029" y="1825845"/>
                    <a:pt x="2208140" y="1831271"/>
                  </a:cubicBezTo>
                  <a:lnTo>
                    <a:pt x="2208140" y="1840615"/>
                  </a:lnTo>
                  <a:cubicBezTo>
                    <a:pt x="2204007" y="1842725"/>
                    <a:pt x="2199873" y="1845137"/>
                    <a:pt x="2195740" y="1847247"/>
                  </a:cubicBezTo>
                  <a:cubicBezTo>
                    <a:pt x="2188851" y="1849960"/>
                    <a:pt x="2181962" y="1852372"/>
                    <a:pt x="2175073" y="1855085"/>
                  </a:cubicBezTo>
                  <a:lnTo>
                    <a:pt x="2165428" y="1855085"/>
                  </a:lnTo>
                  <a:cubicBezTo>
                    <a:pt x="2163132" y="1861415"/>
                    <a:pt x="2161295" y="1867745"/>
                    <a:pt x="2158999" y="1874076"/>
                  </a:cubicBezTo>
                  <a:cubicBezTo>
                    <a:pt x="2159917" y="1884023"/>
                    <a:pt x="2161295" y="1894272"/>
                    <a:pt x="2162214" y="1904220"/>
                  </a:cubicBezTo>
                  <a:cubicBezTo>
                    <a:pt x="2163132" y="1910550"/>
                    <a:pt x="2164510" y="1916881"/>
                    <a:pt x="2165428" y="1923211"/>
                  </a:cubicBezTo>
                  <a:cubicBezTo>
                    <a:pt x="2161295" y="1930144"/>
                    <a:pt x="2156702" y="1937077"/>
                    <a:pt x="2152569" y="1944011"/>
                  </a:cubicBezTo>
                  <a:lnTo>
                    <a:pt x="2152569" y="1961494"/>
                  </a:lnTo>
                  <a:lnTo>
                    <a:pt x="2152569" y="1980485"/>
                  </a:lnTo>
                  <a:lnTo>
                    <a:pt x="2144762" y="1980485"/>
                  </a:lnTo>
                  <a:cubicBezTo>
                    <a:pt x="2140628" y="1986816"/>
                    <a:pt x="2136036" y="1993146"/>
                    <a:pt x="2131902" y="1999476"/>
                  </a:cubicBezTo>
                  <a:lnTo>
                    <a:pt x="2141547" y="2007615"/>
                  </a:lnTo>
                  <a:cubicBezTo>
                    <a:pt x="2134199" y="2008520"/>
                    <a:pt x="2126850" y="2009725"/>
                    <a:pt x="2119502" y="2010630"/>
                  </a:cubicBezTo>
                  <a:cubicBezTo>
                    <a:pt x="2116747" y="2016056"/>
                    <a:pt x="2113991" y="2021180"/>
                    <a:pt x="2111235" y="2026606"/>
                  </a:cubicBezTo>
                  <a:cubicBezTo>
                    <a:pt x="2108939" y="2028716"/>
                    <a:pt x="2107102" y="2030826"/>
                    <a:pt x="2104806" y="2032936"/>
                  </a:cubicBezTo>
                  <a:cubicBezTo>
                    <a:pt x="2097457" y="2025400"/>
                    <a:pt x="2090109" y="2018166"/>
                    <a:pt x="2082761" y="2010630"/>
                  </a:cubicBezTo>
                  <a:cubicBezTo>
                    <a:pt x="2079087" y="2001586"/>
                    <a:pt x="2075413" y="1992844"/>
                    <a:pt x="2071739" y="1983801"/>
                  </a:cubicBezTo>
                  <a:cubicBezTo>
                    <a:pt x="2069442" y="1975964"/>
                    <a:pt x="2067605" y="1967825"/>
                    <a:pt x="2065309" y="1959987"/>
                  </a:cubicBezTo>
                  <a:cubicBezTo>
                    <a:pt x="2062094" y="1956671"/>
                    <a:pt x="2058879" y="1953657"/>
                    <a:pt x="2055665" y="1950341"/>
                  </a:cubicBezTo>
                  <a:cubicBezTo>
                    <a:pt x="2052450" y="1941900"/>
                    <a:pt x="2049694" y="1933460"/>
                    <a:pt x="2046479" y="1925020"/>
                  </a:cubicBezTo>
                  <a:cubicBezTo>
                    <a:pt x="2044183" y="1915976"/>
                    <a:pt x="2042346" y="1906933"/>
                    <a:pt x="2040050" y="1897890"/>
                  </a:cubicBezTo>
                  <a:cubicBezTo>
                    <a:pt x="2038212" y="1893669"/>
                    <a:pt x="2036835" y="1889449"/>
                    <a:pt x="2034998" y="1885229"/>
                  </a:cubicBezTo>
                  <a:cubicBezTo>
                    <a:pt x="2028568" y="1874076"/>
                    <a:pt x="2022598" y="1862922"/>
                    <a:pt x="2016168" y="1851769"/>
                  </a:cubicBezTo>
                  <a:cubicBezTo>
                    <a:pt x="2012034" y="1837902"/>
                    <a:pt x="2007442" y="1824337"/>
                    <a:pt x="2003308" y="1810471"/>
                  </a:cubicBezTo>
                  <a:cubicBezTo>
                    <a:pt x="2002390" y="1800825"/>
                    <a:pt x="2001012" y="1791480"/>
                    <a:pt x="2000094" y="1781834"/>
                  </a:cubicBezTo>
                  <a:lnTo>
                    <a:pt x="2000094" y="1751689"/>
                  </a:lnTo>
                  <a:cubicBezTo>
                    <a:pt x="1998716" y="1744756"/>
                    <a:pt x="1996879" y="1738125"/>
                    <a:pt x="1995501" y="1731191"/>
                  </a:cubicBezTo>
                  <a:cubicBezTo>
                    <a:pt x="1984938" y="1734809"/>
                    <a:pt x="1974375" y="1738727"/>
                    <a:pt x="1963812" y="1742345"/>
                  </a:cubicBezTo>
                  <a:lnTo>
                    <a:pt x="1946360" y="1742345"/>
                  </a:lnTo>
                  <a:cubicBezTo>
                    <a:pt x="1937174" y="1733301"/>
                    <a:pt x="1928448" y="1724258"/>
                    <a:pt x="1919263" y="1715215"/>
                  </a:cubicBezTo>
                  <a:cubicBezTo>
                    <a:pt x="1922019" y="1712200"/>
                    <a:pt x="1924315" y="1708884"/>
                    <a:pt x="1927071" y="1705870"/>
                  </a:cubicBezTo>
                  <a:cubicBezTo>
                    <a:pt x="1926152" y="1703157"/>
                    <a:pt x="1924774" y="1700444"/>
                    <a:pt x="1923856" y="1697731"/>
                  </a:cubicBezTo>
                  <a:cubicBezTo>
                    <a:pt x="1915130" y="1691401"/>
                    <a:pt x="1905945" y="1685070"/>
                    <a:pt x="1897219" y="1678740"/>
                  </a:cubicBezTo>
                  <a:cubicBezTo>
                    <a:pt x="1892626" y="1675424"/>
                    <a:pt x="1887574" y="1672410"/>
                    <a:pt x="1882981" y="1669094"/>
                  </a:cubicBezTo>
                  <a:cubicBezTo>
                    <a:pt x="1879767" y="1664271"/>
                    <a:pt x="1876552" y="1659749"/>
                    <a:pt x="1873337" y="1654926"/>
                  </a:cubicBezTo>
                  <a:lnTo>
                    <a:pt x="1854048" y="1635935"/>
                  </a:lnTo>
                  <a:cubicBezTo>
                    <a:pt x="1840729" y="1636839"/>
                    <a:pt x="1827870" y="1638045"/>
                    <a:pt x="1814551" y="1638950"/>
                  </a:cubicBezTo>
                  <a:lnTo>
                    <a:pt x="1777810" y="1638950"/>
                  </a:lnTo>
                  <a:cubicBezTo>
                    <a:pt x="1767706" y="1640155"/>
                    <a:pt x="1758062" y="1641060"/>
                    <a:pt x="1747958" y="1642265"/>
                  </a:cubicBezTo>
                  <a:lnTo>
                    <a:pt x="1704787" y="1635935"/>
                  </a:lnTo>
                  <a:cubicBezTo>
                    <a:pt x="1696980" y="1634729"/>
                    <a:pt x="1689172" y="1633825"/>
                    <a:pt x="1681365" y="1632619"/>
                  </a:cubicBezTo>
                  <a:cubicBezTo>
                    <a:pt x="1673557" y="1631715"/>
                    <a:pt x="1665290" y="1630509"/>
                    <a:pt x="1657483" y="1629605"/>
                  </a:cubicBezTo>
                  <a:cubicBezTo>
                    <a:pt x="1654268" y="1619657"/>
                    <a:pt x="1651053" y="1609408"/>
                    <a:pt x="1647838" y="1599460"/>
                  </a:cubicBezTo>
                  <a:lnTo>
                    <a:pt x="1638194" y="1593130"/>
                  </a:lnTo>
                  <a:cubicBezTo>
                    <a:pt x="1632223" y="1595240"/>
                    <a:pt x="1626712" y="1597350"/>
                    <a:pt x="1620742" y="1599460"/>
                  </a:cubicBezTo>
                  <a:lnTo>
                    <a:pt x="1598697" y="1612121"/>
                  </a:lnTo>
                  <a:lnTo>
                    <a:pt x="1571601" y="1602475"/>
                  </a:lnTo>
                  <a:lnTo>
                    <a:pt x="1549556" y="1583484"/>
                  </a:lnTo>
                  <a:cubicBezTo>
                    <a:pt x="1542667" y="1580771"/>
                    <a:pt x="1535778" y="1578359"/>
                    <a:pt x="1528889" y="1575646"/>
                  </a:cubicBezTo>
                  <a:cubicBezTo>
                    <a:pt x="1522919" y="1569316"/>
                    <a:pt x="1517407" y="1562684"/>
                    <a:pt x="1511437" y="1556354"/>
                  </a:cubicBezTo>
                  <a:cubicBezTo>
                    <a:pt x="1505926" y="1545201"/>
                    <a:pt x="1500874" y="1534349"/>
                    <a:pt x="1495363" y="1523195"/>
                  </a:cubicBezTo>
                  <a:cubicBezTo>
                    <a:pt x="1492148" y="1524100"/>
                    <a:pt x="1488933" y="1525305"/>
                    <a:pt x="1485718" y="1526210"/>
                  </a:cubicBezTo>
                  <a:lnTo>
                    <a:pt x="1471481" y="1516865"/>
                  </a:lnTo>
                  <a:cubicBezTo>
                    <a:pt x="1468266" y="1521085"/>
                    <a:pt x="1465511" y="1525305"/>
                    <a:pt x="1462296" y="1529525"/>
                  </a:cubicBezTo>
                  <a:cubicBezTo>
                    <a:pt x="1456785" y="1528320"/>
                    <a:pt x="1451733" y="1527415"/>
                    <a:pt x="1446222" y="1526210"/>
                  </a:cubicBezTo>
                  <a:cubicBezTo>
                    <a:pt x="1448518" y="1529525"/>
                    <a:pt x="1450355" y="1532540"/>
                    <a:pt x="1452651" y="1535856"/>
                  </a:cubicBezTo>
                  <a:cubicBezTo>
                    <a:pt x="1451733" y="1537966"/>
                    <a:pt x="1450355" y="1540076"/>
                    <a:pt x="1449436" y="1542186"/>
                  </a:cubicBezTo>
                  <a:cubicBezTo>
                    <a:pt x="1452651" y="1547914"/>
                    <a:pt x="1455866" y="1553942"/>
                    <a:pt x="1459081" y="1559670"/>
                  </a:cubicBezTo>
                  <a:cubicBezTo>
                    <a:pt x="1462296" y="1567206"/>
                    <a:pt x="1465051" y="1574441"/>
                    <a:pt x="1468266" y="1581977"/>
                  </a:cubicBezTo>
                  <a:lnTo>
                    <a:pt x="1476533" y="1586498"/>
                  </a:lnTo>
                  <a:cubicBezTo>
                    <a:pt x="1478370" y="1588608"/>
                    <a:pt x="1480666" y="1591020"/>
                    <a:pt x="1482503" y="1593130"/>
                  </a:cubicBezTo>
                  <a:cubicBezTo>
                    <a:pt x="1486637" y="1597350"/>
                    <a:pt x="1491229" y="1601571"/>
                    <a:pt x="1495363" y="1605791"/>
                  </a:cubicBezTo>
                  <a:cubicBezTo>
                    <a:pt x="1496281" y="1610011"/>
                    <a:pt x="1497659" y="1614231"/>
                    <a:pt x="1498578" y="1618451"/>
                  </a:cubicBezTo>
                  <a:cubicBezTo>
                    <a:pt x="1497659" y="1619959"/>
                    <a:pt x="1496281" y="1621767"/>
                    <a:pt x="1495363" y="1623274"/>
                  </a:cubicBezTo>
                  <a:cubicBezTo>
                    <a:pt x="1496281" y="1626289"/>
                    <a:pt x="1497659" y="1629605"/>
                    <a:pt x="1498578" y="1632619"/>
                  </a:cubicBezTo>
                  <a:lnTo>
                    <a:pt x="1508222" y="1635935"/>
                  </a:lnTo>
                  <a:lnTo>
                    <a:pt x="1508222" y="1645280"/>
                  </a:lnTo>
                  <a:cubicBezTo>
                    <a:pt x="1509141" y="1647390"/>
                    <a:pt x="1510519" y="1649500"/>
                    <a:pt x="1511437" y="1651610"/>
                  </a:cubicBezTo>
                  <a:cubicBezTo>
                    <a:pt x="1510519" y="1646486"/>
                    <a:pt x="1509141" y="1641060"/>
                    <a:pt x="1508222" y="1635935"/>
                  </a:cubicBezTo>
                  <a:cubicBezTo>
                    <a:pt x="1510978" y="1631112"/>
                    <a:pt x="1513274" y="1626289"/>
                    <a:pt x="1516030" y="1621466"/>
                  </a:cubicBezTo>
                  <a:lnTo>
                    <a:pt x="1522459" y="1621466"/>
                  </a:lnTo>
                  <a:cubicBezTo>
                    <a:pt x="1524756" y="1622973"/>
                    <a:pt x="1526593" y="1624782"/>
                    <a:pt x="1528889" y="1626289"/>
                  </a:cubicBezTo>
                  <a:cubicBezTo>
                    <a:pt x="1529808" y="1630509"/>
                    <a:pt x="1531185" y="1634729"/>
                    <a:pt x="1532104" y="1638950"/>
                  </a:cubicBezTo>
                  <a:lnTo>
                    <a:pt x="1525674" y="1654926"/>
                  </a:lnTo>
                  <a:cubicBezTo>
                    <a:pt x="1526593" y="1657639"/>
                    <a:pt x="1527971" y="1660051"/>
                    <a:pt x="1528889" y="1662764"/>
                  </a:cubicBezTo>
                  <a:cubicBezTo>
                    <a:pt x="1531185" y="1661859"/>
                    <a:pt x="1533022" y="1660654"/>
                    <a:pt x="1535319" y="1659749"/>
                  </a:cubicBezTo>
                  <a:lnTo>
                    <a:pt x="1535319" y="1669094"/>
                  </a:lnTo>
                  <a:cubicBezTo>
                    <a:pt x="1541289" y="1666984"/>
                    <a:pt x="1546800" y="1664874"/>
                    <a:pt x="1552771" y="1662764"/>
                  </a:cubicBezTo>
                  <a:cubicBezTo>
                    <a:pt x="1557823" y="1663969"/>
                    <a:pt x="1563334" y="1664874"/>
                    <a:pt x="1568386" y="1666079"/>
                  </a:cubicBezTo>
                  <a:lnTo>
                    <a:pt x="1584460" y="1666079"/>
                  </a:lnTo>
                  <a:cubicBezTo>
                    <a:pt x="1589053" y="1661256"/>
                    <a:pt x="1594104" y="1656433"/>
                    <a:pt x="1598697" y="1651610"/>
                  </a:cubicBezTo>
                  <a:cubicBezTo>
                    <a:pt x="1603749" y="1646486"/>
                    <a:pt x="1609260" y="1641060"/>
                    <a:pt x="1614312" y="1635935"/>
                  </a:cubicBezTo>
                  <a:cubicBezTo>
                    <a:pt x="1618905" y="1631112"/>
                    <a:pt x="1623957" y="1626289"/>
                    <a:pt x="1628549" y="1621466"/>
                  </a:cubicBezTo>
                  <a:cubicBezTo>
                    <a:pt x="1629468" y="1624179"/>
                    <a:pt x="1630846" y="1626892"/>
                    <a:pt x="1631764" y="1629605"/>
                  </a:cubicBezTo>
                  <a:cubicBezTo>
                    <a:pt x="1632683" y="1635935"/>
                    <a:pt x="1634060" y="1642265"/>
                    <a:pt x="1634979" y="1648596"/>
                  </a:cubicBezTo>
                  <a:cubicBezTo>
                    <a:pt x="1638194" y="1653419"/>
                    <a:pt x="1641409" y="1657941"/>
                    <a:pt x="1644624" y="1662764"/>
                  </a:cubicBezTo>
                  <a:cubicBezTo>
                    <a:pt x="1648757" y="1666079"/>
                    <a:pt x="1653350" y="1669094"/>
                    <a:pt x="1657483" y="1672410"/>
                  </a:cubicBezTo>
                  <a:cubicBezTo>
                    <a:pt x="1662076" y="1673314"/>
                    <a:pt x="1667127" y="1674520"/>
                    <a:pt x="1671720" y="1675424"/>
                  </a:cubicBezTo>
                  <a:cubicBezTo>
                    <a:pt x="1676772" y="1677534"/>
                    <a:pt x="1682283" y="1679946"/>
                    <a:pt x="1687335" y="1682056"/>
                  </a:cubicBezTo>
                  <a:cubicBezTo>
                    <a:pt x="1691468" y="1686276"/>
                    <a:pt x="1696061" y="1690496"/>
                    <a:pt x="1700194" y="1694717"/>
                  </a:cubicBezTo>
                  <a:cubicBezTo>
                    <a:pt x="1700654" y="1696224"/>
                    <a:pt x="1701113" y="1698033"/>
                    <a:pt x="1701572" y="1699540"/>
                  </a:cubicBezTo>
                  <a:cubicBezTo>
                    <a:pt x="1704787" y="1700444"/>
                    <a:pt x="1708002" y="1701650"/>
                    <a:pt x="1711217" y="1702554"/>
                  </a:cubicBezTo>
                  <a:lnTo>
                    <a:pt x="1711217" y="1708884"/>
                  </a:lnTo>
                  <a:lnTo>
                    <a:pt x="1701572" y="1721545"/>
                  </a:lnTo>
                  <a:lnTo>
                    <a:pt x="1700194" y="1727875"/>
                  </a:lnTo>
                  <a:lnTo>
                    <a:pt x="1690550" y="1736014"/>
                  </a:lnTo>
                  <a:cubicBezTo>
                    <a:pt x="1687335" y="1741139"/>
                    <a:pt x="1684579" y="1746565"/>
                    <a:pt x="1681365" y="1751689"/>
                  </a:cubicBezTo>
                  <a:lnTo>
                    <a:pt x="1671720" y="1751689"/>
                  </a:lnTo>
                  <a:cubicBezTo>
                    <a:pt x="1669424" y="1753800"/>
                    <a:pt x="1667587" y="1755910"/>
                    <a:pt x="1665290" y="1758020"/>
                  </a:cubicBezTo>
                  <a:cubicBezTo>
                    <a:pt x="1664372" y="1761336"/>
                    <a:pt x="1662994" y="1764350"/>
                    <a:pt x="1662076" y="1767666"/>
                  </a:cubicBezTo>
                  <a:cubicBezTo>
                    <a:pt x="1662994" y="1773393"/>
                    <a:pt x="1664372" y="1779422"/>
                    <a:pt x="1665290" y="1785150"/>
                  </a:cubicBezTo>
                  <a:lnTo>
                    <a:pt x="1662076" y="1785150"/>
                  </a:lnTo>
                  <a:lnTo>
                    <a:pt x="1654268" y="1785150"/>
                  </a:lnTo>
                  <a:cubicBezTo>
                    <a:pt x="1650135" y="1788466"/>
                    <a:pt x="1645542" y="1791480"/>
                    <a:pt x="1641409" y="1794796"/>
                  </a:cubicBezTo>
                  <a:cubicBezTo>
                    <a:pt x="1640490" y="1797810"/>
                    <a:pt x="1639112" y="1801126"/>
                    <a:pt x="1638194" y="1804141"/>
                  </a:cubicBezTo>
                  <a:cubicBezTo>
                    <a:pt x="1635897" y="1806251"/>
                    <a:pt x="1634060" y="1808361"/>
                    <a:pt x="1631764" y="1810471"/>
                  </a:cubicBezTo>
                  <a:lnTo>
                    <a:pt x="1617527" y="1810471"/>
                  </a:lnTo>
                  <a:cubicBezTo>
                    <a:pt x="1615231" y="1811978"/>
                    <a:pt x="1613394" y="1813787"/>
                    <a:pt x="1611097" y="1815294"/>
                  </a:cubicBezTo>
                  <a:lnTo>
                    <a:pt x="1611097" y="1824940"/>
                  </a:lnTo>
                  <a:lnTo>
                    <a:pt x="1598697" y="1831271"/>
                  </a:lnTo>
                  <a:cubicBezTo>
                    <a:pt x="1595023" y="1830065"/>
                    <a:pt x="1591349" y="1829161"/>
                    <a:pt x="1587675" y="1827955"/>
                  </a:cubicBezTo>
                  <a:cubicBezTo>
                    <a:pt x="1583541" y="1831271"/>
                    <a:pt x="1578949" y="1834285"/>
                    <a:pt x="1574815" y="1837601"/>
                  </a:cubicBezTo>
                  <a:lnTo>
                    <a:pt x="1561956" y="1840615"/>
                  </a:lnTo>
                  <a:lnTo>
                    <a:pt x="1547719" y="1847247"/>
                  </a:lnTo>
                  <a:cubicBezTo>
                    <a:pt x="1545423" y="1849960"/>
                    <a:pt x="1543585" y="1852372"/>
                    <a:pt x="1541289" y="1855085"/>
                  </a:cubicBezTo>
                  <a:lnTo>
                    <a:pt x="1541289" y="1861415"/>
                  </a:lnTo>
                  <a:cubicBezTo>
                    <a:pt x="1533941" y="1864731"/>
                    <a:pt x="1526593" y="1867745"/>
                    <a:pt x="1519245" y="1871061"/>
                  </a:cubicBezTo>
                  <a:lnTo>
                    <a:pt x="1485718" y="1883722"/>
                  </a:lnTo>
                  <a:cubicBezTo>
                    <a:pt x="1478829" y="1888545"/>
                    <a:pt x="1471940" y="1893067"/>
                    <a:pt x="1465051" y="1897890"/>
                  </a:cubicBezTo>
                  <a:cubicBezTo>
                    <a:pt x="1460918" y="1899095"/>
                    <a:pt x="1456785" y="1900000"/>
                    <a:pt x="1452651" y="1901206"/>
                  </a:cubicBezTo>
                  <a:cubicBezTo>
                    <a:pt x="1450355" y="1900000"/>
                    <a:pt x="1448518" y="1899095"/>
                    <a:pt x="1446222" y="1897890"/>
                  </a:cubicBezTo>
                  <a:cubicBezTo>
                    <a:pt x="1442547" y="1901206"/>
                    <a:pt x="1438873" y="1904220"/>
                    <a:pt x="1435199" y="1907536"/>
                  </a:cubicBezTo>
                  <a:cubicBezTo>
                    <a:pt x="1431066" y="1908440"/>
                    <a:pt x="1426473" y="1909646"/>
                    <a:pt x="1422340" y="1910550"/>
                  </a:cubicBezTo>
                  <a:cubicBezTo>
                    <a:pt x="1415910" y="1911756"/>
                    <a:pt x="1409940" y="1912660"/>
                    <a:pt x="1403510" y="1913866"/>
                  </a:cubicBezTo>
                  <a:lnTo>
                    <a:pt x="1398458" y="1913866"/>
                  </a:lnTo>
                  <a:cubicBezTo>
                    <a:pt x="1396162" y="1915976"/>
                    <a:pt x="1394325" y="1918086"/>
                    <a:pt x="1392028" y="1920197"/>
                  </a:cubicBezTo>
                  <a:cubicBezTo>
                    <a:pt x="1390191" y="1921101"/>
                    <a:pt x="1387895" y="1922307"/>
                    <a:pt x="1386058" y="1923211"/>
                  </a:cubicBezTo>
                  <a:cubicBezTo>
                    <a:pt x="1385140" y="1923814"/>
                    <a:pt x="1383762" y="1924417"/>
                    <a:pt x="1382843" y="1925020"/>
                  </a:cubicBezTo>
                  <a:lnTo>
                    <a:pt x="1369984" y="1925020"/>
                  </a:lnTo>
                  <a:cubicBezTo>
                    <a:pt x="1369065" y="1925924"/>
                    <a:pt x="1367687" y="1927130"/>
                    <a:pt x="1366769" y="1928034"/>
                  </a:cubicBezTo>
                  <a:lnTo>
                    <a:pt x="1349317" y="1928034"/>
                  </a:lnTo>
                  <a:cubicBezTo>
                    <a:pt x="1348398" y="1924417"/>
                    <a:pt x="1347021" y="1920498"/>
                    <a:pt x="1346102" y="1916881"/>
                  </a:cubicBezTo>
                  <a:lnTo>
                    <a:pt x="1346102" y="1904220"/>
                  </a:lnTo>
                  <a:cubicBezTo>
                    <a:pt x="1345184" y="1902110"/>
                    <a:pt x="1343806" y="1900000"/>
                    <a:pt x="1342887" y="1897890"/>
                  </a:cubicBezTo>
                  <a:cubicBezTo>
                    <a:pt x="1340591" y="1892162"/>
                    <a:pt x="1338754" y="1886133"/>
                    <a:pt x="1336458" y="1880406"/>
                  </a:cubicBezTo>
                  <a:cubicBezTo>
                    <a:pt x="1334621" y="1877392"/>
                    <a:pt x="1332324" y="1874076"/>
                    <a:pt x="1330487" y="1871061"/>
                  </a:cubicBezTo>
                  <a:lnTo>
                    <a:pt x="1333702" y="1871061"/>
                  </a:lnTo>
                  <a:cubicBezTo>
                    <a:pt x="1332783" y="1867745"/>
                    <a:pt x="1331406" y="1864731"/>
                    <a:pt x="1330487" y="1861415"/>
                  </a:cubicBezTo>
                  <a:cubicBezTo>
                    <a:pt x="1331406" y="1859305"/>
                    <a:pt x="1332783" y="1857195"/>
                    <a:pt x="1333702" y="1855085"/>
                  </a:cubicBezTo>
                  <a:lnTo>
                    <a:pt x="1333702" y="1847247"/>
                  </a:lnTo>
                  <a:cubicBezTo>
                    <a:pt x="1332783" y="1843931"/>
                    <a:pt x="1331406" y="1840917"/>
                    <a:pt x="1330487" y="1837601"/>
                  </a:cubicBezTo>
                  <a:cubicBezTo>
                    <a:pt x="1328191" y="1834285"/>
                    <a:pt x="1326354" y="1831271"/>
                    <a:pt x="1324057" y="1827955"/>
                  </a:cubicBezTo>
                  <a:lnTo>
                    <a:pt x="1324057" y="1818610"/>
                  </a:lnTo>
                  <a:lnTo>
                    <a:pt x="1313035" y="1812280"/>
                  </a:lnTo>
                  <a:cubicBezTo>
                    <a:pt x="1308902" y="1805346"/>
                    <a:pt x="1304309" y="1798413"/>
                    <a:pt x="1300176" y="1791480"/>
                  </a:cubicBezTo>
                  <a:cubicBezTo>
                    <a:pt x="1297879" y="1785150"/>
                    <a:pt x="1296042" y="1778819"/>
                    <a:pt x="1293746" y="1772489"/>
                  </a:cubicBezTo>
                  <a:cubicBezTo>
                    <a:pt x="1289153" y="1767666"/>
                    <a:pt x="1284101" y="1762843"/>
                    <a:pt x="1279509" y="1758020"/>
                  </a:cubicBezTo>
                  <a:cubicBezTo>
                    <a:pt x="1275375" y="1757115"/>
                    <a:pt x="1270783" y="1755910"/>
                    <a:pt x="1266649" y="1755005"/>
                  </a:cubicBezTo>
                  <a:cubicBezTo>
                    <a:pt x="1261598" y="1748072"/>
                    <a:pt x="1256086" y="1741139"/>
                    <a:pt x="1251035" y="1734206"/>
                  </a:cubicBezTo>
                  <a:cubicBezTo>
                    <a:pt x="1250575" y="1729081"/>
                    <a:pt x="1249657" y="1723655"/>
                    <a:pt x="1249197" y="1718531"/>
                  </a:cubicBezTo>
                  <a:lnTo>
                    <a:pt x="1249197" y="1699540"/>
                  </a:lnTo>
                  <a:lnTo>
                    <a:pt x="1236797" y="1678740"/>
                  </a:lnTo>
                  <a:lnTo>
                    <a:pt x="1227153" y="1666079"/>
                  </a:lnTo>
                  <a:cubicBezTo>
                    <a:pt x="1223019" y="1663969"/>
                    <a:pt x="1218427" y="1661859"/>
                    <a:pt x="1214293" y="1659749"/>
                  </a:cubicBezTo>
                  <a:cubicBezTo>
                    <a:pt x="1212916" y="1656132"/>
                    <a:pt x="1211079" y="1652213"/>
                    <a:pt x="1209701" y="1648596"/>
                  </a:cubicBezTo>
                  <a:lnTo>
                    <a:pt x="1211079" y="1642265"/>
                  </a:lnTo>
                  <a:cubicBezTo>
                    <a:pt x="1208323" y="1638950"/>
                    <a:pt x="1206027" y="1635935"/>
                    <a:pt x="1203271" y="1632619"/>
                  </a:cubicBezTo>
                  <a:cubicBezTo>
                    <a:pt x="1200975" y="1630509"/>
                    <a:pt x="1199138" y="1628399"/>
                    <a:pt x="1196841" y="1626289"/>
                  </a:cubicBezTo>
                  <a:cubicBezTo>
                    <a:pt x="1194545" y="1620561"/>
                    <a:pt x="1192708" y="1614533"/>
                    <a:pt x="1190412" y="1608805"/>
                  </a:cubicBezTo>
                  <a:cubicBezTo>
                    <a:pt x="1185360" y="1602475"/>
                    <a:pt x="1179849" y="1596145"/>
                    <a:pt x="1174797" y="1589814"/>
                  </a:cubicBezTo>
                  <a:cubicBezTo>
                    <a:pt x="1171123" y="1584991"/>
                    <a:pt x="1167449" y="1580469"/>
                    <a:pt x="1163774" y="1575646"/>
                  </a:cubicBezTo>
                  <a:lnTo>
                    <a:pt x="1150915" y="1575646"/>
                  </a:lnTo>
                  <a:cubicBezTo>
                    <a:pt x="1153211" y="1570220"/>
                    <a:pt x="1155048" y="1565096"/>
                    <a:pt x="1157345" y="1559670"/>
                  </a:cubicBezTo>
                  <a:lnTo>
                    <a:pt x="1157345" y="1553340"/>
                  </a:lnTo>
                  <a:cubicBezTo>
                    <a:pt x="1158263" y="1549722"/>
                    <a:pt x="1159641" y="1545803"/>
                    <a:pt x="1160560" y="1542186"/>
                  </a:cubicBezTo>
                  <a:lnTo>
                    <a:pt x="1160560" y="1538870"/>
                  </a:lnTo>
                  <a:lnTo>
                    <a:pt x="1150915" y="1547009"/>
                  </a:lnTo>
                  <a:cubicBezTo>
                    <a:pt x="1149996" y="1553340"/>
                    <a:pt x="1148619" y="1559670"/>
                    <a:pt x="1147700" y="1566000"/>
                  </a:cubicBezTo>
                  <a:cubicBezTo>
                    <a:pt x="1145404" y="1570220"/>
                    <a:pt x="1143567" y="1574441"/>
                    <a:pt x="1141270" y="1578661"/>
                  </a:cubicBezTo>
                  <a:cubicBezTo>
                    <a:pt x="1139893" y="1579867"/>
                    <a:pt x="1138056" y="1580771"/>
                    <a:pt x="1136678" y="1581977"/>
                  </a:cubicBezTo>
                  <a:cubicBezTo>
                    <a:pt x="1134382" y="1579867"/>
                    <a:pt x="1132544" y="1577756"/>
                    <a:pt x="1130248" y="1575646"/>
                  </a:cubicBezTo>
                  <a:cubicBezTo>
                    <a:pt x="1127033" y="1572331"/>
                    <a:pt x="1123818" y="1569316"/>
                    <a:pt x="1120604" y="1566000"/>
                  </a:cubicBezTo>
                  <a:cubicBezTo>
                    <a:pt x="1115552" y="1554847"/>
                    <a:pt x="1110041" y="1543693"/>
                    <a:pt x="1104989" y="1532540"/>
                  </a:cubicBezTo>
                  <a:lnTo>
                    <a:pt x="1101774" y="1532540"/>
                  </a:lnTo>
                  <a:lnTo>
                    <a:pt x="1111418" y="1559670"/>
                  </a:lnTo>
                  <a:cubicBezTo>
                    <a:pt x="1116470" y="1567206"/>
                    <a:pt x="1121981" y="1574441"/>
                    <a:pt x="1127033" y="1581977"/>
                  </a:cubicBezTo>
                  <a:cubicBezTo>
                    <a:pt x="1131626" y="1595240"/>
                    <a:pt x="1136678" y="1608202"/>
                    <a:pt x="1141270" y="1621466"/>
                  </a:cubicBezTo>
                  <a:cubicBezTo>
                    <a:pt x="1143567" y="1625083"/>
                    <a:pt x="1145404" y="1629002"/>
                    <a:pt x="1147700" y="1632619"/>
                  </a:cubicBezTo>
                  <a:lnTo>
                    <a:pt x="1157345" y="1645280"/>
                  </a:lnTo>
                  <a:cubicBezTo>
                    <a:pt x="1163315" y="1654323"/>
                    <a:pt x="1168826" y="1663366"/>
                    <a:pt x="1174797" y="1672410"/>
                  </a:cubicBezTo>
                  <a:cubicBezTo>
                    <a:pt x="1174337" y="1673314"/>
                    <a:pt x="1173419" y="1674520"/>
                    <a:pt x="1172960" y="1675424"/>
                  </a:cubicBezTo>
                  <a:cubicBezTo>
                    <a:pt x="1173419" y="1680850"/>
                    <a:pt x="1174337" y="1685975"/>
                    <a:pt x="1174797" y="1691401"/>
                  </a:cubicBezTo>
                  <a:lnTo>
                    <a:pt x="1196841" y="1712200"/>
                  </a:lnTo>
                  <a:cubicBezTo>
                    <a:pt x="1199138" y="1713105"/>
                    <a:pt x="1200975" y="1714310"/>
                    <a:pt x="1203271" y="1715215"/>
                  </a:cubicBezTo>
                  <a:cubicBezTo>
                    <a:pt x="1205567" y="1723052"/>
                    <a:pt x="1207404" y="1731191"/>
                    <a:pt x="1209701" y="1739029"/>
                  </a:cubicBezTo>
                  <a:cubicBezTo>
                    <a:pt x="1208782" y="1740235"/>
                    <a:pt x="1207404" y="1741139"/>
                    <a:pt x="1206486" y="1742345"/>
                  </a:cubicBezTo>
                  <a:cubicBezTo>
                    <a:pt x="1207404" y="1750785"/>
                    <a:pt x="1208782" y="1759226"/>
                    <a:pt x="1209701" y="1767666"/>
                  </a:cubicBezTo>
                  <a:cubicBezTo>
                    <a:pt x="1211079" y="1776709"/>
                    <a:pt x="1212916" y="1785753"/>
                    <a:pt x="1214293" y="1794796"/>
                  </a:cubicBezTo>
                  <a:lnTo>
                    <a:pt x="1223938" y="1801126"/>
                  </a:lnTo>
                  <a:cubicBezTo>
                    <a:pt x="1228071" y="1803236"/>
                    <a:pt x="1232664" y="1805346"/>
                    <a:pt x="1236797" y="1807457"/>
                  </a:cubicBezTo>
                  <a:cubicBezTo>
                    <a:pt x="1240931" y="1816500"/>
                    <a:pt x="1245064" y="1825242"/>
                    <a:pt x="1249197" y="1834285"/>
                  </a:cubicBezTo>
                  <a:cubicBezTo>
                    <a:pt x="1251035" y="1841218"/>
                    <a:pt x="1252412" y="1848151"/>
                    <a:pt x="1254249" y="1855085"/>
                  </a:cubicBezTo>
                  <a:cubicBezTo>
                    <a:pt x="1258383" y="1858099"/>
                    <a:pt x="1262516" y="1861415"/>
                    <a:pt x="1266649" y="1864429"/>
                  </a:cubicBezTo>
                  <a:cubicBezTo>
                    <a:pt x="1277672" y="1871363"/>
                    <a:pt x="1289153" y="1878296"/>
                    <a:pt x="1300176" y="1885229"/>
                  </a:cubicBezTo>
                  <a:cubicBezTo>
                    <a:pt x="1304309" y="1890655"/>
                    <a:pt x="1308902" y="1895780"/>
                    <a:pt x="1313035" y="1901206"/>
                  </a:cubicBezTo>
                  <a:lnTo>
                    <a:pt x="1324057" y="1913866"/>
                  </a:lnTo>
                  <a:cubicBezTo>
                    <a:pt x="1324976" y="1916881"/>
                    <a:pt x="1326354" y="1920197"/>
                    <a:pt x="1327272" y="1923211"/>
                  </a:cubicBezTo>
                  <a:lnTo>
                    <a:pt x="1342887" y="1925020"/>
                  </a:lnTo>
                  <a:cubicBezTo>
                    <a:pt x="1343806" y="1928034"/>
                    <a:pt x="1345184" y="1931350"/>
                    <a:pt x="1346102" y="1934364"/>
                  </a:cubicBezTo>
                  <a:lnTo>
                    <a:pt x="1346102" y="1944011"/>
                  </a:lnTo>
                  <a:lnTo>
                    <a:pt x="1333702" y="1950341"/>
                  </a:lnTo>
                  <a:cubicBezTo>
                    <a:pt x="1336917" y="1952451"/>
                    <a:pt x="1339672" y="1954561"/>
                    <a:pt x="1342887" y="1956671"/>
                  </a:cubicBezTo>
                  <a:cubicBezTo>
                    <a:pt x="1345184" y="1957877"/>
                    <a:pt x="1347021" y="1958781"/>
                    <a:pt x="1349317" y="1959987"/>
                  </a:cubicBezTo>
                  <a:cubicBezTo>
                    <a:pt x="1350235" y="1962700"/>
                    <a:pt x="1351613" y="1965112"/>
                    <a:pt x="1352532" y="1967825"/>
                  </a:cubicBezTo>
                  <a:cubicBezTo>
                    <a:pt x="1356206" y="1971141"/>
                    <a:pt x="1359880" y="1974155"/>
                    <a:pt x="1363554" y="1977471"/>
                  </a:cubicBezTo>
                  <a:lnTo>
                    <a:pt x="1373199" y="1977471"/>
                  </a:lnTo>
                  <a:cubicBezTo>
                    <a:pt x="1380547" y="1975361"/>
                    <a:pt x="1387895" y="1972949"/>
                    <a:pt x="1395243" y="1970839"/>
                  </a:cubicBezTo>
                  <a:cubicBezTo>
                    <a:pt x="1403051" y="1969935"/>
                    <a:pt x="1411318" y="1968729"/>
                    <a:pt x="1419125" y="1967825"/>
                  </a:cubicBezTo>
                  <a:cubicBezTo>
                    <a:pt x="1426014" y="1966619"/>
                    <a:pt x="1432903" y="1965715"/>
                    <a:pt x="1439792" y="1964509"/>
                  </a:cubicBezTo>
                  <a:cubicBezTo>
                    <a:pt x="1443007" y="1963604"/>
                    <a:pt x="1446222" y="1962399"/>
                    <a:pt x="1449436" y="1961494"/>
                  </a:cubicBezTo>
                  <a:cubicBezTo>
                    <a:pt x="1452651" y="1959987"/>
                    <a:pt x="1455866" y="1958178"/>
                    <a:pt x="1459081" y="1956671"/>
                  </a:cubicBezTo>
                  <a:lnTo>
                    <a:pt x="1471481" y="1956671"/>
                  </a:lnTo>
                  <a:lnTo>
                    <a:pt x="1476533" y="1956671"/>
                  </a:lnTo>
                  <a:cubicBezTo>
                    <a:pt x="1480666" y="1955767"/>
                    <a:pt x="1484800" y="1954561"/>
                    <a:pt x="1488933" y="1953657"/>
                  </a:cubicBezTo>
                  <a:cubicBezTo>
                    <a:pt x="1492148" y="1952451"/>
                    <a:pt x="1495363" y="1951547"/>
                    <a:pt x="1498578" y="1950341"/>
                  </a:cubicBezTo>
                  <a:lnTo>
                    <a:pt x="1508222" y="1944011"/>
                  </a:lnTo>
                  <a:lnTo>
                    <a:pt x="1516030" y="1944011"/>
                  </a:lnTo>
                  <a:cubicBezTo>
                    <a:pt x="1516948" y="1946121"/>
                    <a:pt x="1518326" y="1948231"/>
                    <a:pt x="1519245" y="1950341"/>
                  </a:cubicBezTo>
                  <a:cubicBezTo>
                    <a:pt x="1518326" y="1953958"/>
                    <a:pt x="1516948" y="1957877"/>
                    <a:pt x="1516030" y="1961494"/>
                  </a:cubicBezTo>
                  <a:lnTo>
                    <a:pt x="1516030" y="1974155"/>
                  </a:lnTo>
                  <a:cubicBezTo>
                    <a:pt x="1514652" y="1977471"/>
                    <a:pt x="1512815" y="1980485"/>
                    <a:pt x="1511437" y="1983801"/>
                  </a:cubicBezTo>
                  <a:cubicBezTo>
                    <a:pt x="1510519" y="1991639"/>
                    <a:pt x="1509141" y="1999778"/>
                    <a:pt x="1508222" y="2007615"/>
                  </a:cubicBezTo>
                  <a:cubicBezTo>
                    <a:pt x="1504089" y="2014850"/>
                    <a:pt x="1499496" y="2022386"/>
                    <a:pt x="1495363" y="2029621"/>
                  </a:cubicBezTo>
                  <a:cubicBezTo>
                    <a:pt x="1491229" y="2039870"/>
                    <a:pt x="1486637" y="2049817"/>
                    <a:pt x="1482503" y="2060066"/>
                  </a:cubicBezTo>
                  <a:cubicBezTo>
                    <a:pt x="1475614" y="2070014"/>
                    <a:pt x="1469185" y="2080263"/>
                    <a:pt x="1462296" y="2090211"/>
                  </a:cubicBezTo>
                  <a:cubicBezTo>
                    <a:pt x="1455866" y="2098048"/>
                    <a:pt x="1449436" y="2106187"/>
                    <a:pt x="1443007" y="2114025"/>
                  </a:cubicBezTo>
                  <a:cubicBezTo>
                    <a:pt x="1435199" y="2125781"/>
                    <a:pt x="1426933" y="2137236"/>
                    <a:pt x="1419125" y="2148992"/>
                  </a:cubicBezTo>
                  <a:lnTo>
                    <a:pt x="1395243" y="2166476"/>
                  </a:lnTo>
                  <a:cubicBezTo>
                    <a:pt x="1384680" y="2173409"/>
                    <a:pt x="1374117" y="2180041"/>
                    <a:pt x="1363554" y="2186974"/>
                  </a:cubicBezTo>
                  <a:cubicBezTo>
                    <a:pt x="1356665" y="2192400"/>
                    <a:pt x="1349776" y="2197525"/>
                    <a:pt x="1342887" y="2202951"/>
                  </a:cubicBezTo>
                  <a:cubicBezTo>
                    <a:pt x="1335080" y="2211994"/>
                    <a:pt x="1326813" y="2220736"/>
                    <a:pt x="1319006" y="2229779"/>
                  </a:cubicBezTo>
                  <a:cubicBezTo>
                    <a:pt x="1317168" y="2233999"/>
                    <a:pt x="1314872" y="2238220"/>
                    <a:pt x="1313035" y="2242440"/>
                  </a:cubicBezTo>
                  <a:cubicBezTo>
                    <a:pt x="1312117" y="2244550"/>
                    <a:pt x="1310739" y="2246660"/>
                    <a:pt x="1309820" y="2248770"/>
                  </a:cubicBezTo>
                  <a:cubicBezTo>
                    <a:pt x="1303391" y="2250880"/>
                    <a:pt x="1296961" y="2253292"/>
                    <a:pt x="1290531" y="2255402"/>
                  </a:cubicBezTo>
                  <a:cubicBezTo>
                    <a:pt x="1289153" y="2258115"/>
                    <a:pt x="1287316" y="2260526"/>
                    <a:pt x="1285939" y="2263239"/>
                  </a:cubicBezTo>
                  <a:cubicBezTo>
                    <a:pt x="1283642" y="2264144"/>
                    <a:pt x="1281805" y="2265349"/>
                    <a:pt x="1279509" y="2266254"/>
                  </a:cubicBezTo>
                  <a:cubicBezTo>
                    <a:pt x="1278590" y="2271680"/>
                    <a:pt x="1277213" y="2276804"/>
                    <a:pt x="1276294" y="2282230"/>
                  </a:cubicBezTo>
                  <a:cubicBezTo>
                    <a:pt x="1273079" y="2285546"/>
                    <a:pt x="1269864" y="2288561"/>
                    <a:pt x="1266649" y="2291877"/>
                  </a:cubicBezTo>
                  <a:cubicBezTo>
                    <a:pt x="1265731" y="2296700"/>
                    <a:pt x="1264353" y="2301221"/>
                    <a:pt x="1263435" y="2306044"/>
                  </a:cubicBezTo>
                  <a:lnTo>
                    <a:pt x="1251035" y="2312375"/>
                  </a:lnTo>
                  <a:cubicBezTo>
                    <a:pt x="1248279" y="2322322"/>
                    <a:pt x="1245983" y="2332571"/>
                    <a:pt x="1243227" y="2342519"/>
                  </a:cubicBezTo>
                  <a:lnTo>
                    <a:pt x="1245983" y="2355180"/>
                  </a:lnTo>
                  <a:lnTo>
                    <a:pt x="1257464" y="2361811"/>
                  </a:lnTo>
                  <a:lnTo>
                    <a:pt x="1257464" y="2368142"/>
                  </a:lnTo>
                  <a:cubicBezTo>
                    <a:pt x="1255168" y="2371759"/>
                    <a:pt x="1253331" y="2375678"/>
                    <a:pt x="1251035" y="2379295"/>
                  </a:cubicBezTo>
                  <a:cubicBezTo>
                    <a:pt x="1251953" y="2381405"/>
                    <a:pt x="1253331" y="2383515"/>
                    <a:pt x="1254249" y="2385626"/>
                  </a:cubicBezTo>
                  <a:cubicBezTo>
                    <a:pt x="1253331" y="2389846"/>
                    <a:pt x="1251953" y="2394066"/>
                    <a:pt x="1251035" y="2398286"/>
                  </a:cubicBezTo>
                  <a:cubicBezTo>
                    <a:pt x="1254249" y="2403411"/>
                    <a:pt x="1257464" y="2408837"/>
                    <a:pt x="1260679" y="2413961"/>
                  </a:cubicBezTo>
                  <a:cubicBezTo>
                    <a:pt x="1263894" y="2420894"/>
                    <a:pt x="1266649" y="2427828"/>
                    <a:pt x="1269864" y="2434761"/>
                  </a:cubicBezTo>
                  <a:lnTo>
                    <a:pt x="1279509" y="2441091"/>
                  </a:lnTo>
                  <a:cubicBezTo>
                    <a:pt x="1280427" y="2444407"/>
                    <a:pt x="1281805" y="2447421"/>
                    <a:pt x="1282724" y="2450737"/>
                  </a:cubicBezTo>
                  <a:lnTo>
                    <a:pt x="1282724" y="2471236"/>
                  </a:lnTo>
                  <a:cubicBezTo>
                    <a:pt x="1283642" y="2476963"/>
                    <a:pt x="1285020" y="2482992"/>
                    <a:pt x="1285939" y="2488719"/>
                  </a:cubicBezTo>
                  <a:lnTo>
                    <a:pt x="1285939" y="2527003"/>
                  </a:lnTo>
                  <a:lnTo>
                    <a:pt x="1287316" y="2537855"/>
                  </a:lnTo>
                  <a:cubicBezTo>
                    <a:pt x="1285939" y="2543281"/>
                    <a:pt x="1284101" y="2548405"/>
                    <a:pt x="1282724" y="2553831"/>
                  </a:cubicBezTo>
                  <a:cubicBezTo>
                    <a:pt x="1280427" y="2558654"/>
                    <a:pt x="1278590" y="2563176"/>
                    <a:pt x="1276294" y="2567999"/>
                  </a:cubicBezTo>
                  <a:lnTo>
                    <a:pt x="1257464" y="2583975"/>
                  </a:lnTo>
                  <a:cubicBezTo>
                    <a:pt x="1251494" y="2586086"/>
                    <a:pt x="1245983" y="2588196"/>
                    <a:pt x="1240012" y="2590306"/>
                  </a:cubicBezTo>
                  <a:lnTo>
                    <a:pt x="1211079" y="2602966"/>
                  </a:lnTo>
                  <a:cubicBezTo>
                    <a:pt x="1204190" y="2610804"/>
                    <a:pt x="1197301" y="2618943"/>
                    <a:pt x="1190412" y="2626780"/>
                  </a:cubicBezTo>
                  <a:cubicBezTo>
                    <a:pt x="1187197" y="2627986"/>
                    <a:pt x="1184441" y="2628891"/>
                    <a:pt x="1181226" y="2630096"/>
                  </a:cubicBezTo>
                  <a:cubicBezTo>
                    <a:pt x="1176634" y="2634919"/>
                    <a:pt x="1171582" y="2639441"/>
                    <a:pt x="1166989" y="2644264"/>
                  </a:cubicBezTo>
                  <a:cubicBezTo>
                    <a:pt x="1162856" y="2646374"/>
                    <a:pt x="1158263" y="2648484"/>
                    <a:pt x="1154130" y="2650595"/>
                  </a:cubicBezTo>
                  <a:lnTo>
                    <a:pt x="1154130" y="2669887"/>
                  </a:lnTo>
                  <a:cubicBezTo>
                    <a:pt x="1158263" y="2675614"/>
                    <a:pt x="1162856" y="2681643"/>
                    <a:pt x="1166989" y="2687371"/>
                  </a:cubicBezTo>
                  <a:cubicBezTo>
                    <a:pt x="1167908" y="2691591"/>
                    <a:pt x="1169286" y="2695811"/>
                    <a:pt x="1170204" y="2700031"/>
                  </a:cubicBezTo>
                  <a:lnTo>
                    <a:pt x="1170204" y="2706362"/>
                  </a:lnTo>
                  <a:cubicBezTo>
                    <a:pt x="1171582" y="2705156"/>
                    <a:pt x="1173419" y="2704252"/>
                    <a:pt x="1174797" y="2703046"/>
                  </a:cubicBezTo>
                  <a:lnTo>
                    <a:pt x="1174797" y="2730176"/>
                  </a:lnTo>
                  <a:cubicBezTo>
                    <a:pt x="1173419" y="2733492"/>
                    <a:pt x="1171582" y="2736506"/>
                    <a:pt x="1170204" y="2739822"/>
                  </a:cubicBezTo>
                  <a:cubicBezTo>
                    <a:pt x="1171582" y="2741932"/>
                    <a:pt x="1173419" y="2744042"/>
                    <a:pt x="1174797" y="2746152"/>
                  </a:cubicBezTo>
                  <a:cubicBezTo>
                    <a:pt x="1174337" y="2748262"/>
                    <a:pt x="1173419" y="2750372"/>
                    <a:pt x="1172960" y="2752483"/>
                  </a:cubicBezTo>
                  <a:cubicBezTo>
                    <a:pt x="1169745" y="2755195"/>
                    <a:pt x="1166989" y="2757607"/>
                    <a:pt x="1163774" y="2760320"/>
                  </a:cubicBezTo>
                  <a:lnTo>
                    <a:pt x="1144485" y="2766650"/>
                  </a:lnTo>
                  <a:lnTo>
                    <a:pt x="1117389" y="2782627"/>
                  </a:lnTo>
                  <a:cubicBezTo>
                    <a:pt x="1114174" y="2785340"/>
                    <a:pt x="1111418" y="2787751"/>
                    <a:pt x="1108204" y="2790464"/>
                  </a:cubicBezTo>
                  <a:cubicBezTo>
                    <a:pt x="1109122" y="2793780"/>
                    <a:pt x="1110500" y="2796795"/>
                    <a:pt x="1111418" y="2800111"/>
                  </a:cubicBezTo>
                  <a:cubicBezTo>
                    <a:pt x="1112337" y="2801015"/>
                    <a:pt x="1113715" y="2802221"/>
                    <a:pt x="1114633" y="2803125"/>
                  </a:cubicBezTo>
                  <a:lnTo>
                    <a:pt x="1114633" y="2815786"/>
                  </a:lnTo>
                  <a:cubicBezTo>
                    <a:pt x="1112337" y="2820609"/>
                    <a:pt x="1110500" y="2825432"/>
                    <a:pt x="1108204" y="2830255"/>
                  </a:cubicBezTo>
                  <a:cubicBezTo>
                    <a:pt x="1107285" y="2837791"/>
                    <a:pt x="1105907" y="2845026"/>
                    <a:pt x="1104989" y="2852562"/>
                  </a:cubicBezTo>
                  <a:cubicBezTo>
                    <a:pt x="1102692" y="2856782"/>
                    <a:pt x="1100855" y="2861002"/>
                    <a:pt x="1098559" y="2865222"/>
                  </a:cubicBezTo>
                  <a:cubicBezTo>
                    <a:pt x="1093966" y="2867935"/>
                    <a:pt x="1088914" y="2870347"/>
                    <a:pt x="1084322" y="2873060"/>
                  </a:cubicBezTo>
                  <a:cubicBezTo>
                    <a:pt x="1083403" y="2874266"/>
                    <a:pt x="1082025" y="2875170"/>
                    <a:pt x="1081107" y="2876376"/>
                  </a:cubicBezTo>
                  <a:cubicBezTo>
                    <a:pt x="1076974" y="2881500"/>
                    <a:pt x="1072381" y="2886926"/>
                    <a:pt x="1068248" y="2892051"/>
                  </a:cubicBezTo>
                  <a:cubicBezTo>
                    <a:pt x="1067329" y="2896271"/>
                    <a:pt x="1065951" y="2900491"/>
                    <a:pt x="1065033" y="2904712"/>
                  </a:cubicBezTo>
                  <a:cubicBezTo>
                    <a:pt x="1060440" y="2909535"/>
                    <a:pt x="1055388" y="2914358"/>
                    <a:pt x="1050796" y="2919181"/>
                  </a:cubicBezTo>
                  <a:cubicBezTo>
                    <a:pt x="1042529" y="2928224"/>
                    <a:pt x="1033803" y="2936966"/>
                    <a:pt x="1025536" y="2946009"/>
                  </a:cubicBezTo>
                  <a:cubicBezTo>
                    <a:pt x="1020943" y="2950230"/>
                    <a:pt x="1015892" y="2954751"/>
                    <a:pt x="1011299" y="2958971"/>
                  </a:cubicBezTo>
                  <a:cubicBezTo>
                    <a:pt x="1005788" y="2964096"/>
                    <a:pt x="1000736" y="2969522"/>
                    <a:pt x="995225" y="2974647"/>
                  </a:cubicBezTo>
                  <a:cubicBezTo>
                    <a:pt x="987417" y="2976154"/>
                    <a:pt x="979150" y="2977962"/>
                    <a:pt x="971343" y="2979470"/>
                  </a:cubicBezTo>
                  <a:cubicBezTo>
                    <a:pt x="968128" y="2980675"/>
                    <a:pt x="965373" y="2981580"/>
                    <a:pt x="962158" y="2982785"/>
                  </a:cubicBezTo>
                  <a:cubicBezTo>
                    <a:pt x="961239" y="2984896"/>
                    <a:pt x="959861" y="2987006"/>
                    <a:pt x="958943" y="2989116"/>
                  </a:cubicBezTo>
                  <a:cubicBezTo>
                    <a:pt x="954350" y="2987910"/>
                    <a:pt x="949298" y="2987006"/>
                    <a:pt x="944706" y="2985800"/>
                  </a:cubicBezTo>
                  <a:cubicBezTo>
                    <a:pt x="940572" y="2987910"/>
                    <a:pt x="935980" y="2990020"/>
                    <a:pt x="931846" y="2992130"/>
                  </a:cubicBezTo>
                  <a:lnTo>
                    <a:pt x="907965" y="2985800"/>
                  </a:lnTo>
                  <a:cubicBezTo>
                    <a:pt x="903831" y="2987006"/>
                    <a:pt x="899698" y="2987910"/>
                    <a:pt x="895564" y="2989116"/>
                  </a:cubicBezTo>
                  <a:lnTo>
                    <a:pt x="885920" y="2989116"/>
                  </a:lnTo>
                  <a:lnTo>
                    <a:pt x="862038" y="2995446"/>
                  </a:lnTo>
                  <a:lnTo>
                    <a:pt x="842749" y="3001776"/>
                  </a:lnTo>
                  <a:cubicBezTo>
                    <a:pt x="839075" y="3004791"/>
                    <a:pt x="835401" y="3008107"/>
                    <a:pt x="831727" y="3011121"/>
                  </a:cubicBezTo>
                  <a:cubicBezTo>
                    <a:pt x="827593" y="3012327"/>
                    <a:pt x="823460" y="3013231"/>
                    <a:pt x="819327" y="3014437"/>
                  </a:cubicBezTo>
                  <a:cubicBezTo>
                    <a:pt x="817030" y="3010217"/>
                    <a:pt x="815193" y="3005997"/>
                    <a:pt x="812897" y="3001776"/>
                  </a:cubicBezTo>
                  <a:lnTo>
                    <a:pt x="803252" y="3001776"/>
                  </a:lnTo>
                  <a:cubicBezTo>
                    <a:pt x="800497" y="2998461"/>
                    <a:pt x="798201" y="2995446"/>
                    <a:pt x="795445" y="2992130"/>
                  </a:cubicBezTo>
                  <a:lnTo>
                    <a:pt x="795445" y="2995446"/>
                  </a:lnTo>
                  <a:cubicBezTo>
                    <a:pt x="794526" y="2993336"/>
                    <a:pt x="793149" y="2991226"/>
                    <a:pt x="792230" y="2989116"/>
                  </a:cubicBezTo>
                  <a:lnTo>
                    <a:pt x="792230" y="2974647"/>
                  </a:lnTo>
                  <a:cubicBezTo>
                    <a:pt x="789015" y="2969522"/>
                    <a:pt x="785800" y="2964096"/>
                    <a:pt x="782586" y="2958971"/>
                  </a:cubicBezTo>
                  <a:lnTo>
                    <a:pt x="792230" y="2952641"/>
                  </a:lnTo>
                  <a:lnTo>
                    <a:pt x="792230" y="2931842"/>
                  </a:lnTo>
                  <a:cubicBezTo>
                    <a:pt x="786719" y="2925511"/>
                    <a:pt x="781667" y="2919181"/>
                    <a:pt x="776156" y="2912851"/>
                  </a:cubicBezTo>
                  <a:lnTo>
                    <a:pt x="763756" y="2892051"/>
                  </a:lnTo>
                  <a:cubicBezTo>
                    <a:pt x="759163" y="2880898"/>
                    <a:pt x="754111" y="2870046"/>
                    <a:pt x="749519" y="2858892"/>
                  </a:cubicBezTo>
                  <a:cubicBezTo>
                    <a:pt x="744007" y="2852562"/>
                    <a:pt x="738956" y="2845930"/>
                    <a:pt x="733444" y="2839600"/>
                  </a:cubicBezTo>
                  <a:cubicBezTo>
                    <a:pt x="730230" y="2834777"/>
                    <a:pt x="727015" y="2830255"/>
                    <a:pt x="723800" y="2825432"/>
                  </a:cubicBezTo>
                  <a:lnTo>
                    <a:pt x="722422" y="2800111"/>
                  </a:lnTo>
                  <a:cubicBezTo>
                    <a:pt x="720126" y="2795288"/>
                    <a:pt x="718289" y="2790464"/>
                    <a:pt x="715992" y="2785641"/>
                  </a:cubicBezTo>
                  <a:cubicBezTo>
                    <a:pt x="712777" y="2773584"/>
                    <a:pt x="709563" y="2761224"/>
                    <a:pt x="706348" y="2749167"/>
                  </a:cubicBezTo>
                  <a:lnTo>
                    <a:pt x="706348" y="2717515"/>
                  </a:lnTo>
                  <a:cubicBezTo>
                    <a:pt x="705429" y="2713898"/>
                    <a:pt x="704051" y="2709979"/>
                    <a:pt x="703133" y="2706362"/>
                  </a:cubicBezTo>
                  <a:cubicBezTo>
                    <a:pt x="699000" y="2703046"/>
                    <a:pt x="694866" y="2700031"/>
                    <a:pt x="690733" y="2696715"/>
                  </a:cubicBezTo>
                  <a:lnTo>
                    <a:pt x="682466" y="2677724"/>
                  </a:lnTo>
                  <a:cubicBezTo>
                    <a:pt x="679251" y="2667777"/>
                    <a:pt x="676496" y="2657528"/>
                    <a:pt x="673281" y="2647580"/>
                  </a:cubicBezTo>
                  <a:cubicBezTo>
                    <a:pt x="670984" y="2643963"/>
                    <a:pt x="669147" y="2640044"/>
                    <a:pt x="666851" y="2636427"/>
                  </a:cubicBezTo>
                  <a:cubicBezTo>
                    <a:pt x="660421" y="2628891"/>
                    <a:pt x="653992" y="2621656"/>
                    <a:pt x="647562" y="2614120"/>
                  </a:cubicBezTo>
                  <a:lnTo>
                    <a:pt x="647562" y="2596636"/>
                  </a:lnTo>
                  <a:lnTo>
                    <a:pt x="646184" y="2583975"/>
                  </a:lnTo>
                  <a:cubicBezTo>
                    <a:pt x="646644" y="2577042"/>
                    <a:pt x="647103" y="2570411"/>
                    <a:pt x="647562" y="2563477"/>
                  </a:cubicBezTo>
                  <a:cubicBezTo>
                    <a:pt x="650777" y="2555037"/>
                    <a:pt x="653992" y="2546295"/>
                    <a:pt x="657207" y="2537855"/>
                  </a:cubicBezTo>
                  <a:lnTo>
                    <a:pt x="657207" y="2531524"/>
                  </a:lnTo>
                  <a:cubicBezTo>
                    <a:pt x="659503" y="2524591"/>
                    <a:pt x="661340" y="2517959"/>
                    <a:pt x="663636" y="2511026"/>
                  </a:cubicBezTo>
                  <a:cubicBezTo>
                    <a:pt x="665933" y="2508916"/>
                    <a:pt x="667770" y="2506806"/>
                    <a:pt x="670066" y="2504696"/>
                  </a:cubicBezTo>
                  <a:cubicBezTo>
                    <a:pt x="674199" y="2498968"/>
                    <a:pt x="678333" y="2492939"/>
                    <a:pt x="682466" y="2487212"/>
                  </a:cubicBezTo>
                  <a:cubicBezTo>
                    <a:pt x="684303" y="2483896"/>
                    <a:pt x="685681" y="2480882"/>
                    <a:pt x="687518" y="2477566"/>
                  </a:cubicBezTo>
                  <a:cubicBezTo>
                    <a:pt x="688437" y="2472140"/>
                    <a:pt x="689814" y="2467015"/>
                    <a:pt x="690733" y="2461589"/>
                  </a:cubicBezTo>
                  <a:lnTo>
                    <a:pt x="690733" y="2447421"/>
                  </a:lnTo>
                  <a:lnTo>
                    <a:pt x="682466" y="2441091"/>
                  </a:lnTo>
                  <a:cubicBezTo>
                    <a:pt x="681548" y="2435665"/>
                    <a:pt x="680170" y="2430541"/>
                    <a:pt x="679251" y="2425115"/>
                  </a:cubicBezTo>
                  <a:cubicBezTo>
                    <a:pt x="677414" y="2421497"/>
                    <a:pt x="675118" y="2417579"/>
                    <a:pt x="673281" y="2413961"/>
                  </a:cubicBezTo>
                  <a:cubicBezTo>
                    <a:pt x="674199" y="2411851"/>
                    <a:pt x="675577" y="2409741"/>
                    <a:pt x="676496" y="2407631"/>
                  </a:cubicBezTo>
                  <a:lnTo>
                    <a:pt x="679251" y="2401301"/>
                  </a:lnTo>
                  <a:lnTo>
                    <a:pt x="676496" y="2375979"/>
                  </a:lnTo>
                  <a:cubicBezTo>
                    <a:pt x="674199" y="2371156"/>
                    <a:pt x="672362" y="2366635"/>
                    <a:pt x="670066" y="2361811"/>
                  </a:cubicBezTo>
                  <a:cubicBezTo>
                    <a:pt x="665933" y="2357591"/>
                    <a:pt x="661340" y="2353070"/>
                    <a:pt x="657207" y="2348849"/>
                  </a:cubicBezTo>
                  <a:lnTo>
                    <a:pt x="657207" y="2342519"/>
                  </a:lnTo>
                  <a:lnTo>
                    <a:pt x="657207" y="2339505"/>
                  </a:lnTo>
                  <a:cubicBezTo>
                    <a:pt x="654910" y="2333777"/>
                    <a:pt x="653073" y="2327748"/>
                    <a:pt x="650777" y="2322021"/>
                  </a:cubicBezTo>
                  <a:cubicBezTo>
                    <a:pt x="644806" y="2314183"/>
                    <a:pt x="639295" y="2306044"/>
                    <a:pt x="633325" y="2298207"/>
                  </a:cubicBezTo>
                  <a:cubicBezTo>
                    <a:pt x="625977" y="2290671"/>
                    <a:pt x="618628" y="2283436"/>
                    <a:pt x="611280" y="2275900"/>
                  </a:cubicBezTo>
                  <a:cubicBezTo>
                    <a:pt x="605310" y="2268967"/>
                    <a:pt x="599799" y="2262335"/>
                    <a:pt x="593828" y="2255402"/>
                  </a:cubicBezTo>
                  <a:cubicBezTo>
                    <a:pt x="589695" y="2249072"/>
                    <a:pt x="585102" y="2242440"/>
                    <a:pt x="580969" y="2236109"/>
                  </a:cubicBezTo>
                  <a:lnTo>
                    <a:pt x="580969" y="2226765"/>
                  </a:lnTo>
                  <a:cubicBezTo>
                    <a:pt x="583265" y="2224052"/>
                    <a:pt x="585102" y="2221339"/>
                    <a:pt x="587398" y="2218626"/>
                  </a:cubicBezTo>
                  <a:cubicBezTo>
                    <a:pt x="588317" y="2213501"/>
                    <a:pt x="589695" y="2208075"/>
                    <a:pt x="590613" y="2202951"/>
                  </a:cubicBezTo>
                  <a:cubicBezTo>
                    <a:pt x="592910" y="2197525"/>
                    <a:pt x="594747" y="2192400"/>
                    <a:pt x="597043" y="2186974"/>
                  </a:cubicBezTo>
                  <a:cubicBezTo>
                    <a:pt x="594747" y="2186371"/>
                    <a:pt x="592910" y="2186070"/>
                    <a:pt x="590613" y="2185467"/>
                  </a:cubicBezTo>
                  <a:cubicBezTo>
                    <a:pt x="593828" y="2177026"/>
                    <a:pt x="597043" y="2168285"/>
                    <a:pt x="600258" y="2159844"/>
                  </a:cubicBezTo>
                  <a:cubicBezTo>
                    <a:pt x="601176" y="2154117"/>
                    <a:pt x="602554" y="2148088"/>
                    <a:pt x="603473" y="2142360"/>
                  </a:cubicBezTo>
                  <a:cubicBezTo>
                    <a:pt x="600258" y="2137236"/>
                    <a:pt x="597043" y="2131810"/>
                    <a:pt x="593828" y="2126685"/>
                  </a:cubicBezTo>
                  <a:cubicBezTo>
                    <a:pt x="590613" y="2125480"/>
                    <a:pt x="587398" y="2124575"/>
                    <a:pt x="584184" y="2123370"/>
                  </a:cubicBezTo>
                  <a:cubicBezTo>
                    <a:pt x="583265" y="2120355"/>
                    <a:pt x="581887" y="2117039"/>
                    <a:pt x="580969" y="2114025"/>
                  </a:cubicBezTo>
                  <a:cubicBezTo>
                    <a:pt x="578672" y="2113422"/>
                    <a:pt x="576835" y="2112819"/>
                    <a:pt x="574539" y="2112216"/>
                  </a:cubicBezTo>
                  <a:lnTo>
                    <a:pt x="574539" y="2105886"/>
                  </a:lnTo>
                  <a:lnTo>
                    <a:pt x="553872" y="2114025"/>
                  </a:lnTo>
                  <a:cubicBezTo>
                    <a:pt x="550657" y="2113422"/>
                    <a:pt x="547902" y="2112819"/>
                    <a:pt x="544687" y="2112216"/>
                  </a:cubicBezTo>
                  <a:lnTo>
                    <a:pt x="536420" y="2114025"/>
                  </a:lnTo>
                  <a:lnTo>
                    <a:pt x="517590" y="2114025"/>
                  </a:lnTo>
                  <a:cubicBezTo>
                    <a:pt x="514376" y="2110407"/>
                    <a:pt x="511161" y="2106489"/>
                    <a:pt x="507946" y="2102871"/>
                  </a:cubicBezTo>
                  <a:cubicBezTo>
                    <a:pt x="504731" y="2097445"/>
                    <a:pt x="501516" y="2092321"/>
                    <a:pt x="498301" y="2086895"/>
                  </a:cubicBezTo>
                  <a:cubicBezTo>
                    <a:pt x="493709" y="2082072"/>
                    <a:pt x="488657" y="2077550"/>
                    <a:pt x="484064" y="2072727"/>
                  </a:cubicBezTo>
                  <a:lnTo>
                    <a:pt x="465234" y="2072727"/>
                  </a:lnTo>
                  <a:lnTo>
                    <a:pt x="447782" y="2072727"/>
                  </a:lnTo>
                  <a:lnTo>
                    <a:pt x="425278" y="2072727"/>
                  </a:lnTo>
                  <a:cubicBezTo>
                    <a:pt x="420686" y="2074234"/>
                    <a:pt x="415634" y="2075741"/>
                    <a:pt x="411041" y="2077249"/>
                  </a:cubicBezTo>
                  <a:cubicBezTo>
                    <a:pt x="400019" y="2081469"/>
                    <a:pt x="388997" y="2085991"/>
                    <a:pt x="377974" y="2090211"/>
                  </a:cubicBezTo>
                  <a:cubicBezTo>
                    <a:pt x="372463" y="2093225"/>
                    <a:pt x="367411" y="2096541"/>
                    <a:pt x="361900" y="2099555"/>
                  </a:cubicBezTo>
                  <a:cubicBezTo>
                    <a:pt x="357307" y="2101666"/>
                    <a:pt x="352255" y="2103776"/>
                    <a:pt x="347663" y="2105886"/>
                  </a:cubicBezTo>
                  <a:lnTo>
                    <a:pt x="325618" y="2099555"/>
                  </a:lnTo>
                  <a:lnTo>
                    <a:pt x="312759" y="2099555"/>
                  </a:lnTo>
                  <a:lnTo>
                    <a:pt x="301736" y="2093225"/>
                  </a:lnTo>
                  <a:lnTo>
                    <a:pt x="285662" y="2093225"/>
                  </a:lnTo>
                  <a:lnTo>
                    <a:pt x="258566" y="2099555"/>
                  </a:lnTo>
                  <a:cubicBezTo>
                    <a:pt x="253514" y="2101666"/>
                    <a:pt x="248003" y="2103776"/>
                    <a:pt x="242951" y="2105886"/>
                  </a:cubicBezTo>
                  <a:lnTo>
                    <a:pt x="222284" y="2114025"/>
                  </a:lnTo>
                  <a:lnTo>
                    <a:pt x="219069" y="2114025"/>
                  </a:lnTo>
                  <a:lnTo>
                    <a:pt x="212639" y="2114025"/>
                  </a:lnTo>
                  <a:lnTo>
                    <a:pt x="188758" y="2102871"/>
                  </a:lnTo>
                  <a:cubicBezTo>
                    <a:pt x="181409" y="2097445"/>
                    <a:pt x="174061" y="2092321"/>
                    <a:pt x="166713" y="2086895"/>
                  </a:cubicBezTo>
                  <a:lnTo>
                    <a:pt x="149261" y="2072727"/>
                  </a:lnTo>
                  <a:cubicBezTo>
                    <a:pt x="145127" y="2068507"/>
                    <a:pt x="140535" y="2064287"/>
                    <a:pt x="136401" y="2060066"/>
                  </a:cubicBezTo>
                  <a:cubicBezTo>
                    <a:pt x="133187" y="2058861"/>
                    <a:pt x="130431" y="2057956"/>
                    <a:pt x="127216" y="2056751"/>
                  </a:cubicBezTo>
                  <a:lnTo>
                    <a:pt x="112520" y="2047104"/>
                  </a:lnTo>
                  <a:cubicBezTo>
                    <a:pt x="108386" y="2043487"/>
                    <a:pt x="104253" y="2039568"/>
                    <a:pt x="100120" y="2035951"/>
                  </a:cubicBezTo>
                  <a:lnTo>
                    <a:pt x="100120" y="2026606"/>
                  </a:lnTo>
                  <a:cubicBezTo>
                    <a:pt x="99201" y="2021180"/>
                    <a:pt x="97823" y="2016056"/>
                    <a:pt x="96905" y="2010630"/>
                  </a:cubicBezTo>
                  <a:cubicBezTo>
                    <a:pt x="93231" y="2007012"/>
                    <a:pt x="89557" y="2003094"/>
                    <a:pt x="85882" y="1999476"/>
                  </a:cubicBezTo>
                  <a:cubicBezTo>
                    <a:pt x="82668" y="1996462"/>
                    <a:pt x="79453" y="1993146"/>
                    <a:pt x="76238" y="1990131"/>
                  </a:cubicBezTo>
                  <a:cubicBezTo>
                    <a:pt x="75319" y="1988926"/>
                    <a:pt x="73942" y="1988021"/>
                    <a:pt x="73023" y="1986816"/>
                  </a:cubicBezTo>
                  <a:cubicBezTo>
                    <a:pt x="70727" y="1985911"/>
                    <a:pt x="68890" y="1984705"/>
                    <a:pt x="66593" y="1983801"/>
                  </a:cubicBezTo>
                  <a:cubicBezTo>
                    <a:pt x="65675" y="1980485"/>
                    <a:pt x="64297" y="1977471"/>
                    <a:pt x="63379" y="1974155"/>
                  </a:cubicBezTo>
                  <a:cubicBezTo>
                    <a:pt x="62460" y="1972045"/>
                    <a:pt x="61082" y="1969935"/>
                    <a:pt x="60164" y="1967825"/>
                  </a:cubicBezTo>
                  <a:cubicBezTo>
                    <a:pt x="58327" y="1966619"/>
                    <a:pt x="56030" y="1965715"/>
                    <a:pt x="54193" y="1964509"/>
                  </a:cubicBezTo>
                  <a:cubicBezTo>
                    <a:pt x="50519" y="1961796"/>
                    <a:pt x="46386" y="1959384"/>
                    <a:pt x="42712" y="1956671"/>
                  </a:cubicBezTo>
                  <a:cubicBezTo>
                    <a:pt x="39497" y="1955767"/>
                    <a:pt x="36741" y="1954561"/>
                    <a:pt x="33526" y="1953657"/>
                  </a:cubicBezTo>
                  <a:cubicBezTo>
                    <a:pt x="31230" y="1952451"/>
                    <a:pt x="29393" y="1951547"/>
                    <a:pt x="27097" y="1950341"/>
                  </a:cubicBezTo>
                  <a:lnTo>
                    <a:pt x="27097" y="1947025"/>
                  </a:lnTo>
                  <a:cubicBezTo>
                    <a:pt x="24800" y="1944915"/>
                    <a:pt x="22963" y="1942805"/>
                    <a:pt x="20667" y="1940695"/>
                  </a:cubicBezTo>
                  <a:cubicBezTo>
                    <a:pt x="19748" y="1938585"/>
                    <a:pt x="18371" y="1936474"/>
                    <a:pt x="17452" y="1934364"/>
                  </a:cubicBezTo>
                  <a:cubicBezTo>
                    <a:pt x="16534" y="1928637"/>
                    <a:pt x="15156" y="1922608"/>
                    <a:pt x="14237" y="1916881"/>
                  </a:cubicBezTo>
                  <a:cubicBezTo>
                    <a:pt x="15156" y="1913866"/>
                    <a:pt x="16534" y="1910550"/>
                    <a:pt x="17452" y="1907536"/>
                  </a:cubicBezTo>
                  <a:cubicBezTo>
                    <a:pt x="14697" y="1901206"/>
                    <a:pt x="12400" y="1894574"/>
                    <a:pt x="9645" y="1888243"/>
                  </a:cubicBezTo>
                  <a:lnTo>
                    <a:pt x="0" y="1883722"/>
                  </a:lnTo>
                  <a:lnTo>
                    <a:pt x="9645" y="1877392"/>
                  </a:lnTo>
                  <a:cubicBezTo>
                    <a:pt x="12400" y="1871966"/>
                    <a:pt x="14697" y="1866841"/>
                    <a:pt x="17452" y="1861415"/>
                  </a:cubicBezTo>
                  <a:cubicBezTo>
                    <a:pt x="19748" y="1857195"/>
                    <a:pt x="21586" y="1852975"/>
                    <a:pt x="23882" y="1848754"/>
                  </a:cubicBezTo>
                  <a:cubicBezTo>
                    <a:pt x="22963" y="1845137"/>
                    <a:pt x="21586" y="1841218"/>
                    <a:pt x="20667" y="1837601"/>
                  </a:cubicBezTo>
                  <a:cubicBezTo>
                    <a:pt x="22963" y="1833381"/>
                    <a:pt x="24800" y="1829161"/>
                    <a:pt x="27097" y="1824940"/>
                  </a:cubicBezTo>
                  <a:cubicBezTo>
                    <a:pt x="29393" y="1818007"/>
                    <a:pt x="31230" y="1811074"/>
                    <a:pt x="33526" y="1804141"/>
                  </a:cubicBezTo>
                  <a:cubicBezTo>
                    <a:pt x="32608" y="1797810"/>
                    <a:pt x="31230" y="1791480"/>
                    <a:pt x="30312" y="1785150"/>
                  </a:cubicBezTo>
                  <a:cubicBezTo>
                    <a:pt x="29393" y="1780327"/>
                    <a:pt x="28015" y="1775805"/>
                    <a:pt x="27097" y="1770982"/>
                  </a:cubicBezTo>
                  <a:lnTo>
                    <a:pt x="27097" y="1758020"/>
                  </a:lnTo>
                  <a:cubicBezTo>
                    <a:pt x="24800" y="1755005"/>
                    <a:pt x="22963" y="1751689"/>
                    <a:pt x="20667" y="1748675"/>
                  </a:cubicBezTo>
                  <a:cubicBezTo>
                    <a:pt x="17452" y="1745359"/>
                    <a:pt x="14237" y="1742345"/>
                    <a:pt x="11022" y="1739029"/>
                  </a:cubicBezTo>
                  <a:lnTo>
                    <a:pt x="11022" y="1727875"/>
                  </a:lnTo>
                  <a:cubicBezTo>
                    <a:pt x="11941" y="1724861"/>
                    <a:pt x="13319" y="1721545"/>
                    <a:pt x="14237" y="1718531"/>
                  </a:cubicBezTo>
                  <a:cubicBezTo>
                    <a:pt x="16534" y="1716421"/>
                    <a:pt x="18371" y="1714310"/>
                    <a:pt x="20667" y="1712200"/>
                  </a:cubicBezTo>
                  <a:lnTo>
                    <a:pt x="30312" y="1699540"/>
                  </a:lnTo>
                  <a:cubicBezTo>
                    <a:pt x="29393" y="1698033"/>
                    <a:pt x="28015" y="1696224"/>
                    <a:pt x="27097" y="1694717"/>
                  </a:cubicBezTo>
                  <a:cubicBezTo>
                    <a:pt x="29393" y="1688386"/>
                    <a:pt x="31230" y="1681755"/>
                    <a:pt x="33526" y="1675424"/>
                  </a:cubicBezTo>
                  <a:cubicBezTo>
                    <a:pt x="37660" y="1670300"/>
                    <a:pt x="41793" y="1664874"/>
                    <a:pt x="45926" y="1659749"/>
                  </a:cubicBezTo>
                  <a:cubicBezTo>
                    <a:pt x="48682" y="1659146"/>
                    <a:pt x="51438" y="1658845"/>
                    <a:pt x="54193" y="1658242"/>
                  </a:cubicBezTo>
                  <a:cubicBezTo>
                    <a:pt x="56030" y="1652816"/>
                    <a:pt x="58327" y="1647691"/>
                    <a:pt x="60164" y="1642265"/>
                  </a:cubicBezTo>
                  <a:lnTo>
                    <a:pt x="60164" y="1629605"/>
                  </a:lnTo>
                  <a:cubicBezTo>
                    <a:pt x="63379" y="1625987"/>
                    <a:pt x="66593" y="1622069"/>
                    <a:pt x="69808" y="1618451"/>
                  </a:cubicBezTo>
                  <a:cubicBezTo>
                    <a:pt x="73942" y="1615136"/>
                    <a:pt x="78534" y="1612121"/>
                    <a:pt x="82668" y="1608805"/>
                  </a:cubicBezTo>
                  <a:cubicBezTo>
                    <a:pt x="88638" y="1600365"/>
                    <a:pt x="94149" y="1591924"/>
                    <a:pt x="100120" y="1583484"/>
                  </a:cubicBezTo>
                  <a:lnTo>
                    <a:pt x="100120" y="1581977"/>
                  </a:lnTo>
                  <a:lnTo>
                    <a:pt x="109764" y="1575646"/>
                  </a:lnTo>
                  <a:cubicBezTo>
                    <a:pt x="116653" y="1574441"/>
                    <a:pt x="123083" y="1573536"/>
                    <a:pt x="129972" y="1572331"/>
                  </a:cubicBezTo>
                  <a:cubicBezTo>
                    <a:pt x="135483" y="1566905"/>
                    <a:pt x="140535" y="1561780"/>
                    <a:pt x="146046" y="1556354"/>
                  </a:cubicBezTo>
                  <a:lnTo>
                    <a:pt x="158905" y="1547009"/>
                  </a:lnTo>
                  <a:cubicBezTo>
                    <a:pt x="164876" y="1541282"/>
                    <a:pt x="170387" y="1535253"/>
                    <a:pt x="176357" y="1529525"/>
                  </a:cubicBezTo>
                  <a:cubicBezTo>
                    <a:pt x="174061" y="1518372"/>
                    <a:pt x="172224" y="1507219"/>
                    <a:pt x="169928" y="1496065"/>
                  </a:cubicBezTo>
                  <a:cubicBezTo>
                    <a:pt x="173143" y="1488529"/>
                    <a:pt x="176357" y="1481295"/>
                    <a:pt x="179572" y="1473758"/>
                  </a:cubicBezTo>
                  <a:lnTo>
                    <a:pt x="179572" y="1465921"/>
                  </a:lnTo>
                  <a:cubicBezTo>
                    <a:pt x="186002" y="1459591"/>
                    <a:pt x="191972" y="1453260"/>
                    <a:pt x="198402" y="1446930"/>
                  </a:cubicBezTo>
                  <a:lnTo>
                    <a:pt x="219069" y="1434269"/>
                  </a:lnTo>
                  <a:cubicBezTo>
                    <a:pt x="224580" y="1431556"/>
                    <a:pt x="229632" y="1428843"/>
                    <a:pt x="235143" y="1426130"/>
                  </a:cubicBezTo>
                  <a:cubicBezTo>
                    <a:pt x="239736" y="1416484"/>
                    <a:pt x="244788" y="1407139"/>
                    <a:pt x="249380" y="1397493"/>
                  </a:cubicBezTo>
                  <a:cubicBezTo>
                    <a:pt x="252595" y="1393876"/>
                    <a:pt x="255351" y="1390259"/>
                    <a:pt x="258566" y="1386641"/>
                  </a:cubicBezTo>
                  <a:lnTo>
                    <a:pt x="273262" y="1386641"/>
                  </a:lnTo>
                  <a:cubicBezTo>
                    <a:pt x="277396" y="1389656"/>
                    <a:pt x="281529" y="1392972"/>
                    <a:pt x="285662" y="1395986"/>
                  </a:cubicBezTo>
                  <a:lnTo>
                    <a:pt x="308166" y="1395986"/>
                  </a:lnTo>
                  <a:cubicBezTo>
                    <a:pt x="315055" y="1396589"/>
                    <a:pt x="321944" y="1396890"/>
                    <a:pt x="328833" y="1397493"/>
                  </a:cubicBezTo>
                  <a:lnTo>
                    <a:pt x="341233" y="1397493"/>
                  </a:lnTo>
                  <a:lnTo>
                    <a:pt x="361900" y="1386641"/>
                  </a:lnTo>
                  <a:lnTo>
                    <a:pt x="385782" y="1380311"/>
                  </a:lnTo>
                  <a:cubicBezTo>
                    <a:pt x="389915" y="1376995"/>
                    <a:pt x="394508" y="1373981"/>
                    <a:pt x="398641" y="1370665"/>
                  </a:cubicBezTo>
                  <a:lnTo>
                    <a:pt x="420686" y="1364334"/>
                  </a:lnTo>
                  <a:lnTo>
                    <a:pt x="457427" y="1358004"/>
                  </a:lnTo>
                  <a:lnTo>
                    <a:pt x="493709" y="1356195"/>
                  </a:lnTo>
                  <a:cubicBezTo>
                    <a:pt x="497383" y="1357703"/>
                    <a:pt x="501057" y="1359511"/>
                    <a:pt x="504731" y="1361018"/>
                  </a:cubicBezTo>
                  <a:lnTo>
                    <a:pt x="527235" y="1349865"/>
                  </a:lnTo>
                  <a:lnTo>
                    <a:pt x="550657" y="1349865"/>
                  </a:lnTo>
                  <a:cubicBezTo>
                    <a:pt x="552954" y="1351975"/>
                    <a:pt x="554791" y="1354085"/>
                    <a:pt x="557087" y="1356195"/>
                  </a:cubicBezTo>
                  <a:cubicBezTo>
                    <a:pt x="562598" y="1355291"/>
                    <a:pt x="567650" y="1354085"/>
                    <a:pt x="573161" y="1353181"/>
                  </a:cubicBezTo>
                  <a:cubicBezTo>
                    <a:pt x="580969" y="1349865"/>
                    <a:pt x="589236" y="1346851"/>
                    <a:pt x="597043" y="1343535"/>
                  </a:cubicBezTo>
                  <a:cubicBezTo>
                    <a:pt x="603013" y="1345645"/>
                    <a:pt x="608525" y="1347755"/>
                    <a:pt x="614495" y="1349865"/>
                  </a:cubicBezTo>
                  <a:lnTo>
                    <a:pt x="614495" y="1358004"/>
                  </a:lnTo>
                  <a:cubicBezTo>
                    <a:pt x="620925" y="1355291"/>
                    <a:pt x="626895" y="1352578"/>
                    <a:pt x="633325" y="1349865"/>
                  </a:cubicBezTo>
                  <a:lnTo>
                    <a:pt x="633325" y="1356195"/>
                  </a:lnTo>
                  <a:lnTo>
                    <a:pt x="620925" y="1364334"/>
                  </a:lnTo>
                  <a:lnTo>
                    <a:pt x="620925" y="1380311"/>
                  </a:lnTo>
                  <a:cubicBezTo>
                    <a:pt x="624140" y="1382421"/>
                    <a:pt x="626895" y="1384531"/>
                    <a:pt x="630110" y="1386641"/>
                  </a:cubicBezTo>
                  <a:cubicBezTo>
                    <a:pt x="629191" y="1393574"/>
                    <a:pt x="627814" y="1400206"/>
                    <a:pt x="626895" y="1407139"/>
                  </a:cubicBezTo>
                  <a:cubicBezTo>
                    <a:pt x="621843" y="1411360"/>
                    <a:pt x="616332" y="1415580"/>
                    <a:pt x="611280" y="1419800"/>
                  </a:cubicBezTo>
                  <a:cubicBezTo>
                    <a:pt x="613577" y="1424020"/>
                    <a:pt x="615414" y="1428240"/>
                    <a:pt x="617710" y="1432461"/>
                  </a:cubicBezTo>
                  <a:lnTo>
                    <a:pt x="626895" y="1432461"/>
                  </a:lnTo>
                  <a:cubicBezTo>
                    <a:pt x="629191" y="1437284"/>
                    <a:pt x="631029" y="1442107"/>
                    <a:pt x="633325" y="1446930"/>
                  </a:cubicBezTo>
                  <a:cubicBezTo>
                    <a:pt x="636540" y="1447834"/>
                    <a:pt x="639755" y="1449040"/>
                    <a:pt x="642969" y="1449944"/>
                  </a:cubicBezTo>
                  <a:lnTo>
                    <a:pt x="666851" y="1456275"/>
                  </a:lnTo>
                  <a:lnTo>
                    <a:pt x="679251" y="1456275"/>
                  </a:lnTo>
                  <a:cubicBezTo>
                    <a:pt x="684303" y="1457480"/>
                    <a:pt x="688896" y="1458385"/>
                    <a:pt x="693948" y="1459591"/>
                  </a:cubicBezTo>
                  <a:cubicBezTo>
                    <a:pt x="704051" y="1463208"/>
                    <a:pt x="713696" y="1467127"/>
                    <a:pt x="723800" y="1470744"/>
                  </a:cubicBezTo>
                  <a:cubicBezTo>
                    <a:pt x="727933" y="1478280"/>
                    <a:pt x="732526" y="1485515"/>
                    <a:pt x="736659" y="1493051"/>
                  </a:cubicBezTo>
                  <a:cubicBezTo>
                    <a:pt x="743089" y="1493955"/>
                    <a:pt x="749059" y="1495161"/>
                    <a:pt x="755489" y="1496065"/>
                  </a:cubicBezTo>
                  <a:lnTo>
                    <a:pt x="785800" y="1508726"/>
                  </a:lnTo>
                  <a:lnTo>
                    <a:pt x="809682" y="1519879"/>
                  </a:lnTo>
                  <a:lnTo>
                    <a:pt x="819327" y="1513549"/>
                  </a:lnTo>
                  <a:cubicBezTo>
                    <a:pt x="823460" y="1509932"/>
                    <a:pt x="827593" y="1506013"/>
                    <a:pt x="831727" y="1502396"/>
                  </a:cubicBezTo>
                  <a:cubicBezTo>
                    <a:pt x="829430" y="1496065"/>
                    <a:pt x="827593" y="1489735"/>
                    <a:pt x="825297" y="1483405"/>
                  </a:cubicBezTo>
                  <a:lnTo>
                    <a:pt x="834942" y="1470744"/>
                  </a:lnTo>
                  <a:lnTo>
                    <a:pt x="849179" y="1459591"/>
                  </a:lnTo>
                  <a:cubicBezTo>
                    <a:pt x="853312" y="1458385"/>
                    <a:pt x="857905" y="1457480"/>
                    <a:pt x="862038" y="1456275"/>
                  </a:cubicBezTo>
                  <a:lnTo>
                    <a:pt x="895564" y="1462605"/>
                  </a:lnTo>
                  <a:cubicBezTo>
                    <a:pt x="897401" y="1465318"/>
                    <a:pt x="899698" y="1468031"/>
                    <a:pt x="901535" y="1470744"/>
                  </a:cubicBezTo>
                  <a:lnTo>
                    <a:pt x="907965" y="1470744"/>
                  </a:lnTo>
                  <a:cubicBezTo>
                    <a:pt x="910720" y="1472854"/>
                    <a:pt x="913016" y="1474964"/>
                    <a:pt x="915772" y="1477074"/>
                  </a:cubicBezTo>
                  <a:cubicBezTo>
                    <a:pt x="923120" y="1477979"/>
                    <a:pt x="930928" y="1479184"/>
                    <a:pt x="938276" y="1480089"/>
                  </a:cubicBezTo>
                  <a:cubicBezTo>
                    <a:pt x="940572" y="1483405"/>
                    <a:pt x="942409" y="1486419"/>
                    <a:pt x="944706" y="1489735"/>
                  </a:cubicBezTo>
                  <a:lnTo>
                    <a:pt x="971343" y="1489735"/>
                  </a:lnTo>
                  <a:cubicBezTo>
                    <a:pt x="978232" y="1490941"/>
                    <a:pt x="985121" y="1491845"/>
                    <a:pt x="992010" y="1493051"/>
                  </a:cubicBezTo>
                  <a:cubicBezTo>
                    <a:pt x="1000736" y="1496065"/>
                    <a:pt x="1009003" y="1499381"/>
                    <a:pt x="1017729" y="1502396"/>
                  </a:cubicBezTo>
                  <a:cubicBezTo>
                    <a:pt x="1020484" y="1503601"/>
                    <a:pt x="1022780" y="1504506"/>
                    <a:pt x="1025536" y="1505711"/>
                  </a:cubicBezTo>
                  <a:lnTo>
                    <a:pt x="1044366" y="1496065"/>
                  </a:lnTo>
                  <a:cubicBezTo>
                    <a:pt x="1046662" y="1495161"/>
                    <a:pt x="1048499" y="1493955"/>
                    <a:pt x="1050796" y="1493051"/>
                  </a:cubicBezTo>
                  <a:cubicBezTo>
                    <a:pt x="1057684" y="1491845"/>
                    <a:pt x="1064573" y="1490941"/>
                    <a:pt x="1071462" y="1489735"/>
                  </a:cubicBezTo>
                  <a:cubicBezTo>
                    <a:pt x="1076974" y="1490941"/>
                    <a:pt x="1082025" y="1491845"/>
                    <a:pt x="1087537" y="1493051"/>
                  </a:cubicBezTo>
                  <a:cubicBezTo>
                    <a:pt x="1089833" y="1497271"/>
                    <a:pt x="1091670" y="1501491"/>
                    <a:pt x="1093966" y="1505711"/>
                  </a:cubicBezTo>
                  <a:cubicBezTo>
                    <a:pt x="1095344" y="1502396"/>
                    <a:pt x="1097181" y="1499381"/>
                    <a:pt x="1098559" y="1496065"/>
                  </a:cubicBezTo>
                  <a:cubicBezTo>
                    <a:pt x="1104989" y="1498175"/>
                    <a:pt x="1110959" y="1500285"/>
                    <a:pt x="1117389" y="1502396"/>
                  </a:cubicBezTo>
                  <a:lnTo>
                    <a:pt x="1133463" y="1502396"/>
                  </a:lnTo>
                  <a:lnTo>
                    <a:pt x="1144485" y="1496065"/>
                  </a:lnTo>
                  <a:cubicBezTo>
                    <a:pt x="1146782" y="1493955"/>
                    <a:pt x="1148619" y="1491845"/>
                    <a:pt x="1150915" y="1489735"/>
                  </a:cubicBezTo>
                  <a:cubicBezTo>
                    <a:pt x="1149996" y="1488831"/>
                    <a:pt x="1148619" y="1487625"/>
                    <a:pt x="1147700" y="1486720"/>
                  </a:cubicBezTo>
                  <a:cubicBezTo>
                    <a:pt x="1149996" y="1482500"/>
                    <a:pt x="1151834" y="1477979"/>
                    <a:pt x="1154130" y="1473758"/>
                  </a:cubicBezTo>
                  <a:cubicBezTo>
                    <a:pt x="1156426" y="1468031"/>
                    <a:pt x="1158263" y="1462002"/>
                    <a:pt x="1160560" y="1456275"/>
                  </a:cubicBezTo>
                  <a:cubicBezTo>
                    <a:pt x="1161478" y="1455370"/>
                    <a:pt x="1162856" y="1454165"/>
                    <a:pt x="1163774" y="1453260"/>
                  </a:cubicBezTo>
                  <a:cubicBezTo>
                    <a:pt x="1166989" y="1445423"/>
                    <a:pt x="1169745" y="1437284"/>
                    <a:pt x="1172960" y="1429446"/>
                  </a:cubicBezTo>
                  <a:cubicBezTo>
                    <a:pt x="1175715" y="1424020"/>
                    <a:pt x="1178471" y="1418896"/>
                    <a:pt x="1181226" y="1413470"/>
                  </a:cubicBezTo>
                  <a:cubicBezTo>
                    <a:pt x="1182145" y="1412565"/>
                    <a:pt x="1183523" y="1411360"/>
                    <a:pt x="1184441" y="1410455"/>
                  </a:cubicBezTo>
                  <a:cubicBezTo>
                    <a:pt x="1183523" y="1405632"/>
                    <a:pt x="1182145" y="1400809"/>
                    <a:pt x="1181226" y="1395986"/>
                  </a:cubicBezTo>
                  <a:cubicBezTo>
                    <a:pt x="1183523" y="1391766"/>
                    <a:pt x="1185360" y="1387546"/>
                    <a:pt x="1187656" y="1383325"/>
                  </a:cubicBezTo>
                  <a:lnTo>
                    <a:pt x="1178012" y="1370665"/>
                  </a:lnTo>
                  <a:cubicBezTo>
                    <a:pt x="1181226" y="1367349"/>
                    <a:pt x="1184441" y="1364334"/>
                    <a:pt x="1187656" y="1361018"/>
                  </a:cubicBezTo>
                  <a:cubicBezTo>
                    <a:pt x="1183523" y="1362224"/>
                    <a:pt x="1178930" y="1363129"/>
                    <a:pt x="1174797" y="1364334"/>
                  </a:cubicBezTo>
                  <a:lnTo>
                    <a:pt x="1154130" y="1358004"/>
                  </a:lnTo>
                  <a:cubicBezTo>
                    <a:pt x="1148619" y="1362224"/>
                    <a:pt x="1143567" y="1366444"/>
                    <a:pt x="1138056" y="1370665"/>
                  </a:cubicBezTo>
                  <a:cubicBezTo>
                    <a:pt x="1127952" y="1371569"/>
                    <a:pt x="1118307" y="1372775"/>
                    <a:pt x="1108204" y="1373679"/>
                  </a:cubicBezTo>
                  <a:lnTo>
                    <a:pt x="1087537" y="1361018"/>
                  </a:lnTo>
                  <a:lnTo>
                    <a:pt x="1065033" y="1361018"/>
                  </a:lnTo>
                  <a:cubicBezTo>
                    <a:pt x="1063655" y="1364334"/>
                    <a:pt x="1061818" y="1367349"/>
                    <a:pt x="1060440" y="1370665"/>
                  </a:cubicBezTo>
                  <a:cubicBezTo>
                    <a:pt x="1054929" y="1371569"/>
                    <a:pt x="1049877" y="1372775"/>
                    <a:pt x="1044366" y="1373679"/>
                  </a:cubicBezTo>
                  <a:cubicBezTo>
                    <a:pt x="1037477" y="1369459"/>
                    <a:pt x="1031047" y="1365239"/>
                    <a:pt x="1024158" y="1361018"/>
                  </a:cubicBezTo>
                  <a:lnTo>
                    <a:pt x="998440" y="1361018"/>
                  </a:lnTo>
                  <a:cubicBezTo>
                    <a:pt x="993847" y="1353181"/>
                    <a:pt x="988795" y="1345042"/>
                    <a:pt x="984202" y="1337204"/>
                  </a:cubicBezTo>
                  <a:cubicBezTo>
                    <a:pt x="979150" y="1332080"/>
                    <a:pt x="973639" y="1326654"/>
                    <a:pt x="968587" y="1321529"/>
                  </a:cubicBezTo>
                  <a:cubicBezTo>
                    <a:pt x="972721" y="1315802"/>
                    <a:pt x="976854" y="1309773"/>
                    <a:pt x="980987" y="1304046"/>
                  </a:cubicBezTo>
                  <a:lnTo>
                    <a:pt x="965373" y="1291084"/>
                  </a:lnTo>
                  <a:cubicBezTo>
                    <a:pt x="973180" y="1282040"/>
                    <a:pt x="980987" y="1273298"/>
                    <a:pt x="988795" y="1264255"/>
                  </a:cubicBezTo>
                  <a:lnTo>
                    <a:pt x="1024158" y="1264255"/>
                  </a:lnTo>
                  <a:cubicBezTo>
                    <a:pt x="1026914" y="1257925"/>
                    <a:pt x="1029210" y="1251594"/>
                    <a:pt x="1031966" y="1245264"/>
                  </a:cubicBezTo>
                  <a:lnTo>
                    <a:pt x="1074677" y="1245264"/>
                  </a:lnTo>
                  <a:cubicBezTo>
                    <a:pt x="1083863" y="1240441"/>
                    <a:pt x="1092589" y="1235618"/>
                    <a:pt x="1101774" y="1230795"/>
                  </a:cubicBezTo>
                  <a:lnTo>
                    <a:pt x="1130248" y="1224464"/>
                  </a:lnTo>
                  <a:lnTo>
                    <a:pt x="1166989" y="1224464"/>
                  </a:lnTo>
                  <a:cubicBezTo>
                    <a:pt x="1178930" y="1230795"/>
                    <a:pt x="1191330" y="1237125"/>
                    <a:pt x="1203271" y="1243455"/>
                  </a:cubicBezTo>
                  <a:cubicBezTo>
                    <a:pt x="1213375" y="1244963"/>
                    <a:pt x="1223479" y="1246771"/>
                    <a:pt x="1233582" y="1248279"/>
                  </a:cubicBezTo>
                  <a:cubicBezTo>
                    <a:pt x="1242768" y="1247374"/>
                    <a:pt x="1251494" y="1246168"/>
                    <a:pt x="1260679" y="1245264"/>
                  </a:cubicBezTo>
                  <a:cubicBezTo>
                    <a:pt x="1267109" y="1246168"/>
                    <a:pt x="1273079" y="1247374"/>
                    <a:pt x="1279509" y="1248279"/>
                  </a:cubicBezTo>
                  <a:cubicBezTo>
                    <a:pt x="1289613" y="1244661"/>
                    <a:pt x="1299716" y="1240742"/>
                    <a:pt x="1309820" y="1237125"/>
                  </a:cubicBezTo>
                  <a:cubicBezTo>
                    <a:pt x="1310739" y="1232905"/>
                    <a:pt x="1312117" y="1228685"/>
                    <a:pt x="1313035" y="1224464"/>
                  </a:cubicBezTo>
                  <a:cubicBezTo>
                    <a:pt x="1310739" y="1217531"/>
                    <a:pt x="1308902" y="1210900"/>
                    <a:pt x="1306605" y="1203966"/>
                  </a:cubicBezTo>
                  <a:cubicBezTo>
                    <a:pt x="1301094" y="1201856"/>
                    <a:pt x="1296042" y="1199746"/>
                    <a:pt x="1290531" y="1197636"/>
                  </a:cubicBezTo>
                  <a:cubicBezTo>
                    <a:pt x="1286857" y="1196430"/>
                    <a:pt x="1283183" y="1195526"/>
                    <a:pt x="1279509" y="1194320"/>
                  </a:cubicBezTo>
                  <a:cubicBezTo>
                    <a:pt x="1277213" y="1191004"/>
                    <a:pt x="1275375" y="1187990"/>
                    <a:pt x="1273079" y="1184674"/>
                  </a:cubicBezTo>
                  <a:lnTo>
                    <a:pt x="1243227" y="1164176"/>
                  </a:lnTo>
                  <a:lnTo>
                    <a:pt x="1214293" y="1151515"/>
                  </a:lnTo>
                  <a:cubicBezTo>
                    <a:pt x="1208323" y="1146089"/>
                    <a:pt x="1202812" y="1140965"/>
                    <a:pt x="1196841" y="1135539"/>
                  </a:cubicBezTo>
                  <a:cubicBezTo>
                    <a:pt x="1201434" y="1134031"/>
                    <a:pt x="1206486" y="1132223"/>
                    <a:pt x="1211079" y="1130715"/>
                  </a:cubicBezTo>
                  <a:cubicBezTo>
                    <a:pt x="1218427" y="1123481"/>
                    <a:pt x="1226234" y="1115945"/>
                    <a:pt x="1233582" y="1108710"/>
                  </a:cubicBezTo>
                  <a:cubicBezTo>
                    <a:pt x="1229449" y="1105394"/>
                    <a:pt x="1224856" y="1102380"/>
                    <a:pt x="1220723" y="1099064"/>
                  </a:cubicBezTo>
                  <a:cubicBezTo>
                    <a:pt x="1230827" y="1094241"/>
                    <a:pt x="1240931" y="1089719"/>
                    <a:pt x="1251035" y="1084896"/>
                  </a:cubicBezTo>
                  <a:lnTo>
                    <a:pt x="1251035" y="1081580"/>
                  </a:lnTo>
                  <a:cubicBezTo>
                    <a:pt x="1245064" y="1082786"/>
                    <a:pt x="1239553" y="1083690"/>
                    <a:pt x="1233582" y="1084896"/>
                  </a:cubicBezTo>
                  <a:cubicBezTo>
                    <a:pt x="1226234" y="1085800"/>
                    <a:pt x="1218427" y="1087006"/>
                    <a:pt x="1211079" y="1087910"/>
                  </a:cubicBezTo>
                  <a:cubicBezTo>
                    <a:pt x="1207404" y="1090623"/>
                    <a:pt x="1203730" y="1093035"/>
                    <a:pt x="1200056" y="1095748"/>
                  </a:cubicBezTo>
                  <a:lnTo>
                    <a:pt x="1178012" y="1095748"/>
                  </a:lnTo>
                  <a:lnTo>
                    <a:pt x="1160560" y="1105394"/>
                  </a:lnTo>
                  <a:lnTo>
                    <a:pt x="1160560" y="1127701"/>
                  </a:lnTo>
                  <a:cubicBezTo>
                    <a:pt x="1165152" y="1128605"/>
                    <a:pt x="1170204" y="1129811"/>
                    <a:pt x="1174797" y="1130715"/>
                  </a:cubicBezTo>
                  <a:lnTo>
                    <a:pt x="1193627" y="1130715"/>
                  </a:lnTo>
                  <a:cubicBezTo>
                    <a:pt x="1192708" y="1133428"/>
                    <a:pt x="1191330" y="1136141"/>
                    <a:pt x="1190412" y="1138854"/>
                  </a:cubicBezTo>
                  <a:cubicBezTo>
                    <a:pt x="1182604" y="1139759"/>
                    <a:pt x="1174797" y="1140965"/>
                    <a:pt x="1166989" y="1141869"/>
                  </a:cubicBezTo>
                  <a:lnTo>
                    <a:pt x="1136678" y="1160860"/>
                  </a:lnTo>
                  <a:cubicBezTo>
                    <a:pt x="1132544" y="1158750"/>
                    <a:pt x="1127952" y="1156640"/>
                    <a:pt x="1123818" y="1154530"/>
                  </a:cubicBezTo>
                  <a:cubicBezTo>
                    <a:pt x="1126115" y="1149405"/>
                    <a:pt x="1127952" y="1143979"/>
                    <a:pt x="1130248" y="1138854"/>
                  </a:cubicBezTo>
                  <a:lnTo>
                    <a:pt x="1104989" y="1132524"/>
                  </a:lnTo>
                  <a:cubicBezTo>
                    <a:pt x="1107285" y="1131017"/>
                    <a:pt x="1109122" y="1129208"/>
                    <a:pt x="1111418" y="1127701"/>
                  </a:cubicBezTo>
                  <a:cubicBezTo>
                    <a:pt x="1117848" y="1125591"/>
                    <a:pt x="1123818" y="1123481"/>
                    <a:pt x="1130248" y="1121371"/>
                  </a:cubicBezTo>
                  <a:cubicBezTo>
                    <a:pt x="1127952" y="1118055"/>
                    <a:pt x="1126115" y="1115040"/>
                    <a:pt x="1123818" y="1111725"/>
                  </a:cubicBezTo>
                  <a:lnTo>
                    <a:pt x="1087537" y="1105394"/>
                  </a:lnTo>
                  <a:lnTo>
                    <a:pt x="1087537" y="1095748"/>
                  </a:lnTo>
                  <a:cubicBezTo>
                    <a:pt x="1081107" y="1096954"/>
                    <a:pt x="1074677" y="1097858"/>
                    <a:pt x="1068248" y="1099064"/>
                  </a:cubicBezTo>
                  <a:cubicBezTo>
                    <a:pt x="1065492" y="1104490"/>
                    <a:pt x="1063196" y="1109614"/>
                    <a:pt x="1060440" y="1115040"/>
                  </a:cubicBezTo>
                  <a:cubicBezTo>
                    <a:pt x="1054010" y="1121974"/>
                    <a:pt x="1048040" y="1128605"/>
                    <a:pt x="1041610" y="1135539"/>
                  </a:cubicBezTo>
                  <a:cubicBezTo>
                    <a:pt x="1042529" y="1136744"/>
                    <a:pt x="1043447" y="1137649"/>
                    <a:pt x="1044366" y="1138854"/>
                  </a:cubicBezTo>
                  <a:lnTo>
                    <a:pt x="1031966" y="1145185"/>
                  </a:lnTo>
                  <a:cubicBezTo>
                    <a:pt x="1029210" y="1143979"/>
                    <a:pt x="1026914" y="1143075"/>
                    <a:pt x="1024158" y="1141869"/>
                  </a:cubicBezTo>
                  <a:cubicBezTo>
                    <a:pt x="1023240" y="1153927"/>
                    <a:pt x="1021862" y="1166286"/>
                    <a:pt x="1020943" y="1178344"/>
                  </a:cubicBezTo>
                  <a:cubicBezTo>
                    <a:pt x="1016810" y="1181659"/>
                    <a:pt x="1012217" y="1184674"/>
                    <a:pt x="1008084" y="1187990"/>
                  </a:cubicBezTo>
                  <a:lnTo>
                    <a:pt x="998440" y="1206981"/>
                  </a:lnTo>
                  <a:cubicBezTo>
                    <a:pt x="1001654" y="1212708"/>
                    <a:pt x="1004869" y="1218737"/>
                    <a:pt x="1008084" y="1224464"/>
                  </a:cubicBezTo>
                  <a:lnTo>
                    <a:pt x="1008084" y="1234111"/>
                  </a:lnTo>
                  <a:cubicBezTo>
                    <a:pt x="1014054" y="1237125"/>
                    <a:pt x="1019566" y="1240441"/>
                    <a:pt x="1025536" y="1243455"/>
                  </a:cubicBezTo>
                  <a:lnTo>
                    <a:pt x="1024158" y="1245264"/>
                  </a:lnTo>
                  <a:cubicBezTo>
                    <a:pt x="1015432" y="1246168"/>
                    <a:pt x="1007166" y="1247374"/>
                    <a:pt x="998440" y="1248279"/>
                  </a:cubicBezTo>
                  <a:cubicBezTo>
                    <a:pt x="994306" y="1251594"/>
                    <a:pt x="990173" y="1254609"/>
                    <a:pt x="986039" y="1257925"/>
                  </a:cubicBezTo>
                  <a:cubicBezTo>
                    <a:pt x="980069" y="1262145"/>
                    <a:pt x="974558" y="1266365"/>
                    <a:pt x="968587" y="1270585"/>
                  </a:cubicBezTo>
                  <a:cubicBezTo>
                    <a:pt x="966291" y="1267269"/>
                    <a:pt x="964454" y="1264255"/>
                    <a:pt x="962158" y="1260939"/>
                  </a:cubicBezTo>
                  <a:lnTo>
                    <a:pt x="962158" y="1254609"/>
                  </a:lnTo>
                  <a:cubicBezTo>
                    <a:pt x="958024" y="1253705"/>
                    <a:pt x="953432" y="1252499"/>
                    <a:pt x="949298" y="1251594"/>
                  </a:cubicBezTo>
                  <a:cubicBezTo>
                    <a:pt x="945624" y="1250389"/>
                    <a:pt x="941950" y="1249484"/>
                    <a:pt x="938276" y="1248279"/>
                  </a:cubicBezTo>
                  <a:lnTo>
                    <a:pt x="911179" y="1257925"/>
                  </a:lnTo>
                  <a:cubicBezTo>
                    <a:pt x="915772" y="1263351"/>
                    <a:pt x="920824" y="1268475"/>
                    <a:pt x="925417" y="1273901"/>
                  </a:cubicBezTo>
                  <a:cubicBezTo>
                    <a:pt x="922202" y="1274806"/>
                    <a:pt x="918987" y="1276011"/>
                    <a:pt x="915772" y="1276916"/>
                  </a:cubicBezTo>
                  <a:lnTo>
                    <a:pt x="904750" y="1276916"/>
                  </a:lnTo>
                  <a:lnTo>
                    <a:pt x="892350" y="1264255"/>
                  </a:lnTo>
                  <a:cubicBezTo>
                    <a:pt x="890053" y="1265159"/>
                    <a:pt x="888216" y="1266365"/>
                    <a:pt x="885920" y="1267269"/>
                  </a:cubicBezTo>
                  <a:cubicBezTo>
                    <a:pt x="888216" y="1272997"/>
                    <a:pt x="890053" y="1279026"/>
                    <a:pt x="892350" y="1284753"/>
                  </a:cubicBezTo>
                  <a:cubicBezTo>
                    <a:pt x="896483" y="1288973"/>
                    <a:pt x="900616" y="1293495"/>
                    <a:pt x="904750" y="1297715"/>
                  </a:cubicBezTo>
                  <a:cubicBezTo>
                    <a:pt x="901535" y="1299825"/>
                    <a:pt x="898779" y="1301936"/>
                    <a:pt x="895564" y="1304046"/>
                  </a:cubicBezTo>
                  <a:cubicBezTo>
                    <a:pt x="899698" y="1307060"/>
                    <a:pt x="903831" y="1310376"/>
                    <a:pt x="907965" y="1313390"/>
                  </a:cubicBezTo>
                  <a:lnTo>
                    <a:pt x="918987" y="1321529"/>
                  </a:lnTo>
                  <a:lnTo>
                    <a:pt x="918987" y="1337204"/>
                  </a:lnTo>
                  <a:lnTo>
                    <a:pt x="898320" y="1330874"/>
                  </a:lnTo>
                  <a:cubicBezTo>
                    <a:pt x="900616" y="1335094"/>
                    <a:pt x="902453" y="1339315"/>
                    <a:pt x="904750" y="1343535"/>
                  </a:cubicBezTo>
                  <a:cubicBezTo>
                    <a:pt x="900616" y="1344741"/>
                    <a:pt x="896483" y="1345645"/>
                    <a:pt x="892350" y="1346851"/>
                  </a:cubicBezTo>
                  <a:cubicBezTo>
                    <a:pt x="895564" y="1352578"/>
                    <a:pt x="898320" y="1358607"/>
                    <a:pt x="901535" y="1364334"/>
                  </a:cubicBezTo>
                  <a:lnTo>
                    <a:pt x="885920" y="1364334"/>
                  </a:lnTo>
                  <a:lnTo>
                    <a:pt x="865253" y="1356195"/>
                  </a:lnTo>
                  <a:cubicBezTo>
                    <a:pt x="862957" y="1349865"/>
                    <a:pt x="861120" y="1343535"/>
                    <a:pt x="858823" y="1337204"/>
                  </a:cubicBezTo>
                  <a:cubicBezTo>
                    <a:pt x="857905" y="1331477"/>
                    <a:pt x="856527" y="1325448"/>
                    <a:pt x="855608" y="1319721"/>
                  </a:cubicBezTo>
                  <a:cubicBezTo>
                    <a:pt x="851475" y="1315500"/>
                    <a:pt x="846882" y="1311280"/>
                    <a:pt x="842749" y="1307060"/>
                  </a:cubicBezTo>
                  <a:cubicBezTo>
                    <a:pt x="839994" y="1301634"/>
                    <a:pt x="837697" y="1296510"/>
                    <a:pt x="834942" y="1291084"/>
                  </a:cubicBezTo>
                  <a:lnTo>
                    <a:pt x="834942" y="1284753"/>
                  </a:lnTo>
                  <a:lnTo>
                    <a:pt x="828512" y="1284753"/>
                  </a:lnTo>
                  <a:lnTo>
                    <a:pt x="828512" y="1280232"/>
                  </a:lnTo>
                  <a:cubicBezTo>
                    <a:pt x="824379" y="1276011"/>
                    <a:pt x="820245" y="1271490"/>
                    <a:pt x="816112" y="1267269"/>
                  </a:cubicBezTo>
                  <a:lnTo>
                    <a:pt x="816112" y="1257925"/>
                  </a:lnTo>
                  <a:lnTo>
                    <a:pt x="816112" y="1240441"/>
                  </a:lnTo>
                  <a:cubicBezTo>
                    <a:pt x="817030" y="1237125"/>
                    <a:pt x="818408" y="1234111"/>
                    <a:pt x="819327" y="1230795"/>
                  </a:cubicBezTo>
                  <a:cubicBezTo>
                    <a:pt x="818408" y="1229890"/>
                    <a:pt x="817030" y="1228685"/>
                    <a:pt x="816112" y="1227780"/>
                  </a:cubicBezTo>
                  <a:cubicBezTo>
                    <a:pt x="813815" y="1226575"/>
                    <a:pt x="811978" y="1225670"/>
                    <a:pt x="809682" y="1224464"/>
                  </a:cubicBezTo>
                  <a:cubicBezTo>
                    <a:pt x="807386" y="1221450"/>
                    <a:pt x="805549" y="1218134"/>
                    <a:pt x="803252" y="1215120"/>
                  </a:cubicBezTo>
                  <a:cubicBezTo>
                    <a:pt x="801875" y="1213010"/>
                    <a:pt x="800038" y="1210598"/>
                    <a:pt x="798660" y="1208488"/>
                  </a:cubicBezTo>
                  <a:cubicBezTo>
                    <a:pt x="791312" y="1205775"/>
                    <a:pt x="783504" y="1203363"/>
                    <a:pt x="776156" y="1200650"/>
                  </a:cubicBezTo>
                  <a:lnTo>
                    <a:pt x="760541" y="1191306"/>
                  </a:lnTo>
                  <a:cubicBezTo>
                    <a:pt x="753652" y="1189196"/>
                    <a:pt x="746763" y="1186784"/>
                    <a:pt x="739874" y="1184674"/>
                  </a:cubicBezTo>
                  <a:cubicBezTo>
                    <a:pt x="733904" y="1177741"/>
                    <a:pt x="728392" y="1171109"/>
                    <a:pt x="722422" y="1164176"/>
                  </a:cubicBezTo>
                  <a:lnTo>
                    <a:pt x="727015" y="1164176"/>
                  </a:lnTo>
                  <a:cubicBezTo>
                    <a:pt x="724259" y="1158750"/>
                    <a:pt x="721963" y="1153625"/>
                    <a:pt x="719207" y="1148199"/>
                  </a:cubicBezTo>
                  <a:lnTo>
                    <a:pt x="719207" y="1138854"/>
                  </a:lnTo>
                  <a:cubicBezTo>
                    <a:pt x="713696" y="1137649"/>
                    <a:pt x="708644" y="1136744"/>
                    <a:pt x="703133" y="1135539"/>
                  </a:cubicBezTo>
                  <a:cubicBezTo>
                    <a:pt x="699918" y="1139759"/>
                    <a:pt x="697163" y="1143979"/>
                    <a:pt x="693948" y="1148199"/>
                  </a:cubicBezTo>
                  <a:cubicBezTo>
                    <a:pt x="693029" y="1145185"/>
                    <a:pt x="691651" y="1141869"/>
                    <a:pt x="690733" y="1138854"/>
                  </a:cubicBezTo>
                  <a:lnTo>
                    <a:pt x="690733" y="1130715"/>
                  </a:lnTo>
                  <a:lnTo>
                    <a:pt x="690733" y="1127701"/>
                  </a:lnTo>
                  <a:lnTo>
                    <a:pt x="693948" y="1127701"/>
                  </a:lnTo>
                  <a:cubicBezTo>
                    <a:pt x="688896" y="1126495"/>
                    <a:pt x="684303" y="1125591"/>
                    <a:pt x="679251" y="1124385"/>
                  </a:cubicBezTo>
                  <a:cubicBezTo>
                    <a:pt x="672822" y="1127098"/>
                    <a:pt x="666851" y="1129811"/>
                    <a:pt x="660421" y="1132524"/>
                  </a:cubicBezTo>
                  <a:lnTo>
                    <a:pt x="660421" y="1145185"/>
                  </a:lnTo>
                  <a:cubicBezTo>
                    <a:pt x="659503" y="1148199"/>
                    <a:pt x="658125" y="1151515"/>
                    <a:pt x="657207" y="1154530"/>
                  </a:cubicBezTo>
                  <a:lnTo>
                    <a:pt x="666851" y="1167190"/>
                  </a:lnTo>
                  <a:lnTo>
                    <a:pt x="687518" y="1181659"/>
                  </a:lnTo>
                  <a:cubicBezTo>
                    <a:pt x="690733" y="1187990"/>
                    <a:pt x="693488" y="1194320"/>
                    <a:pt x="696703" y="1200650"/>
                  </a:cubicBezTo>
                  <a:cubicBezTo>
                    <a:pt x="705429" y="1208488"/>
                    <a:pt x="713696" y="1216627"/>
                    <a:pt x="722422" y="1224464"/>
                  </a:cubicBezTo>
                  <a:lnTo>
                    <a:pt x="736659" y="1224464"/>
                  </a:lnTo>
                  <a:lnTo>
                    <a:pt x="746304" y="1230795"/>
                  </a:lnTo>
                  <a:lnTo>
                    <a:pt x="736659" y="1237125"/>
                  </a:lnTo>
                  <a:lnTo>
                    <a:pt x="758704" y="1245264"/>
                  </a:lnTo>
                  <a:cubicBezTo>
                    <a:pt x="764674" y="1247374"/>
                    <a:pt x="770185" y="1249484"/>
                    <a:pt x="776156" y="1251594"/>
                  </a:cubicBezTo>
                  <a:lnTo>
                    <a:pt x="795445" y="1264255"/>
                  </a:lnTo>
                  <a:cubicBezTo>
                    <a:pt x="796363" y="1266365"/>
                    <a:pt x="797741" y="1268475"/>
                    <a:pt x="798660" y="1270585"/>
                  </a:cubicBezTo>
                  <a:cubicBezTo>
                    <a:pt x="796363" y="1274203"/>
                    <a:pt x="794526" y="1278121"/>
                    <a:pt x="792230" y="1281739"/>
                  </a:cubicBezTo>
                  <a:lnTo>
                    <a:pt x="782586" y="1267269"/>
                  </a:lnTo>
                  <a:cubicBezTo>
                    <a:pt x="774778" y="1266365"/>
                    <a:pt x="766511" y="1265159"/>
                    <a:pt x="758704" y="1264255"/>
                  </a:cubicBezTo>
                  <a:cubicBezTo>
                    <a:pt x="756408" y="1269982"/>
                    <a:pt x="754570" y="1276011"/>
                    <a:pt x="752274" y="1281739"/>
                  </a:cubicBezTo>
                  <a:cubicBezTo>
                    <a:pt x="757326" y="1284753"/>
                    <a:pt x="761919" y="1288069"/>
                    <a:pt x="766971" y="1291084"/>
                  </a:cubicBezTo>
                  <a:cubicBezTo>
                    <a:pt x="766052" y="1295304"/>
                    <a:pt x="764674" y="1299825"/>
                    <a:pt x="763756" y="1304046"/>
                  </a:cubicBezTo>
                  <a:cubicBezTo>
                    <a:pt x="761000" y="1304950"/>
                    <a:pt x="758245" y="1306156"/>
                    <a:pt x="755489" y="1307060"/>
                  </a:cubicBezTo>
                  <a:lnTo>
                    <a:pt x="743089" y="1327860"/>
                  </a:lnTo>
                  <a:cubicBezTo>
                    <a:pt x="739874" y="1328764"/>
                    <a:pt x="736659" y="1329970"/>
                    <a:pt x="733444" y="1330874"/>
                  </a:cubicBezTo>
                  <a:lnTo>
                    <a:pt x="733444" y="1327860"/>
                  </a:lnTo>
                  <a:cubicBezTo>
                    <a:pt x="734363" y="1325750"/>
                    <a:pt x="735741" y="1323639"/>
                    <a:pt x="736659" y="1321529"/>
                  </a:cubicBezTo>
                  <a:lnTo>
                    <a:pt x="736659" y="1307060"/>
                  </a:lnTo>
                  <a:cubicBezTo>
                    <a:pt x="738956" y="1306156"/>
                    <a:pt x="740793" y="1304950"/>
                    <a:pt x="743089" y="1304046"/>
                  </a:cubicBezTo>
                  <a:cubicBezTo>
                    <a:pt x="740793" y="1298620"/>
                    <a:pt x="738956" y="1293495"/>
                    <a:pt x="736659" y="1288069"/>
                  </a:cubicBezTo>
                  <a:cubicBezTo>
                    <a:pt x="733444" y="1283246"/>
                    <a:pt x="730230" y="1278724"/>
                    <a:pt x="727015" y="1273901"/>
                  </a:cubicBezTo>
                  <a:cubicBezTo>
                    <a:pt x="725637" y="1272695"/>
                    <a:pt x="723800" y="1271791"/>
                    <a:pt x="722422" y="1270585"/>
                  </a:cubicBezTo>
                  <a:cubicBezTo>
                    <a:pt x="719207" y="1267269"/>
                    <a:pt x="715992" y="1264255"/>
                    <a:pt x="712777" y="1260939"/>
                  </a:cubicBezTo>
                  <a:cubicBezTo>
                    <a:pt x="707266" y="1258829"/>
                    <a:pt x="702214" y="1256719"/>
                    <a:pt x="696703" y="1254609"/>
                  </a:cubicBezTo>
                  <a:cubicBezTo>
                    <a:pt x="693488" y="1251594"/>
                    <a:pt x="690733" y="1248279"/>
                    <a:pt x="687518" y="1245264"/>
                  </a:cubicBezTo>
                  <a:lnTo>
                    <a:pt x="673281" y="1243455"/>
                  </a:lnTo>
                  <a:cubicBezTo>
                    <a:pt x="667770" y="1239235"/>
                    <a:pt x="662718" y="1235015"/>
                    <a:pt x="657207" y="1230795"/>
                  </a:cubicBezTo>
                  <a:cubicBezTo>
                    <a:pt x="649399" y="1224464"/>
                    <a:pt x="641132" y="1218134"/>
                    <a:pt x="633325" y="1211804"/>
                  </a:cubicBezTo>
                  <a:lnTo>
                    <a:pt x="617710" y="1200650"/>
                  </a:lnTo>
                  <a:cubicBezTo>
                    <a:pt x="616791" y="1191004"/>
                    <a:pt x="615414" y="1181659"/>
                    <a:pt x="614495" y="1172013"/>
                  </a:cubicBezTo>
                  <a:cubicBezTo>
                    <a:pt x="610821" y="1170506"/>
                    <a:pt x="607147" y="1168697"/>
                    <a:pt x="603473" y="1167190"/>
                  </a:cubicBezTo>
                  <a:lnTo>
                    <a:pt x="584184" y="1160860"/>
                  </a:lnTo>
                  <a:cubicBezTo>
                    <a:pt x="580510" y="1162066"/>
                    <a:pt x="576835" y="1162970"/>
                    <a:pt x="573161" y="1164176"/>
                  </a:cubicBezTo>
                  <a:cubicBezTo>
                    <a:pt x="569028" y="1167793"/>
                    <a:pt x="564435" y="1171712"/>
                    <a:pt x="560302" y="1175329"/>
                  </a:cubicBezTo>
                  <a:cubicBezTo>
                    <a:pt x="558006" y="1176233"/>
                    <a:pt x="556169" y="1177439"/>
                    <a:pt x="553872" y="1178344"/>
                  </a:cubicBezTo>
                  <a:cubicBezTo>
                    <a:pt x="546065" y="1183770"/>
                    <a:pt x="538257" y="1188894"/>
                    <a:pt x="530450" y="1194320"/>
                  </a:cubicBezTo>
                  <a:cubicBezTo>
                    <a:pt x="517131" y="1191004"/>
                    <a:pt x="503813" y="1187990"/>
                    <a:pt x="490494" y="1184674"/>
                  </a:cubicBezTo>
                  <a:cubicBezTo>
                    <a:pt x="479472" y="1187990"/>
                    <a:pt x="468449" y="1191004"/>
                    <a:pt x="457427" y="1194320"/>
                  </a:cubicBezTo>
                  <a:cubicBezTo>
                    <a:pt x="456508" y="1199143"/>
                    <a:pt x="455131" y="1203665"/>
                    <a:pt x="454212" y="1208488"/>
                  </a:cubicBezTo>
                  <a:lnTo>
                    <a:pt x="454212" y="1227780"/>
                  </a:lnTo>
                  <a:lnTo>
                    <a:pt x="431708" y="1245264"/>
                  </a:lnTo>
                  <a:cubicBezTo>
                    <a:pt x="423901" y="1246168"/>
                    <a:pt x="415634" y="1247374"/>
                    <a:pt x="407826" y="1248279"/>
                  </a:cubicBezTo>
                  <a:cubicBezTo>
                    <a:pt x="406908" y="1251594"/>
                    <a:pt x="405530" y="1254609"/>
                    <a:pt x="404612" y="1257925"/>
                  </a:cubicBezTo>
                  <a:cubicBezTo>
                    <a:pt x="400478" y="1263351"/>
                    <a:pt x="396345" y="1268475"/>
                    <a:pt x="392211" y="1273901"/>
                  </a:cubicBezTo>
                  <a:cubicBezTo>
                    <a:pt x="389456" y="1280834"/>
                    <a:pt x="387160" y="1287466"/>
                    <a:pt x="384404" y="1294399"/>
                  </a:cubicBezTo>
                  <a:cubicBezTo>
                    <a:pt x="387160" y="1298620"/>
                    <a:pt x="389456" y="1302840"/>
                    <a:pt x="392211" y="1307060"/>
                  </a:cubicBezTo>
                  <a:cubicBezTo>
                    <a:pt x="387619" y="1311280"/>
                    <a:pt x="382567" y="1315500"/>
                    <a:pt x="377974" y="1319721"/>
                  </a:cubicBezTo>
                  <a:cubicBezTo>
                    <a:pt x="375678" y="1325448"/>
                    <a:pt x="373841" y="1331477"/>
                    <a:pt x="371545" y="1337204"/>
                  </a:cubicBezTo>
                  <a:cubicBezTo>
                    <a:pt x="366033" y="1339315"/>
                    <a:pt x="360982" y="1341425"/>
                    <a:pt x="355470" y="1343535"/>
                  </a:cubicBezTo>
                  <a:cubicBezTo>
                    <a:pt x="350878" y="1349262"/>
                    <a:pt x="345826" y="1355291"/>
                    <a:pt x="341233" y="1361018"/>
                  </a:cubicBezTo>
                  <a:lnTo>
                    <a:pt x="310922" y="1361018"/>
                  </a:lnTo>
                  <a:lnTo>
                    <a:pt x="292092" y="1361018"/>
                  </a:lnTo>
                  <a:cubicBezTo>
                    <a:pt x="286581" y="1363129"/>
                    <a:pt x="281529" y="1365239"/>
                    <a:pt x="276018" y="1367349"/>
                  </a:cubicBezTo>
                  <a:cubicBezTo>
                    <a:pt x="273262" y="1371569"/>
                    <a:pt x="270966" y="1376091"/>
                    <a:pt x="268210" y="1380311"/>
                  </a:cubicBezTo>
                  <a:cubicBezTo>
                    <a:pt x="264995" y="1379105"/>
                    <a:pt x="261781" y="1378201"/>
                    <a:pt x="258566" y="1376995"/>
                  </a:cubicBezTo>
                  <a:cubicBezTo>
                    <a:pt x="255351" y="1373679"/>
                    <a:pt x="252595" y="1370665"/>
                    <a:pt x="249380" y="1367349"/>
                  </a:cubicBezTo>
                  <a:cubicBezTo>
                    <a:pt x="247084" y="1362526"/>
                    <a:pt x="245247" y="1358004"/>
                    <a:pt x="242951" y="1353181"/>
                  </a:cubicBezTo>
                  <a:cubicBezTo>
                    <a:pt x="236980" y="1351975"/>
                    <a:pt x="231469" y="1351071"/>
                    <a:pt x="225499" y="1349865"/>
                  </a:cubicBezTo>
                  <a:lnTo>
                    <a:pt x="215854" y="1356195"/>
                  </a:lnTo>
                  <a:cubicBezTo>
                    <a:pt x="210802" y="1355291"/>
                    <a:pt x="205291" y="1354085"/>
                    <a:pt x="200239" y="1353181"/>
                  </a:cubicBezTo>
                  <a:cubicBezTo>
                    <a:pt x="197484" y="1354085"/>
                    <a:pt x="194728" y="1355291"/>
                    <a:pt x="191972" y="1356195"/>
                  </a:cubicBezTo>
                  <a:cubicBezTo>
                    <a:pt x="192891" y="1349865"/>
                    <a:pt x="194269" y="1343535"/>
                    <a:pt x="195187" y="1337204"/>
                  </a:cubicBezTo>
                  <a:cubicBezTo>
                    <a:pt x="194269" y="1332080"/>
                    <a:pt x="192891" y="1326654"/>
                    <a:pt x="191972" y="1321529"/>
                  </a:cubicBezTo>
                  <a:cubicBezTo>
                    <a:pt x="188758" y="1320926"/>
                    <a:pt x="186002" y="1320324"/>
                    <a:pt x="182787" y="1319721"/>
                  </a:cubicBezTo>
                  <a:cubicBezTo>
                    <a:pt x="181869" y="1315500"/>
                    <a:pt x="180491" y="1311280"/>
                    <a:pt x="179572" y="1307060"/>
                  </a:cubicBezTo>
                  <a:lnTo>
                    <a:pt x="179572" y="1291084"/>
                  </a:lnTo>
                  <a:cubicBezTo>
                    <a:pt x="182787" y="1288069"/>
                    <a:pt x="185543" y="1284753"/>
                    <a:pt x="188758" y="1281739"/>
                  </a:cubicBezTo>
                  <a:lnTo>
                    <a:pt x="188758" y="1270585"/>
                  </a:lnTo>
                  <a:cubicBezTo>
                    <a:pt x="191054" y="1265159"/>
                    <a:pt x="192891" y="1260035"/>
                    <a:pt x="195187" y="1254609"/>
                  </a:cubicBezTo>
                  <a:lnTo>
                    <a:pt x="195187" y="1245264"/>
                  </a:lnTo>
                  <a:cubicBezTo>
                    <a:pt x="192891" y="1242551"/>
                    <a:pt x="191054" y="1239838"/>
                    <a:pt x="188758" y="1237125"/>
                  </a:cubicBezTo>
                  <a:lnTo>
                    <a:pt x="188758" y="1227780"/>
                  </a:lnTo>
                  <a:lnTo>
                    <a:pt x="188758" y="1206981"/>
                  </a:lnTo>
                  <a:cubicBezTo>
                    <a:pt x="185543" y="1203966"/>
                    <a:pt x="182787" y="1200650"/>
                    <a:pt x="179572" y="1197636"/>
                  </a:cubicBezTo>
                  <a:lnTo>
                    <a:pt x="209424" y="1175329"/>
                  </a:lnTo>
                  <a:lnTo>
                    <a:pt x="239736" y="1181659"/>
                  </a:lnTo>
                  <a:lnTo>
                    <a:pt x="268210" y="1181659"/>
                  </a:lnTo>
                  <a:cubicBezTo>
                    <a:pt x="276018" y="1182564"/>
                    <a:pt x="284284" y="1183770"/>
                    <a:pt x="292092" y="1184674"/>
                  </a:cubicBezTo>
                  <a:lnTo>
                    <a:pt x="310922" y="1184674"/>
                  </a:lnTo>
                  <a:lnTo>
                    <a:pt x="347663" y="1184674"/>
                  </a:lnTo>
                  <a:cubicBezTo>
                    <a:pt x="350418" y="1179549"/>
                    <a:pt x="352715" y="1174123"/>
                    <a:pt x="355470" y="1168999"/>
                  </a:cubicBezTo>
                  <a:cubicBezTo>
                    <a:pt x="357767" y="1150912"/>
                    <a:pt x="359604" y="1133127"/>
                    <a:pt x="361900" y="1115040"/>
                  </a:cubicBezTo>
                  <a:cubicBezTo>
                    <a:pt x="354093" y="1105093"/>
                    <a:pt x="345826" y="1094844"/>
                    <a:pt x="338018" y="1084896"/>
                  </a:cubicBezTo>
                  <a:lnTo>
                    <a:pt x="322403" y="1071934"/>
                  </a:lnTo>
                  <a:lnTo>
                    <a:pt x="288877" y="1062589"/>
                  </a:lnTo>
                  <a:cubicBezTo>
                    <a:pt x="287959" y="1054752"/>
                    <a:pt x="286581" y="1046613"/>
                    <a:pt x="285662" y="1038775"/>
                  </a:cubicBezTo>
                  <a:cubicBezTo>
                    <a:pt x="294848" y="1037569"/>
                    <a:pt x="303574" y="1036665"/>
                    <a:pt x="312759" y="1035459"/>
                  </a:cubicBezTo>
                  <a:cubicBezTo>
                    <a:pt x="324700" y="1036665"/>
                    <a:pt x="337100" y="1037569"/>
                    <a:pt x="349041" y="1038775"/>
                  </a:cubicBezTo>
                  <a:cubicBezTo>
                    <a:pt x="348581" y="1028827"/>
                    <a:pt x="348122" y="1018578"/>
                    <a:pt x="347663" y="1008631"/>
                  </a:cubicBezTo>
                  <a:cubicBezTo>
                    <a:pt x="353633" y="1012248"/>
                    <a:pt x="359144" y="1016167"/>
                    <a:pt x="365115" y="1019784"/>
                  </a:cubicBezTo>
                  <a:lnTo>
                    <a:pt x="417471" y="998985"/>
                  </a:lnTo>
                  <a:cubicBezTo>
                    <a:pt x="420227" y="991147"/>
                    <a:pt x="422523" y="983008"/>
                    <a:pt x="425278" y="975171"/>
                  </a:cubicBezTo>
                  <a:lnTo>
                    <a:pt x="444567" y="968840"/>
                  </a:lnTo>
                  <a:cubicBezTo>
                    <a:pt x="450538" y="966730"/>
                    <a:pt x="456049" y="964620"/>
                    <a:pt x="462020" y="962510"/>
                  </a:cubicBezTo>
                  <a:lnTo>
                    <a:pt x="471664" y="956180"/>
                  </a:lnTo>
                  <a:lnTo>
                    <a:pt x="493709" y="910059"/>
                  </a:lnTo>
                  <a:lnTo>
                    <a:pt x="520805" y="902221"/>
                  </a:lnTo>
                  <a:lnTo>
                    <a:pt x="538257" y="902221"/>
                  </a:lnTo>
                  <a:cubicBezTo>
                    <a:pt x="540554" y="900111"/>
                    <a:pt x="542391" y="898001"/>
                    <a:pt x="544687" y="895891"/>
                  </a:cubicBezTo>
                  <a:cubicBezTo>
                    <a:pt x="551117" y="894685"/>
                    <a:pt x="557087" y="893781"/>
                    <a:pt x="563517" y="892575"/>
                  </a:cubicBezTo>
                  <a:cubicBezTo>
                    <a:pt x="565813" y="895891"/>
                    <a:pt x="567650" y="898905"/>
                    <a:pt x="569946" y="902221"/>
                  </a:cubicBezTo>
                  <a:cubicBezTo>
                    <a:pt x="573621" y="895891"/>
                    <a:pt x="577295" y="889259"/>
                    <a:pt x="580969" y="882929"/>
                  </a:cubicBezTo>
                  <a:cubicBezTo>
                    <a:pt x="578672" y="878709"/>
                    <a:pt x="576835" y="874488"/>
                    <a:pt x="574539" y="870268"/>
                  </a:cubicBezTo>
                  <a:lnTo>
                    <a:pt x="574539" y="856100"/>
                  </a:lnTo>
                  <a:cubicBezTo>
                    <a:pt x="573161" y="850674"/>
                    <a:pt x="571324" y="845550"/>
                    <a:pt x="569946" y="840124"/>
                  </a:cubicBezTo>
                  <a:cubicBezTo>
                    <a:pt x="569028" y="828970"/>
                    <a:pt x="567650" y="818118"/>
                    <a:pt x="566732" y="806965"/>
                  </a:cubicBezTo>
                  <a:cubicBezTo>
                    <a:pt x="569028" y="802745"/>
                    <a:pt x="570865" y="798223"/>
                    <a:pt x="573161" y="794003"/>
                  </a:cubicBezTo>
                  <a:lnTo>
                    <a:pt x="574539" y="789481"/>
                  </a:lnTo>
                  <a:cubicBezTo>
                    <a:pt x="580969" y="788275"/>
                    <a:pt x="587398" y="787371"/>
                    <a:pt x="593828" y="786165"/>
                  </a:cubicBezTo>
                  <a:cubicBezTo>
                    <a:pt x="597043" y="782849"/>
                    <a:pt x="600258" y="779835"/>
                    <a:pt x="603473" y="776519"/>
                  </a:cubicBezTo>
                  <a:cubicBezTo>
                    <a:pt x="609443" y="773505"/>
                    <a:pt x="614954" y="770189"/>
                    <a:pt x="620925" y="767174"/>
                  </a:cubicBezTo>
                  <a:lnTo>
                    <a:pt x="620925" y="786165"/>
                  </a:lnTo>
                  <a:cubicBezTo>
                    <a:pt x="618628" y="788878"/>
                    <a:pt x="616791" y="791290"/>
                    <a:pt x="614495" y="794003"/>
                  </a:cubicBezTo>
                  <a:cubicBezTo>
                    <a:pt x="615414" y="797319"/>
                    <a:pt x="616791" y="800333"/>
                    <a:pt x="617710" y="803649"/>
                  </a:cubicBezTo>
                  <a:lnTo>
                    <a:pt x="630110" y="809979"/>
                  </a:lnTo>
                  <a:cubicBezTo>
                    <a:pt x="627814" y="813295"/>
                    <a:pt x="625977" y="816310"/>
                    <a:pt x="623680" y="819626"/>
                  </a:cubicBezTo>
                  <a:cubicBezTo>
                    <a:pt x="621843" y="818420"/>
                    <a:pt x="619547" y="817515"/>
                    <a:pt x="617710" y="816310"/>
                  </a:cubicBezTo>
                  <a:cubicBezTo>
                    <a:pt x="611739" y="824147"/>
                    <a:pt x="606228" y="832286"/>
                    <a:pt x="600258" y="840124"/>
                  </a:cubicBezTo>
                  <a:cubicBezTo>
                    <a:pt x="603473" y="845550"/>
                    <a:pt x="606228" y="850674"/>
                    <a:pt x="609443" y="856100"/>
                  </a:cubicBezTo>
                  <a:lnTo>
                    <a:pt x="609443" y="865445"/>
                  </a:lnTo>
                  <a:cubicBezTo>
                    <a:pt x="616332" y="866952"/>
                    <a:pt x="623221" y="868761"/>
                    <a:pt x="630110" y="870268"/>
                  </a:cubicBezTo>
                  <a:lnTo>
                    <a:pt x="630110" y="876598"/>
                  </a:lnTo>
                  <a:lnTo>
                    <a:pt x="630110" y="882929"/>
                  </a:lnTo>
                  <a:lnTo>
                    <a:pt x="650777" y="876598"/>
                  </a:lnTo>
                  <a:cubicBezTo>
                    <a:pt x="654910" y="874488"/>
                    <a:pt x="659503" y="872378"/>
                    <a:pt x="663636" y="870268"/>
                  </a:cubicBezTo>
                  <a:lnTo>
                    <a:pt x="690733" y="879914"/>
                  </a:lnTo>
                  <a:cubicBezTo>
                    <a:pt x="692570" y="884135"/>
                    <a:pt x="694866" y="888355"/>
                    <a:pt x="696703" y="892575"/>
                  </a:cubicBezTo>
                  <a:cubicBezTo>
                    <a:pt x="703133" y="889259"/>
                    <a:pt x="709563" y="886245"/>
                    <a:pt x="715992" y="882929"/>
                  </a:cubicBezTo>
                  <a:lnTo>
                    <a:pt x="749519" y="867254"/>
                  </a:lnTo>
                  <a:cubicBezTo>
                    <a:pt x="759622" y="863636"/>
                    <a:pt x="769267" y="859718"/>
                    <a:pt x="779371" y="856100"/>
                  </a:cubicBezTo>
                  <a:lnTo>
                    <a:pt x="798660" y="862431"/>
                  </a:lnTo>
                  <a:cubicBezTo>
                    <a:pt x="799119" y="865144"/>
                    <a:pt x="799578" y="867555"/>
                    <a:pt x="800038" y="870268"/>
                  </a:cubicBezTo>
                  <a:lnTo>
                    <a:pt x="822542" y="870268"/>
                  </a:lnTo>
                  <a:cubicBezTo>
                    <a:pt x="823460" y="865445"/>
                    <a:pt x="824379" y="860923"/>
                    <a:pt x="825297" y="856100"/>
                  </a:cubicBezTo>
                  <a:cubicBezTo>
                    <a:pt x="836319" y="852784"/>
                    <a:pt x="847801" y="849770"/>
                    <a:pt x="858823" y="846454"/>
                  </a:cubicBezTo>
                  <a:cubicBezTo>
                    <a:pt x="856527" y="838617"/>
                    <a:pt x="854690" y="830478"/>
                    <a:pt x="852394" y="822640"/>
                  </a:cubicBezTo>
                  <a:lnTo>
                    <a:pt x="852394" y="797319"/>
                  </a:lnTo>
                  <a:cubicBezTo>
                    <a:pt x="856527" y="790386"/>
                    <a:pt x="861120" y="783452"/>
                    <a:pt x="865253" y="776519"/>
                  </a:cubicBezTo>
                  <a:cubicBezTo>
                    <a:pt x="872142" y="773505"/>
                    <a:pt x="879031" y="770189"/>
                    <a:pt x="885920" y="767174"/>
                  </a:cubicBezTo>
                  <a:cubicBezTo>
                    <a:pt x="892350" y="775615"/>
                    <a:pt x="898320" y="784055"/>
                    <a:pt x="904750" y="792496"/>
                  </a:cubicBezTo>
                  <a:lnTo>
                    <a:pt x="918987" y="792496"/>
                  </a:lnTo>
                  <a:cubicBezTo>
                    <a:pt x="919905" y="784055"/>
                    <a:pt x="921283" y="775615"/>
                    <a:pt x="922202" y="767174"/>
                  </a:cubicBezTo>
                  <a:cubicBezTo>
                    <a:pt x="923120" y="761447"/>
                    <a:pt x="924498" y="755418"/>
                    <a:pt x="925417" y="749691"/>
                  </a:cubicBezTo>
                  <a:lnTo>
                    <a:pt x="918987" y="749691"/>
                  </a:lnTo>
                  <a:cubicBezTo>
                    <a:pt x="914394" y="746375"/>
                    <a:pt x="909342" y="743360"/>
                    <a:pt x="904750" y="740044"/>
                  </a:cubicBezTo>
                  <a:lnTo>
                    <a:pt x="904750" y="721053"/>
                  </a:lnTo>
                  <a:cubicBezTo>
                    <a:pt x="913935" y="717436"/>
                    <a:pt x="922661" y="713517"/>
                    <a:pt x="931846" y="709900"/>
                  </a:cubicBezTo>
                  <a:lnTo>
                    <a:pt x="958943" y="709900"/>
                  </a:lnTo>
                  <a:cubicBezTo>
                    <a:pt x="967210" y="711106"/>
                    <a:pt x="975936" y="712010"/>
                    <a:pt x="984202" y="713216"/>
                  </a:cubicBezTo>
                  <a:cubicBezTo>
                    <a:pt x="992010" y="712010"/>
                    <a:pt x="1000277" y="711106"/>
                    <a:pt x="1008084" y="709900"/>
                  </a:cubicBezTo>
                  <a:lnTo>
                    <a:pt x="1028751" y="690909"/>
                  </a:lnTo>
                  <a:lnTo>
                    <a:pt x="1008084" y="676440"/>
                  </a:lnTo>
                  <a:lnTo>
                    <a:pt x="965373" y="678248"/>
                  </a:lnTo>
                  <a:lnTo>
                    <a:pt x="928631" y="690909"/>
                  </a:lnTo>
                  <a:lnTo>
                    <a:pt x="892350" y="700254"/>
                  </a:lnTo>
                  <a:cubicBezTo>
                    <a:pt x="888216" y="693924"/>
                    <a:pt x="883624" y="687593"/>
                    <a:pt x="879490" y="681263"/>
                  </a:cubicBezTo>
                  <a:cubicBezTo>
                    <a:pt x="872601" y="678550"/>
                    <a:pt x="865712" y="676138"/>
                    <a:pt x="858823" y="673425"/>
                  </a:cubicBezTo>
                  <a:cubicBezTo>
                    <a:pt x="859742" y="661368"/>
                    <a:pt x="861120" y="649008"/>
                    <a:pt x="862038" y="636951"/>
                  </a:cubicBezTo>
                  <a:cubicBezTo>
                    <a:pt x="858823" y="627304"/>
                    <a:pt x="855608" y="617960"/>
                    <a:pt x="852394" y="608314"/>
                  </a:cubicBezTo>
                  <a:cubicBezTo>
                    <a:pt x="855608" y="600476"/>
                    <a:pt x="858823" y="592337"/>
                    <a:pt x="862038" y="584499"/>
                  </a:cubicBezTo>
                  <a:cubicBezTo>
                    <a:pt x="869846" y="578169"/>
                    <a:pt x="878112" y="571839"/>
                    <a:pt x="885920" y="565509"/>
                  </a:cubicBezTo>
                  <a:lnTo>
                    <a:pt x="935061" y="524211"/>
                  </a:lnTo>
                  <a:cubicBezTo>
                    <a:pt x="939194" y="522101"/>
                    <a:pt x="943787" y="519991"/>
                    <a:pt x="947921" y="517880"/>
                  </a:cubicBezTo>
                  <a:lnTo>
                    <a:pt x="947921" y="504918"/>
                  </a:lnTo>
                  <a:cubicBezTo>
                    <a:pt x="937357" y="497985"/>
                    <a:pt x="926335" y="491353"/>
                    <a:pt x="915772" y="484420"/>
                  </a:cubicBezTo>
                  <a:lnTo>
                    <a:pt x="879490" y="495574"/>
                  </a:lnTo>
                  <a:cubicBezTo>
                    <a:pt x="872601" y="505220"/>
                    <a:pt x="865712" y="514565"/>
                    <a:pt x="858823" y="524211"/>
                  </a:cubicBezTo>
                  <a:lnTo>
                    <a:pt x="858823" y="544709"/>
                  </a:lnTo>
                  <a:lnTo>
                    <a:pt x="825297" y="568523"/>
                  </a:lnTo>
                  <a:cubicBezTo>
                    <a:pt x="811060" y="580279"/>
                    <a:pt x="796823" y="591734"/>
                    <a:pt x="782586" y="603490"/>
                  </a:cubicBezTo>
                  <a:cubicBezTo>
                    <a:pt x="776156" y="618261"/>
                    <a:pt x="770185" y="633333"/>
                    <a:pt x="763756" y="648104"/>
                  </a:cubicBezTo>
                  <a:cubicBezTo>
                    <a:pt x="770185" y="657449"/>
                    <a:pt x="776156" y="667095"/>
                    <a:pt x="782586" y="676440"/>
                  </a:cubicBezTo>
                  <a:cubicBezTo>
                    <a:pt x="788556" y="681263"/>
                    <a:pt x="794067" y="686086"/>
                    <a:pt x="800038" y="690909"/>
                  </a:cubicBezTo>
                  <a:cubicBezTo>
                    <a:pt x="794067" y="704173"/>
                    <a:pt x="788556" y="717436"/>
                    <a:pt x="782586" y="730700"/>
                  </a:cubicBezTo>
                  <a:cubicBezTo>
                    <a:pt x="774778" y="731604"/>
                    <a:pt x="766511" y="732810"/>
                    <a:pt x="758704" y="733714"/>
                  </a:cubicBezTo>
                  <a:cubicBezTo>
                    <a:pt x="756408" y="753308"/>
                    <a:pt x="754570" y="772902"/>
                    <a:pt x="752274" y="792496"/>
                  </a:cubicBezTo>
                  <a:cubicBezTo>
                    <a:pt x="747222" y="801539"/>
                    <a:pt x="741711" y="810582"/>
                    <a:pt x="736659" y="819626"/>
                  </a:cubicBezTo>
                  <a:cubicBezTo>
                    <a:pt x="728852" y="818420"/>
                    <a:pt x="720585" y="817515"/>
                    <a:pt x="712777" y="816310"/>
                  </a:cubicBezTo>
                  <a:cubicBezTo>
                    <a:pt x="707266" y="824147"/>
                    <a:pt x="702214" y="832286"/>
                    <a:pt x="696703" y="840124"/>
                  </a:cubicBezTo>
                  <a:lnTo>
                    <a:pt x="676496" y="840124"/>
                  </a:lnTo>
                  <a:cubicBezTo>
                    <a:pt x="673281" y="830176"/>
                    <a:pt x="670066" y="819927"/>
                    <a:pt x="666851" y="809979"/>
                  </a:cubicBezTo>
                  <a:lnTo>
                    <a:pt x="647562" y="776519"/>
                  </a:lnTo>
                  <a:cubicBezTo>
                    <a:pt x="642969" y="762351"/>
                    <a:pt x="637918" y="747882"/>
                    <a:pt x="633325" y="733714"/>
                  </a:cubicBezTo>
                  <a:cubicBezTo>
                    <a:pt x="628273" y="725877"/>
                    <a:pt x="622762" y="717738"/>
                    <a:pt x="617710" y="709900"/>
                  </a:cubicBezTo>
                  <a:cubicBezTo>
                    <a:pt x="603013" y="723164"/>
                    <a:pt x="587858" y="736427"/>
                    <a:pt x="573161" y="749691"/>
                  </a:cubicBezTo>
                  <a:cubicBezTo>
                    <a:pt x="563517" y="751198"/>
                    <a:pt x="554332" y="753007"/>
                    <a:pt x="544687" y="754514"/>
                  </a:cubicBezTo>
                  <a:lnTo>
                    <a:pt x="511161" y="740044"/>
                  </a:lnTo>
                  <a:cubicBezTo>
                    <a:pt x="508864" y="728891"/>
                    <a:pt x="507027" y="718039"/>
                    <a:pt x="504731" y="706886"/>
                  </a:cubicBezTo>
                  <a:cubicBezTo>
                    <a:pt x="501975" y="681564"/>
                    <a:pt x="499679" y="655942"/>
                    <a:pt x="496924" y="630620"/>
                  </a:cubicBezTo>
                  <a:cubicBezTo>
                    <a:pt x="503813" y="622180"/>
                    <a:pt x="510701" y="613438"/>
                    <a:pt x="517590" y="604998"/>
                  </a:cubicBezTo>
                  <a:cubicBezTo>
                    <a:pt x="536420" y="595954"/>
                    <a:pt x="555709" y="587212"/>
                    <a:pt x="574539" y="578169"/>
                  </a:cubicBezTo>
                  <a:cubicBezTo>
                    <a:pt x="590154" y="566111"/>
                    <a:pt x="605310" y="553752"/>
                    <a:pt x="620925" y="541694"/>
                  </a:cubicBezTo>
                  <a:cubicBezTo>
                    <a:pt x="634243" y="524814"/>
                    <a:pt x="647103" y="507631"/>
                    <a:pt x="660421" y="490750"/>
                  </a:cubicBezTo>
                  <a:cubicBezTo>
                    <a:pt x="678792" y="466936"/>
                    <a:pt x="697622" y="443122"/>
                    <a:pt x="715992" y="419308"/>
                  </a:cubicBezTo>
                  <a:lnTo>
                    <a:pt x="752274" y="389164"/>
                  </a:lnTo>
                  <a:lnTo>
                    <a:pt x="812897" y="343043"/>
                  </a:lnTo>
                  <a:cubicBezTo>
                    <a:pt x="828053" y="336110"/>
                    <a:pt x="843668" y="329478"/>
                    <a:pt x="858823" y="322545"/>
                  </a:cubicBezTo>
                  <a:cubicBezTo>
                    <a:pt x="872142" y="323449"/>
                    <a:pt x="885001" y="324655"/>
                    <a:pt x="898320" y="325559"/>
                  </a:cubicBezTo>
                  <a:cubicBezTo>
                    <a:pt x="908424" y="315612"/>
                    <a:pt x="918528" y="305363"/>
                    <a:pt x="928631" y="295415"/>
                  </a:cubicBezTo>
                  <a:lnTo>
                    <a:pt x="968587" y="295415"/>
                  </a:lnTo>
                  <a:lnTo>
                    <a:pt x="1008084" y="285769"/>
                  </a:lnTo>
                  <a:cubicBezTo>
                    <a:pt x="1031506" y="295716"/>
                    <a:pt x="1054470" y="305965"/>
                    <a:pt x="1077892" y="315913"/>
                  </a:cubicBezTo>
                  <a:lnTo>
                    <a:pt x="1050796" y="325559"/>
                  </a:lnTo>
                  <a:cubicBezTo>
                    <a:pt x="1058603" y="334603"/>
                    <a:pt x="1066870" y="343646"/>
                    <a:pt x="1074677" y="352689"/>
                  </a:cubicBezTo>
                  <a:cubicBezTo>
                    <a:pt x="1082025" y="347866"/>
                    <a:pt x="1089833" y="343043"/>
                    <a:pt x="1097181" y="338220"/>
                  </a:cubicBezTo>
                  <a:cubicBezTo>
                    <a:pt x="1109122" y="345153"/>
                    <a:pt x="1121522" y="352086"/>
                    <a:pt x="1133463" y="359020"/>
                  </a:cubicBezTo>
                  <a:lnTo>
                    <a:pt x="1193627" y="371680"/>
                  </a:lnTo>
                  <a:lnTo>
                    <a:pt x="1279509" y="414485"/>
                  </a:lnTo>
                  <a:cubicBezTo>
                    <a:pt x="1285479" y="420213"/>
                    <a:pt x="1290990" y="426242"/>
                    <a:pt x="1296961" y="431969"/>
                  </a:cubicBezTo>
                  <a:lnTo>
                    <a:pt x="1296961" y="455783"/>
                  </a:lnTo>
                  <a:cubicBezTo>
                    <a:pt x="1289153" y="463319"/>
                    <a:pt x="1280887" y="470554"/>
                    <a:pt x="1273079" y="478090"/>
                  </a:cubicBezTo>
                  <a:lnTo>
                    <a:pt x="1233582" y="484420"/>
                  </a:lnTo>
                  <a:lnTo>
                    <a:pt x="1136678" y="459099"/>
                  </a:lnTo>
                  <a:cubicBezTo>
                    <a:pt x="1131167" y="460003"/>
                    <a:pt x="1126115" y="461209"/>
                    <a:pt x="1120604" y="462113"/>
                  </a:cubicBezTo>
                  <a:lnTo>
                    <a:pt x="1157345" y="490750"/>
                  </a:lnTo>
                  <a:lnTo>
                    <a:pt x="1157345" y="508234"/>
                  </a:lnTo>
                  <a:cubicBezTo>
                    <a:pt x="1158263" y="520292"/>
                    <a:pt x="1159641" y="532651"/>
                    <a:pt x="1160560" y="544709"/>
                  </a:cubicBezTo>
                  <a:lnTo>
                    <a:pt x="1190412" y="554355"/>
                  </a:lnTo>
                  <a:cubicBezTo>
                    <a:pt x="1195923" y="557370"/>
                    <a:pt x="1200975" y="560685"/>
                    <a:pt x="1206486" y="563700"/>
                  </a:cubicBezTo>
                  <a:cubicBezTo>
                    <a:pt x="1207404" y="557370"/>
                    <a:pt x="1208782" y="551039"/>
                    <a:pt x="1209701" y="544709"/>
                  </a:cubicBezTo>
                  <a:cubicBezTo>
                    <a:pt x="1204190" y="539283"/>
                    <a:pt x="1199138" y="534158"/>
                    <a:pt x="1193627" y="528732"/>
                  </a:cubicBezTo>
                  <a:cubicBezTo>
                    <a:pt x="1199138" y="525115"/>
                    <a:pt x="1204190" y="521498"/>
                    <a:pt x="1209701" y="517880"/>
                  </a:cubicBezTo>
                  <a:lnTo>
                    <a:pt x="1263435" y="538379"/>
                  </a:lnTo>
                  <a:cubicBezTo>
                    <a:pt x="1269864" y="535063"/>
                    <a:pt x="1276294" y="532048"/>
                    <a:pt x="1282724" y="528732"/>
                  </a:cubicBezTo>
                  <a:cubicBezTo>
                    <a:pt x="1277213" y="520895"/>
                    <a:pt x="1272161" y="512756"/>
                    <a:pt x="1266649" y="504918"/>
                  </a:cubicBezTo>
                  <a:lnTo>
                    <a:pt x="1319006" y="468444"/>
                  </a:lnTo>
                  <a:lnTo>
                    <a:pt x="1339672" y="468444"/>
                  </a:lnTo>
                  <a:cubicBezTo>
                    <a:pt x="1347021" y="472664"/>
                    <a:pt x="1354828" y="476884"/>
                    <a:pt x="1362176" y="481104"/>
                  </a:cubicBezTo>
                  <a:cubicBezTo>
                    <a:pt x="1365850" y="473870"/>
                    <a:pt x="1369525" y="466334"/>
                    <a:pt x="1373199" y="459099"/>
                  </a:cubicBezTo>
                  <a:cubicBezTo>
                    <a:pt x="1367228" y="451261"/>
                    <a:pt x="1361717" y="443122"/>
                    <a:pt x="1355747" y="435285"/>
                  </a:cubicBezTo>
                  <a:lnTo>
                    <a:pt x="1366769" y="414485"/>
                  </a:lnTo>
                  <a:cubicBezTo>
                    <a:pt x="1360799" y="406045"/>
                    <a:pt x="1355287" y="397604"/>
                    <a:pt x="1349317" y="389164"/>
                  </a:cubicBezTo>
                  <a:lnTo>
                    <a:pt x="1409480" y="405140"/>
                  </a:lnTo>
                  <a:cubicBezTo>
                    <a:pt x="1414992" y="410868"/>
                    <a:pt x="1420044" y="416595"/>
                    <a:pt x="1425555" y="422323"/>
                  </a:cubicBezTo>
                  <a:cubicBezTo>
                    <a:pt x="1415451" y="423529"/>
                    <a:pt x="1405347" y="424433"/>
                    <a:pt x="1395243" y="425639"/>
                  </a:cubicBezTo>
                  <a:lnTo>
                    <a:pt x="1395243" y="450960"/>
                  </a:lnTo>
                  <a:cubicBezTo>
                    <a:pt x="1401214" y="454577"/>
                    <a:pt x="1406725" y="458496"/>
                    <a:pt x="1412695" y="462113"/>
                  </a:cubicBezTo>
                  <a:lnTo>
                    <a:pt x="1446222" y="452769"/>
                  </a:lnTo>
                  <a:cubicBezTo>
                    <a:pt x="1448518" y="444931"/>
                    <a:pt x="1450355" y="436792"/>
                    <a:pt x="1452651" y="428955"/>
                  </a:cubicBezTo>
                  <a:lnTo>
                    <a:pt x="1498578" y="411471"/>
                  </a:lnTo>
                  <a:lnTo>
                    <a:pt x="1574815" y="379518"/>
                  </a:lnTo>
                  <a:cubicBezTo>
                    <a:pt x="1580786" y="380724"/>
                    <a:pt x="1586297" y="381628"/>
                    <a:pt x="1592267" y="382834"/>
                  </a:cubicBezTo>
                  <a:cubicBezTo>
                    <a:pt x="1585378" y="390370"/>
                    <a:pt x="1578490" y="397604"/>
                    <a:pt x="1571601" y="405140"/>
                  </a:cubicBezTo>
                  <a:cubicBezTo>
                    <a:pt x="1580786" y="406045"/>
                    <a:pt x="1589512" y="407251"/>
                    <a:pt x="1598697" y="408155"/>
                  </a:cubicBezTo>
                  <a:cubicBezTo>
                    <a:pt x="1603749" y="403935"/>
                    <a:pt x="1609260" y="399714"/>
                    <a:pt x="1614312" y="395494"/>
                  </a:cubicBezTo>
                  <a:cubicBezTo>
                    <a:pt x="1628549" y="394288"/>
                    <a:pt x="1643246" y="393384"/>
                    <a:pt x="1657483" y="392178"/>
                  </a:cubicBezTo>
                  <a:cubicBezTo>
                    <a:pt x="1667587" y="387054"/>
                    <a:pt x="1677231" y="381628"/>
                    <a:pt x="1687335" y="376503"/>
                  </a:cubicBezTo>
                  <a:cubicBezTo>
                    <a:pt x="1696520" y="384944"/>
                    <a:pt x="1705246" y="393384"/>
                    <a:pt x="1714432" y="401825"/>
                  </a:cubicBezTo>
                  <a:cubicBezTo>
                    <a:pt x="1722239" y="393384"/>
                    <a:pt x="1730506" y="384944"/>
                    <a:pt x="1738313" y="376503"/>
                  </a:cubicBezTo>
                  <a:cubicBezTo>
                    <a:pt x="1731424" y="368666"/>
                    <a:pt x="1724535" y="360527"/>
                    <a:pt x="1717646" y="352689"/>
                  </a:cubicBezTo>
                  <a:lnTo>
                    <a:pt x="1727291" y="340029"/>
                  </a:lnTo>
                  <a:lnTo>
                    <a:pt x="1793884" y="352689"/>
                  </a:lnTo>
                  <a:cubicBezTo>
                    <a:pt x="1803988" y="355704"/>
                    <a:pt x="1814092" y="359020"/>
                    <a:pt x="1824196" y="362034"/>
                  </a:cubicBezTo>
                  <a:lnTo>
                    <a:pt x="1903189" y="408155"/>
                  </a:lnTo>
                  <a:cubicBezTo>
                    <a:pt x="1908700" y="400619"/>
                    <a:pt x="1913752" y="393384"/>
                    <a:pt x="1919263" y="385848"/>
                  </a:cubicBezTo>
                  <a:cubicBezTo>
                    <a:pt x="1911915" y="380121"/>
                    <a:pt x="1904567" y="374092"/>
                    <a:pt x="1897219" y="368364"/>
                  </a:cubicBezTo>
                  <a:lnTo>
                    <a:pt x="1897219" y="359020"/>
                  </a:lnTo>
                  <a:cubicBezTo>
                    <a:pt x="1888033" y="357814"/>
                    <a:pt x="1879307" y="356909"/>
                    <a:pt x="1870122" y="355704"/>
                  </a:cubicBezTo>
                  <a:cubicBezTo>
                    <a:pt x="1872418" y="349976"/>
                    <a:pt x="1874255" y="343947"/>
                    <a:pt x="1876552" y="338220"/>
                  </a:cubicBezTo>
                  <a:cubicBezTo>
                    <a:pt x="1872418" y="326464"/>
                    <a:pt x="1867826" y="315009"/>
                    <a:pt x="1863692" y="303252"/>
                  </a:cubicBezTo>
                  <a:lnTo>
                    <a:pt x="1863692" y="295415"/>
                  </a:lnTo>
                  <a:cubicBezTo>
                    <a:pt x="1877011" y="282151"/>
                    <a:pt x="1889870" y="268888"/>
                    <a:pt x="1903189" y="255624"/>
                  </a:cubicBezTo>
                  <a:cubicBezTo>
                    <a:pt x="1908700" y="243567"/>
                    <a:pt x="1913752" y="231207"/>
                    <a:pt x="1919263" y="219150"/>
                  </a:cubicBezTo>
                  <a:lnTo>
                    <a:pt x="1936715" y="209504"/>
                  </a:lnTo>
                  <a:lnTo>
                    <a:pt x="1995501" y="219150"/>
                  </a:lnTo>
                  <a:cubicBezTo>
                    <a:pt x="1996420" y="226987"/>
                    <a:pt x="1997797" y="235126"/>
                    <a:pt x="1998716" y="242964"/>
                  </a:cubicBezTo>
                  <a:cubicBezTo>
                    <a:pt x="1992286" y="255021"/>
                    <a:pt x="1985856" y="267381"/>
                    <a:pt x="1979427" y="279438"/>
                  </a:cubicBezTo>
                  <a:cubicBezTo>
                    <a:pt x="1983560" y="283659"/>
                    <a:pt x="1988153" y="287879"/>
                    <a:pt x="1992286" y="292099"/>
                  </a:cubicBezTo>
                  <a:cubicBezTo>
                    <a:pt x="1994582" y="299937"/>
                    <a:pt x="1996420" y="308076"/>
                    <a:pt x="1998716" y="315913"/>
                  </a:cubicBezTo>
                  <a:cubicBezTo>
                    <a:pt x="1996420" y="334603"/>
                    <a:pt x="1994582" y="352991"/>
                    <a:pt x="1992286" y="371680"/>
                  </a:cubicBezTo>
                  <a:cubicBezTo>
                    <a:pt x="2001471" y="379518"/>
                    <a:pt x="2010197" y="387657"/>
                    <a:pt x="2019383" y="395494"/>
                  </a:cubicBezTo>
                  <a:cubicBezTo>
                    <a:pt x="2015249" y="403332"/>
                    <a:pt x="2010657" y="411471"/>
                    <a:pt x="2006523" y="419308"/>
                  </a:cubicBezTo>
                  <a:cubicBezTo>
                    <a:pt x="1993205" y="437696"/>
                    <a:pt x="1980345" y="456386"/>
                    <a:pt x="1967027" y="474774"/>
                  </a:cubicBezTo>
                  <a:lnTo>
                    <a:pt x="1989071" y="481104"/>
                  </a:lnTo>
                  <a:cubicBezTo>
                    <a:pt x="1992745" y="475980"/>
                    <a:pt x="1996420" y="470554"/>
                    <a:pt x="2000094" y="465429"/>
                  </a:cubicBezTo>
                  <a:lnTo>
                    <a:pt x="2025812" y="455783"/>
                  </a:lnTo>
                  <a:cubicBezTo>
                    <a:pt x="2027649" y="450056"/>
                    <a:pt x="2029946" y="444027"/>
                    <a:pt x="2031783" y="438299"/>
                  </a:cubicBezTo>
                  <a:cubicBezTo>
                    <a:pt x="2037753" y="431969"/>
                    <a:pt x="2043264" y="425639"/>
                    <a:pt x="2049235" y="419308"/>
                  </a:cubicBezTo>
                  <a:cubicBezTo>
                    <a:pt x="2044642" y="412375"/>
                    <a:pt x="2039590" y="405442"/>
                    <a:pt x="2034998" y="398509"/>
                  </a:cubicBezTo>
                  <a:cubicBezTo>
                    <a:pt x="2038672" y="390671"/>
                    <a:pt x="2042805" y="382532"/>
                    <a:pt x="2046479" y="374695"/>
                  </a:cubicBezTo>
                  <a:cubicBezTo>
                    <a:pt x="2038672" y="373790"/>
                    <a:pt x="2030405" y="372585"/>
                    <a:pt x="2022598" y="371680"/>
                  </a:cubicBezTo>
                  <a:cubicBezTo>
                    <a:pt x="2020301" y="364144"/>
                    <a:pt x="2018464" y="356909"/>
                    <a:pt x="2016168" y="349373"/>
                  </a:cubicBezTo>
                  <a:cubicBezTo>
                    <a:pt x="2022598" y="336110"/>
                    <a:pt x="2028568" y="322846"/>
                    <a:pt x="2034998" y="309583"/>
                  </a:cubicBezTo>
                  <a:cubicBezTo>
                    <a:pt x="2024435" y="298429"/>
                    <a:pt x="2013872" y="287577"/>
                    <a:pt x="2003308" y="276424"/>
                  </a:cubicBezTo>
                  <a:cubicBezTo>
                    <a:pt x="2017546" y="267381"/>
                    <a:pt x="2032242" y="258337"/>
                    <a:pt x="2046479" y="249294"/>
                  </a:cubicBezTo>
                  <a:cubicBezTo>
                    <a:pt x="2044183" y="239346"/>
                    <a:pt x="2042346" y="229097"/>
                    <a:pt x="2040050" y="219150"/>
                  </a:cubicBezTo>
                  <a:lnTo>
                    <a:pt x="2049235" y="219150"/>
                  </a:lnTo>
                  <a:cubicBezTo>
                    <a:pt x="2053368" y="226083"/>
                    <a:pt x="2057961" y="233016"/>
                    <a:pt x="2062094" y="239949"/>
                  </a:cubicBezTo>
                  <a:cubicBezTo>
                    <a:pt x="2058879" y="254117"/>
                    <a:pt x="2055665" y="268586"/>
                    <a:pt x="2052450" y="282754"/>
                  </a:cubicBezTo>
                  <a:lnTo>
                    <a:pt x="2076331" y="289085"/>
                  </a:lnTo>
                  <a:cubicBezTo>
                    <a:pt x="2072657" y="279137"/>
                    <a:pt x="2068983" y="268888"/>
                    <a:pt x="2065309" y="258940"/>
                  </a:cubicBezTo>
                  <a:lnTo>
                    <a:pt x="2104806" y="239949"/>
                  </a:lnTo>
                  <a:lnTo>
                    <a:pt x="2149354" y="239949"/>
                  </a:lnTo>
                  <a:lnTo>
                    <a:pt x="2192525" y="261955"/>
                  </a:lnTo>
                  <a:cubicBezTo>
                    <a:pt x="2184718" y="250198"/>
                    <a:pt x="2176451" y="238744"/>
                    <a:pt x="2168643" y="226987"/>
                  </a:cubicBezTo>
                  <a:lnTo>
                    <a:pt x="2168643" y="185689"/>
                  </a:lnTo>
                  <a:cubicBezTo>
                    <a:pt x="2181962" y="182675"/>
                    <a:pt x="2194821" y="179359"/>
                    <a:pt x="2208140" y="176345"/>
                  </a:cubicBezTo>
                  <a:lnTo>
                    <a:pt x="2260496" y="179359"/>
                  </a:lnTo>
                  <a:lnTo>
                    <a:pt x="2308259" y="173029"/>
                  </a:lnTo>
                  <a:cubicBezTo>
                    <a:pt x="2302289" y="165191"/>
                    <a:pt x="2296778" y="157052"/>
                    <a:pt x="2290807" y="149215"/>
                  </a:cubicBezTo>
                  <a:cubicBezTo>
                    <a:pt x="2299993" y="138664"/>
                    <a:pt x="2308719" y="128114"/>
                    <a:pt x="2317904" y="117563"/>
                  </a:cubicBezTo>
                  <a:lnTo>
                    <a:pt x="2341786" y="117563"/>
                  </a:lnTo>
                  <a:lnTo>
                    <a:pt x="2384497" y="96764"/>
                  </a:lnTo>
                  <a:lnTo>
                    <a:pt x="2443283" y="87419"/>
                  </a:lnTo>
                  <a:cubicBezTo>
                    <a:pt x="2446039" y="84103"/>
                    <a:pt x="2448335" y="81088"/>
                    <a:pt x="2451091" y="77773"/>
                  </a:cubicBezTo>
                  <a:lnTo>
                    <a:pt x="2506661" y="74758"/>
                  </a:lnTo>
                  <a:cubicBezTo>
                    <a:pt x="2513091" y="77773"/>
                    <a:pt x="2519062" y="81088"/>
                    <a:pt x="2525491" y="84103"/>
                  </a:cubicBezTo>
                  <a:lnTo>
                    <a:pt x="2576469" y="60289"/>
                  </a:lnTo>
                  <a:lnTo>
                    <a:pt x="2616425" y="60289"/>
                  </a:lnTo>
                  <a:cubicBezTo>
                    <a:pt x="2618262" y="53959"/>
                    <a:pt x="2620559" y="47628"/>
                    <a:pt x="2622396" y="41298"/>
                  </a:cubicBezTo>
                  <a:lnTo>
                    <a:pt x="2643063" y="2049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213">
              <a:extLst>
                <a:ext uri="{FF2B5EF4-FFF2-40B4-BE49-F238E27FC236}">
                  <a16:creationId xmlns:a16="http://schemas.microsoft.com/office/drawing/2014/main" id="{5DBE25D9-2EFA-4704-A893-87DB5F7B8010}"/>
                </a:ext>
              </a:extLst>
            </p:cNvPr>
            <p:cNvSpPr>
              <a:spLocks/>
            </p:cNvSpPr>
            <p:nvPr/>
          </p:nvSpPr>
          <p:spPr bwMode="auto">
            <a:xfrm>
              <a:off x="2233614" y="2286050"/>
              <a:ext cx="61913" cy="20647"/>
            </a:xfrm>
            <a:custGeom>
              <a:avLst/>
              <a:gdLst>
                <a:gd name="T0" fmla="*/ 0 w 39"/>
                <a:gd name="T1" fmla="*/ 0 h 13"/>
                <a:gd name="T2" fmla="*/ 29 w 39"/>
                <a:gd name="T3" fmla="*/ 0 h 13"/>
                <a:gd name="T4" fmla="*/ 39 w 39"/>
                <a:gd name="T5" fmla="*/ 7 h 13"/>
                <a:gd name="T6" fmla="*/ 37 w 39"/>
                <a:gd name="T7" fmla="*/ 11 h 13"/>
                <a:gd name="T8" fmla="*/ 31 w 39"/>
                <a:gd name="T9" fmla="*/ 13 h 13"/>
                <a:gd name="T10" fmla="*/ 4 w 39"/>
                <a:gd name="T11" fmla="*/ 9 h 13"/>
                <a:gd name="T12" fmla="*/ 0 w 39"/>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39" h="13">
                  <a:moveTo>
                    <a:pt x="0" y="0"/>
                  </a:moveTo>
                  <a:lnTo>
                    <a:pt x="29" y="0"/>
                  </a:lnTo>
                  <a:lnTo>
                    <a:pt x="39" y="7"/>
                  </a:lnTo>
                  <a:lnTo>
                    <a:pt x="37" y="11"/>
                  </a:lnTo>
                  <a:lnTo>
                    <a:pt x="31" y="13"/>
                  </a:lnTo>
                  <a:lnTo>
                    <a:pt x="4" y="9"/>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215">
              <a:extLst>
                <a:ext uri="{FF2B5EF4-FFF2-40B4-BE49-F238E27FC236}">
                  <a16:creationId xmlns:a16="http://schemas.microsoft.com/office/drawing/2014/main" id="{29B620F7-0074-46F2-818A-E372DD46E9B9}"/>
                </a:ext>
              </a:extLst>
            </p:cNvPr>
            <p:cNvSpPr>
              <a:spLocks/>
            </p:cNvSpPr>
            <p:nvPr/>
          </p:nvSpPr>
          <p:spPr bwMode="auto">
            <a:xfrm>
              <a:off x="1855789" y="2270168"/>
              <a:ext cx="82550" cy="36530"/>
            </a:xfrm>
            <a:custGeom>
              <a:avLst/>
              <a:gdLst>
                <a:gd name="T0" fmla="*/ 33 w 52"/>
                <a:gd name="T1" fmla="*/ 0 h 23"/>
                <a:gd name="T2" fmla="*/ 52 w 52"/>
                <a:gd name="T3" fmla="*/ 6 h 23"/>
                <a:gd name="T4" fmla="*/ 48 w 52"/>
                <a:gd name="T5" fmla="*/ 14 h 23"/>
                <a:gd name="T6" fmla="*/ 21 w 52"/>
                <a:gd name="T7" fmla="*/ 23 h 23"/>
                <a:gd name="T8" fmla="*/ 0 w 52"/>
                <a:gd name="T9" fmla="*/ 14 h 23"/>
                <a:gd name="T10" fmla="*/ 14 w 52"/>
                <a:gd name="T11" fmla="*/ 4 h 23"/>
                <a:gd name="T12" fmla="*/ 33 w 52"/>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52" h="23">
                  <a:moveTo>
                    <a:pt x="33" y="0"/>
                  </a:moveTo>
                  <a:lnTo>
                    <a:pt x="52" y="6"/>
                  </a:lnTo>
                  <a:lnTo>
                    <a:pt x="48" y="14"/>
                  </a:lnTo>
                  <a:lnTo>
                    <a:pt x="21" y="23"/>
                  </a:lnTo>
                  <a:lnTo>
                    <a:pt x="0" y="14"/>
                  </a:lnTo>
                  <a:lnTo>
                    <a:pt x="14" y="4"/>
                  </a:lnTo>
                  <a:lnTo>
                    <a:pt x="3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217">
              <a:extLst>
                <a:ext uri="{FF2B5EF4-FFF2-40B4-BE49-F238E27FC236}">
                  <a16:creationId xmlns:a16="http://schemas.microsoft.com/office/drawing/2014/main" id="{F3CAC812-50E7-4B95-990D-92F16851921E}"/>
                </a:ext>
              </a:extLst>
            </p:cNvPr>
            <p:cNvSpPr>
              <a:spLocks/>
            </p:cNvSpPr>
            <p:nvPr/>
          </p:nvSpPr>
          <p:spPr bwMode="auto">
            <a:xfrm>
              <a:off x="4822825" y="2257462"/>
              <a:ext cx="92075" cy="49235"/>
            </a:xfrm>
            <a:custGeom>
              <a:avLst/>
              <a:gdLst>
                <a:gd name="T0" fmla="*/ 31 w 58"/>
                <a:gd name="T1" fmla="*/ 0 h 31"/>
                <a:gd name="T2" fmla="*/ 39 w 58"/>
                <a:gd name="T3" fmla="*/ 12 h 31"/>
                <a:gd name="T4" fmla="*/ 58 w 58"/>
                <a:gd name="T5" fmla="*/ 18 h 31"/>
                <a:gd name="T6" fmla="*/ 27 w 58"/>
                <a:gd name="T7" fmla="*/ 31 h 31"/>
                <a:gd name="T8" fmla="*/ 0 w 58"/>
                <a:gd name="T9" fmla="*/ 23 h 31"/>
                <a:gd name="T10" fmla="*/ 10 w 58"/>
                <a:gd name="T11" fmla="*/ 16 h 31"/>
                <a:gd name="T12" fmla="*/ 2 w 58"/>
                <a:gd name="T13" fmla="*/ 4 h 31"/>
                <a:gd name="T14" fmla="*/ 31 w 58"/>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31">
                  <a:moveTo>
                    <a:pt x="31" y="0"/>
                  </a:moveTo>
                  <a:lnTo>
                    <a:pt x="39" y="12"/>
                  </a:lnTo>
                  <a:lnTo>
                    <a:pt x="58" y="18"/>
                  </a:lnTo>
                  <a:lnTo>
                    <a:pt x="27" y="31"/>
                  </a:lnTo>
                  <a:lnTo>
                    <a:pt x="0" y="23"/>
                  </a:lnTo>
                  <a:lnTo>
                    <a:pt x="10" y="16"/>
                  </a:lnTo>
                  <a:lnTo>
                    <a:pt x="2" y="4"/>
                  </a:lnTo>
                  <a:lnTo>
                    <a:pt x="3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219">
              <a:extLst>
                <a:ext uri="{FF2B5EF4-FFF2-40B4-BE49-F238E27FC236}">
                  <a16:creationId xmlns:a16="http://schemas.microsoft.com/office/drawing/2014/main" id="{9F74C8B0-94F2-48B7-A12C-87822D0C0896}"/>
                </a:ext>
              </a:extLst>
            </p:cNvPr>
            <p:cNvSpPr>
              <a:spLocks/>
            </p:cNvSpPr>
            <p:nvPr/>
          </p:nvSpPr>
          <p:spPr bwMode="auto">
            <a:xfrm>
              <a:off x="1881189" y="2239992"/>
              <a:ext cx="63500" cy="20647"/>
            </a:xfrm>
            <a:custGeom>
              <a:avLst/>
              <a:gdLst>
                <a:gd name="T0" fmla="*/ 13 w 40"/>
                <a:gd name="T1" fmla="*/ 0 h 13"/>
                <a:gd name="T2" fmla="*/ 21 w 40"/>
                <a:gd name="T3" fmla="*/ 0 h 13"/>
                <a:gd name="T4" fmla="*/ 40 w 40"/>
                <a:gd name="T5" fmla="*/ 6 h 13"/>
                <a:gd name="T6" fmla="*/ 23 w 40"/>
                <a:gd name="T7" fmla="*/ 13 h 13"/>
                <a:gd name="T8" fmla="*/ 0 w 40"/>
                <a:gd name="T9" fmla="*/ 13 h 13"/>
                <a:gd name="T10" fmla="*/ 0 w 40"/>
                <a:gd name="T11" fmla="*/ 8 h 13"/>
                <a:gd name="T12" fmla="*/ 13 w 4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0" h="13">
                  <a:moveTo>
                    <a:pt x="13" y="0"/>
                  </a:moveTo>
                  <a:lnTo>
                    <a:pt x="21" y="0"/>
                  </a:lnTo>
                  <a:lnTo>
                    <a:pt x="40" y="6"/>
                  </a:lnTo>
                  <a:lnTo>
                    <a:pt x="23" y="13"/>
                  </a:lnTo>
                  <a:lnTo>
                    <a:pt x="0" y="13"/>
                  </a:lnTo>
                  <a:lnTo>
                    <a:pt x="0" y="8"/>
                  </a:lnTo>
                  <a:lnTo>
                    <a:pt x="1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221">
              <a:extLst>
                <a:ext uri="{FF2B5EF4-FFF2-40B4-BE49-F238E27FC236}">
                  <a16:creationId xmlns:a16="http://schemas.microsoft.com/office/drawing/2014/main" id="{2E12C447-8365-4CDD-B414-4713C9F3312F}"/>
                </a:ext>
              </a:extLst>
            </p:cNvPr>
            <p:cNvSpPr>
              <a:spLocks/>
            </p:cNvSpPr>
            <p:nvPr/>
          </p:nvSpPr>
          <p:spPr bwMode="auto">
            <a:xfrm>
              <a:off x="2185989" y="2236816"/>
              <a:ext cx="66675" cy="49235"/>
            </a:xfrm>
            <a:custGeom>
              <a:avLst/>
              <a:gdLst>
                <a:gd name="T0" fmla="*/ 0 w 42"/>
                <a:gd name="T1" fmla="*/ 0 h 31"/>
                <a:gd name="T2" fmla="*/ 19 w 42"/>
                <a:gd name="T3" fmla="*/ 2 h 31"/>
                <a:gd name="T4" fmla="*/ 26 w 42"/>
                <a:gd name="T5" fmla="*/ 4 h 31"/>
                <a:gd name="T6" fmla="*/ 42 w 42"/>
                <a:gd name="T7" fmla="*/ 13 h 31"/>
                <a:gd name="T8" fmla="*/ 38 w 42"/>
                <a:gd name="T9" fmla="*/ 25 h 31"/>
                <a:gd name="T10" fmla="*/ 19 w 42"/>
                <a:gd name="T11" fmla="*/ 31 h 31"/>
                <a:gd name="T12" fmla="*/ 7 w 42"/>
                <a:gd name="T13" fmla="*/ 25 h 31"/>
                <a:gd name="T14" fmla="*/ 2 w 42"/>
                <a:gd name="T15" fmla="*/ 13 h 31"/>
                <a:gd name="T16" fmla="*/ 0 w 42"/>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1">
                  <a:moveTo>
                    <a:pt x="0" y="0"/>
                  </a:moveTo>
                  <a:lnTo>
                    <a:pt x="19" y="2"/>
                  </a:lnTo>
                  <a:lnTo>
                    <a:pt x="26" y="4"/>
                  </a:lnTo>
                  <a:lnTo>
                    <a:pt x="42" y="13"/>
                  </a:lnTo>
                  <a:lnTo>
                    <a:pt x="38" y="25"/>
                  </a:lnTo>
                  <a:lnTo>
                    <a:pt x="19" y="31"/>
                  </a:lnTo>
                  <a:lnTo>
                    <a:pt x="7" y="25"/>
                  </a:lnTo>
                  <a:lnTo>
                    <a:pt x="2" y="13"/>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223">
              <a:extLst>
                <a:ext uri="{FF2B5EF4-FFF2-40B4-BE49-F238E27FC236}">
                  <a16:creationId xmlns:a16="http://schemas.microsoft.com/office/drawing/2014/main" id="{0FAECF81-15AA-462F-9551-9676A33F3B81}"/>
                </a:ext>
              </a:extLst>
            </p:cNvPr>
            <p:cNvSpPr>
              <a:spLocks/>
            </p:cNvSpPr>
            <p:nvPr/>
          </p:nvSpPr>
          <p:spPr bwMode="auto">
            <a:xfrm>
              <a:off x="2036764" y="2216168"/>
              <a:ext cx="127000" cy="66705"/>
            </a:xfrm>
            <a:custGeom>
              <a:avLst/>
              <a:gdLst>
                <a:gd name="T0" fmla="*/ 0 w 80"/>
                <a:gd name="T1" fmla="*/ 0 h 42"/>
                <a:gd name="T2" fmla="*/ 26 w 80"/>
                <a:gd name="T3" fmla="*/ 3 h 42"/>
                <a:gd name="T4" fmla="*/ 65 w 80"/>
                <a:gd name="T5" fmla="*/ 15 h 42"/>
                <a:gd name="T6" fmla="*/ 74 w 80"/>
                <a:gd name="T7" fmla="*/ 28 h 42"/>
                <a:gd name="T8" fmla="*/ 80 w 80"/>
                <a:gd name="T9" fmla="*/ 42 h 42"/>
                <a:gd name="T10" fmla="*/ 57 w 80"/>
                <a:gd name="T11" fmla="*/ 40 h 42"/>
                <a:gd name="T12" fmla="*/ 34 w 80"/>
                <a:gd name="T13" fmla="*/ 28 h 42"/>
                <a:gd name="T14" fmla="*/ 3 w 80"/>
                <a:gd name="T15" fmla="*/ 28 h 42"/>
                <a:gd name="T16" fmla="*/ 17 w 80"/>
                <a:gd name="T17" fmla="*/ 19 h 42"/>
                <a:gd name="T18" fmla="*/ 0 w 80"/>
                <a:gd name="T19" fmla="*/ 11 h 42"/>
                <a:gd name="T20" fmla="*/ 0 w 80"/>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2">
                  <a:moveTo>
                    <a:pt x="0" y="0"/>
                  </a:moveTo>
                  <a:lnTo>
                    <a:pt x="26" y="3"/>
                  </a:lnTo>
                  <a:lnTo>
                    <a:pt x="65" y="15"/>
                  </a:lnTo>
                  <a:lnTo>
                    <a:pt x="74" y="28"/>
                  </a:lnTo>
                  <a:lnTo>
                    <a:pt x="80" y="42"/>
                  </a:lnTo>
                  <a:lnTo>
                    <a:pt x="57" y="40"/>
                  </a:lnTo>
                  <a:lnTo>
                    <a:pt x="34" y="28"/>
                  </a:lnTo>
                  <a:lnTo>
                    <a:pt x="3" y="28"/>
                  </a:lnTo>
                  <a:lnTo>
                    <a:pt x="17" y="19"/>
                  </a:lnTo>
                  <a:lnTo>
                    <a:pt x="0" y="11"/>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225">
              <a:extLst>
                <a:ext uri="{FF2B5EF4-FFF2-40B4-BE49-F238E27FC236}">
                  <a16:creationId xmlns:a16="http://schemas.microsoft.com/office/drawing/2014/main" id="{F56D0D12-139F-4C10-B577-98C2F79104BF}"/>
                </a:ext>
              </a:extLst>
            </p:cNvPr>
            <p:cNvSpPr>
              <a:spLocks/>
            </p:cNvSpPr>
            <p:nvPr/>
          </p:nvSpPr>
          <p:spPr bwMode="auto">
            <a:xfrm>
              <a:off x="6569075" y="2212992"/>
              <a:ext cx="130175" cy="69882"/>
            </a:xfrm>
            <a:custGeom>
              <a:avLst/>
              <a:gdLst>
                <a:gd name="T0" fmla="*/ 36 w 82"/>
                <a:gd name="T1" fmla="*/ 0 h 44"/>
                <a:gd name="T2" fmla="*/ 46 w 82"/>
                <a:gd name="T3" fmla="*/ 3 h 44"/>
                <a:gd name="T4" fmla="*/ 82 w 82"/>
                <a:gd name="T5" fmla="*/ 21 h 44"/>
                <a:gd name="T6" fmla="*/ 77 w 82"/>
                <a:gd name="T7" fmla="*/ 30 h 44"/>
                <a:gd name="T8" fmla="*/ 0 w 82"/>
                <a:gd name="T9" fmla="*/ 44 h 44"/>
                <a:gd name="T10" fmla="*/ 23 w 82"/>
                <a:gd name="T11" fmla="*/ 3 h 44"/>
                <a:gd name="T12" fmla="*/ 36 w 82"/>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82" h="44">
                  <a:moveTo>
                    <a:pt x="36" y="0"/>
                  </a:moveTo>
                  <a:lnTo>
                    <a:pt x="46" y="3"/>
                  </a:lnTo>
                  <a:lnTo>
                    <a:pt x="82" y="21"/>
                  </a:lnTo>
                  <a:lnTo>
                    <a:pt x="77" y="30"/>
                  </a:lnTo>
                  <a:lnTo>
                    <a:pt x="0" y="44"/>
                  </a:lnTo>
                  <a:lnTo>
                    <a:pt x="23" y="3"/>
                  </a:lnTo>
                  <a:lnTo>
                    <a:pt x="3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227">
              <a:extLst>
                <a:ext uri="{FF2B5EF4-FFF2-40B4-BE49-F238E27FC236}">
                  <a16:creationId xmlns:a16="http://schemas.microsoft.com/office/drawing/2014/main" id="{CA784634-F767-42DC-9FB5-945BC614F07C}"/>
                </a:ext>
              </a:extLst>
            </p:cNvPr>
            <p:cNvSpPr>
              <a:spLocks/>
            </p:cNvSpPr>
            <p:nvPr/>
          </p:nvSpPr>
          <p:spPr bwMode="auto">
            <a:xfrm>
              <a:off x="4597400" y="2179640"/>
              <a:ext cx="244475" cy="157234"/>
            </a:xfrm>
            <a:custGeom>
              <a:avLst/>
              <a:gdLst>
                <a:gd name="T0" fmla="*/ 90 w 154"/>
                <a:gd name="T1" fmla="*/ 0 h 99"/>
                <a:gd name="T2" fmla="*/ 110 w 154"/>
                <a:gd name="T3" fmla="*/ 11 h 99"/>
                <a:gd name="T4" fmla="*/ 154 w 154"/>
                <a:gd name="T5" fmla="*/ 34 h 99"/>
                <a:gd name="T6" fmla="*/ 119 w 154"/>
                <a:gd name="T7" fmla="*/ 46 h 99"/>
                <a:gd name="T8" fmla="*/ 114 w 154"/>
                <a:gd name="T9" fmla="*/ 67 h 99"/>
                <a:gd name="T10" fmla="*/ 100 w 154"/>
                <a:gd name="T11" fmla="*/ 72 h 99"/>
                <a:gd name="T12" fmla="*/ 92 w 154"/>
                <a:gd name="T13" fmla="*/ 99 h 99"/>
                <a:gd name="T14" fmla="*/ 75 w 154"/>
                <a:gd name="T15" fmla="*/ 99 h 99"/>
                <a:gd name="T16" fmla="*/ 46 w 154"/>
                <a:gd name="T17" fmla="*/ 82 h 99"/>
                <a:gd name="T18" fmla="*/ 60 w 154"/>
                <a:gd name="T19" fmla="*/ 71 h 99"/>
                <a:gd name="T20" fmla="*/ 39 w 154"/>
                <a:gd name="T21" fmla="*/ 63 h 99"/>
                <a:gd name="T22" fmla="*/ 10 w 154"/>
                <a:gd name="T23" fmla="*/ 36 h 99"/>
                <a:gd name="T24" fmla="*/ 0 w 154"/>
                <a:gd name="T25" fmla="*/ 13 h 99"/>
                <a:gd name="T26" fmla="*/ 39 w 154"/>
                <a:gd name="T27" fmla="*/ 1 h 99"/>
                <a:gd name="T28" fmla="*/ 46 w 154"/>
                <a:gd name="T29" fmla="*/ 11 h 99"/>
                <a:gd name="T30" fmla="*/ 66 w 154"/>
                <a:gd name="T31" fmla="*/ 11 h 99"/>
                <a:gd name="T32" fmla="*/ 71 w 154"/>
                <a:gd name="T33" fmla="*/ 1 h 99"/>
                <a:gd name="T34" fmla="*/ 90 w 154"/>
                <a:gd name="T3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 h="99">
                  <a:moveTo>
                    <a:pt x="90" y="0"/>
                  </a:moveTo>
                  <a:lnTo>
                    <a:pt x="110" y="11"/>
                  </a:lnTo>
                  <a:lnTo>
                    <a:pt x="154" y="34"/>
                  </a:lnTo>
                  <a:lnTo>
                    <a:pt x="119" y="46"/>
                  </a:lnTo>
                  <a:lnTo>
                    <a:pt x="114" y="67"/>
                  </a:lnTo>
                  <a:lnTo>
                    <a:pt x="100" y="72"/>
                  </a:lnTo>
                  <a:lnTo>
                    <a:pt x="92" y="99"/>
                  </a:lnTo>
                  <a:lnTo>
                    <a:pt x="75" y="99"/>
                  </a:lnTo>
                  <a:lnTo>
                    <a:pt x="46" y="82"/>
                  </a:lnTo>
                  <a:lnTo>
                    <a:pt x="60" y="71"/>
                  </a:lnTo>
                  <a:lnTo>
                    <a:pt x="39" y="63"/>
                  </a:lnTo>
                  <a:lnTo>
                    <a:pt x="10" y="36"/>
                  </a:lnTo>
                  <a:lnTo>
                    <a:pt x="0" y="13"/>
                  </a:lnTo>
                  <a:lnTo>
                    <a:pt x="39" y="1"/>
                  </a:lnTo>
                  <a:lnTo>
                    <a:pt x="46" y="11"/>
                  </a:lnTo>
                  <a:lnTo>
                    <a:pt x="66" y="11"/>
                  </a:lnTo>
                  <a:lnTo>
                    <a:pt x="71" y="1"/>
                  </a:lnTo>
                  <a:lnTo>
                    <a:pt x="9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229">
              <a:extLst>
                <a:ext uri="{FF2B5EF4-FFF2-40B4-BE49-F238E27FC236}">
                  <a16:creationId xmlns:a16="http://schemas.microsoft.com/office/drawing/2014/main" id="{CA63FD32-14AA-47FC-B09F-75444D0BAF02}"/>
                </a:ext>
              </a:extLst>
            </p:cNvPr>
            <p:cNvSpPr>
              <a:spLocks/>
            </p:cNvSpPr>
            <p:nvPr/>
          </p:nvSpPr>
          <p:spPr bwMode="auto">
            <a:xfrm>
              <a:off x="4749800" y="2144699"/>
              <a:ext cx="222250" cy="65117"/>
            </a:xfrm>
            <a:custGeom>
              <a:avLst/>
              <a:gdLst>
                <a:gd name="T0" fmla="*/ 79 w 140"/>
                <a:gd name="T1" fmla="*/ 0 h 41"/>
                <a:gd name="T2" fmla="*/ 113 w 140"/>
                <a:gd name="T3" fmla="*/ 8 h 41"/>
                <a:gd name="T4" fmla="*/ 140 w 140"/>
                <a:gd name="T5" fmla="*/ 22 h 41"/>
                <a:gd name="T6" fmla="*/ 121 w 140"/>
                <a:gd name="T7" fmla="*/ 37 h 41"/>
                <a:gd name="T8" fmla="*/ 81 w 140"/>
                <a:gd name="T9" fmla="*/ 41 h 41"/>
                <a:gd name="T10" fmla="*/ 39 w 140"/>
                <a:gd name="T11" fmla="*/ 35 h 41"/>
                <a:gd name="T12" fmla="*/ 37 w 140"/>
                <a:gd name="T13" fmla="*/ 27 h 41"/>
                <a:gd name="T14" fmla="*/ 18 w 140"/>
                <a:gd name="T15" fmla="*/ 27 h 41"/>
                <a:gd name="T16" fmla="*/ 0 w 140"/>
                <a:gd name="T17" fmla="*/ 12 h 41"/>
                <a:gd name="T18" fmla="*/ 44 w 140"/>
                <a:gd name="T19" fmla="*/ 4 h 41"/>
                <a:gd name="T20" fmla="*/ 64 w 140"/>
                <a:gd name="T21" fmla="*/ 10 h 41"/>
                <a:gd name="T22" fmla="*/ 79 w 140"/>
                <a:gd name="T2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41">
                  <a:moveTo>
                    <a:pt x="79" y="0"/>
                  </a:moveTo>
                  <a:lnTo>
                    <a:pt x="113" y="8"/>
                  </a:lnTo>
                  <a:lnTo>
                    <a:pt x="140" y="22"/>
                  </a:lnTo>
                  <a:lnTo>
                    <a:pt x="121" y="37"/>
                  </a:lnTo>
                  <a:lnTo>
                    <a:pt x="81" y="41"/>
                  </a:lnTo>
                  <a:lnTo>
                    <a:pt x="39" y="35"/>
                  </a:lnTo>
                  <a:lnTo>
                    <a:pt x="37" y="27"/>
                  </a:lnTo>
                  <a:lnTo>
                    <a:pt x="18" y="27"/>
                  </a:lnTo>
                  <a:lnTo>
                    <a:pt x="0" y="12"/>
                  </a:lnTo>
                  <a:lnTo>
                    <a:pt x="44" y="4"/>
                  </a:lnTo>
                  <a:lnTo>
                    <a:pt x="64" y="10"/>
                  </a:lnTo>
                  <a:lnTo>
                    <a:pt x="7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231">
              <a:extLst>
                <a:ext uri="{FF2B5EF4-FFF2-40B4-BE49-F238E27FC236}">
                  <a16:creationId xmlns:a16="http://schemas.microsoft.com/office/drawing/2014/main" id="{04237488-F960-4B21-B6B0-320649307880}"/>
                </a:ext>
              </a:extLst>
            </p:cNvPr>
            <p:cNvSpPr>
              <a:spLocks/>
            </p:cNvSpPr>
            <p:nvPr/>
          </p:nvSpPr>
          <p:spPr bwMode="auto">
            <a:xfrm>
              <a:off x="5359400" y="2133581"/>
              <a:ext cx="149225" cy="47647"/>
            </a:xfrm>
            <a:custGeom>
              <a:avLst/>
              <a:gdLst>
                <a:gd name="T0" fmla="*/ 71 w 94"/>
                <a:gd name="T1" fmla="*/ 0 h 30"/>
                <a:gd name="T2" fmla="*/ 94 w 94"/>
                <a:gd name="T3" fmla="*/ 7 h 30"/>
                <a:gd name="T4" fmla="*/ 88 w 94"/>
                <a:gd name="T5" fmla="*/ 13 h 30"/>
                <a:gd name="T6" fmla="*/ 69 w 94"/>
                <a:gd name="T7" fmla="*/ 15 h 30"/>
                <a:gd name="T8" fmla="*/ 58 w 94"/>
                <a:gd name="T9" fmla="*/ 19 h 30"/>
                <a:gd name="T10" fmla="*/ 56 w 94"/>
                <a:gd name="T11" fmla="*/ 25 h 30"/>
                <a:gd name="T12" fmla="*/ 38 w 94"/>
                <a:gd name="T13" fmla="*/ 30 h 30"/>
                <a:gd name="T14" fmla="*/ 23 w 94"/>
                <a:gd name="T15" fmla="*/ 21 h 30"/>
                <a:gd name="T16" fmla="*/ 33 w 94"/>
                <a:gd name="T17" fmla="*/ 11 h 30"/>
                <a:gd name="T18" fmla="*/ 0 w 94"/>
                <a:gd name="T19" fmla="*/ 11 h 30"/>
                <a:gd name="T20" fmla="*/ 27 w 94"/>
                <a:gd name="T21" fmla="*/ 5 h 30"/>
                <a:gd name="T22" fmla="*/ 48 w 94"/>
                <a:gd name="T23" fmla="*/ 5 h 30"/>
                <a:gd name="T24" fmla="*/ 52 w 94"/>
                <a:gd name="T25" fmla="*/ 13 h 30"/>
                <a:gd name="T26" fmla="*/ 61 w 94"/>
                <a:gd name="T27" fmla="*/ 5 h 30"/>
                <a:gd name="T28" fmla="*/ 71 w 94"/>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30">
                  <a:moveTo>
                    <a:pt x="71" y="0"/>
                  </a:moveTo>
                  <a:lnTo>
                    <a:pt x="94" y="7"/>
                  </a:lnTo>
                  <a:lnTo>
                    <a:pt x="88" y="13"/>
                  </a:lnTo>
                  <a:lnTo>
                    <a:pt x="69" y="15"/>
                  </a:lnTo>
                  <a:lnTo>
                    <a:pt x="58" y="19"/>
                  </a:lnTo>
                  <a:lnTo>
                    <a:pt x="56" y="25"/>
                  </a:lnTo>
                  <a:lnTo>
                    <a:pt x="38" y="30"/>
                  </a:lnTo>
                  <a:lnTo>
                    <a:pt x="23" y="21"/>
                  </a:lnTo>
                  <a:lnTo>
                    <a:pt x="33" y="11"/>
                  </a:lnTo>
                  <a:lnTo>
                    <a:pt x="0" y="11"/>
                  </a:lnTo>
                  <a:lnTo>
                    <a:pt x="27" y="5"/>
                  </a:lnTo>
                  <a:lnTo>
                    <a:pt x="48" y="5"/>
                  </a:lnTo>
                  <a:lnTo>
                    <a:pt x="52" y="13"/>
                  </a:lnTo>
                  <a:lnTo>
                    <a:pt x="61" y="5"/>
                  </a:lnTo>
                  <a:lnTo>
                    <a:pt x="7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233">
              <a:extLst>
                <a:ext uri="{FF2B5EF4-FFF2-40B4-BE49-F238E27FC236}">
                  <a16:creationId xmlns:a16="http://schemas.microsoft.com/office/drawing/2014/main" id="{7B8DB531-273B-45F3-8BE0-BA83C12F90E7}"/>
                </a:ext>
              </a:extLst>
            </p:cNvPr>
            <p:cNvSpPr>
              <a:spLocks/>
            </p:cNvSpPr>
            <p:nvPr/>
          </p:nvSpPr>
          <p:spPr bwMode="auto">
            <a:xfrm>
              <a:off x="6383338" y="2117699"/>
              <a:ext cx="200025" cy="125470"/>
            </a:xfrm>
            <a:custGeom>
              <a:avLst/>
              <a:gdLst>
                <a:gd name="T0" fmla="*/ 67 w 126"/>
                <a:gd name="T1" fmla="*/ 0 h 79"/>
                <a:gd name="T2" fmla="*/ 94 w 126"/>
                <a:gd name="T3" fmla="*/ 15 h 79"/>
                <a:gd name="T4" fmla="*/ 126 w 126"/>
                <a:gd name="T5" fmla="*/ 46 h 79"/>
                <a:gd name="T6" fmla="*/ 123 w 126"/>
                <a:gd name="T7" fmla="*/ 75 h 79"/>
                <a:gd name="T8" fmla="*/ 92 w 126"/>
                <a:gd name="T9" fmla="*/ 79 h 79"/>
                <a:gd name="T10" fmla="*/ 53 w 126"/>
                <a:gd name="T11" fmla="*/ 69 h 79"/>
                <a:gd name="T12" fmla="*/ 30 w 126"/>
                <a:gd name="T13" fmla="*/ 58 h 79"/>
                <a:gd name="T14" fmla="*/ 21 w 126"/>
                <a:gd name="T15" fmla="*/ 35 h 79"/>
                <a:gd name="T16" fmla="*/ 0 w 126"/>
                <a:gd name="T17" fmla="*/ 29 h 79"/>
                <a:gd name="T18" fmla="*/ 36 w 126"/>
                <a:gd name="T19" fmla="*/ 6 h 79"/>
                <a:gd name="T20" fmla="*/ 67 w 126"/>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79">
                  <a:moveTo>
                    <a:pt x="67" y="0"/>
                  </a:moveTo>
                  <a:lnTo>
                    <a:pt x="94" y="15"/>
                  </a:lnTo>
                  <a:lnTo>
                    <a:pt x="126" y="46"/>
                  </a:lnTo>
                  <a:lnTo>
                    <a:pt x="123" y="75"/>
                  </a:lnTo>
                  <a:lnTo>
                    <a:pt x="92" y="79"/>
                  </a:lnTo>
                  <a:lnTo>
                    <a:pt x="53" y="69"/>
                  </a:lnTo>
                  <a:lnTo>
                    <a:pt x="30" y="58"/>
                  </a:lnTo>
                  <a:lnTo>
                    <a:pt x="21" y="35"/>
                  </a:lnTo>
                  <a:lnTo>
                    <a:pt x="0" y="29"/>
                  </a:lnTo>
                  <a:lnTo>
                    <a:pt x="36" y="6"/>
                  </a:lnTo>
                  <a:lnTo>
                    <a:pt x="6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235">
              <a:extLst>
                <a:ext uri="{FF2B5EF4-FFF2-40B4-BE49-F238E27FC236}">
                  <a16:creationId xmlns:a16="http://schemas.microsoft.com/office/drawing/2014/main" id="{669D55B3-0142-40D5-99DE-C45DB7631CEA}"/>
                </a:ext>
              </a:extLst>
            </p:cNvPr>
            <p:cNvSpPr>
              <a:spLocks/>
            </p:cNvSpPr>
            <p:nvPr/>
          </p:nvSpPr>
          <p:spPr bwMode="auto">
            <a:xfrm>
              <a:off x="2230439" y="2117699"/>
              <a:ext cx="241300" cy="149292"/>
            </a:xfrm>
            <a:custGeom>
              <a:avLst/>
              <a:gdLst>
                <a:gd name="T0" fmla="*/ 60 w 152"/>
                <a:gd name="T1" fmla="*/ 0 h 94"/>
                <a:gd name="T2" fmla="*/ 77 w 152"/>
                <a:gd name="T3" fmla="*/ 15 h 94"/>
                <a:gd name="T4" fmla="*/ 100 w 152"/>
                <a:gd name="T5" fmla="*/ 23 h 94"/>
                <a:gd name="T6" fmla="*/ 123 w 152"/>
                <a:gd name="T7" fmla="*/ 29 h 94"/>
                <a:gd name="T8" fmla="*/ 135 w 152"/>
                <a:gd name="T9" fmla="*/ 50 h 94"/>
                <a:gd name="T10" fmla="*/ 152 w 152"/>
                <a:gd name="T11" fmla="*/ 62 h 94"/>
                <a:gd name="T12" fmla="*/ 133 w 152"/>
                <a:gd name="T13" fmla="*/ 69 h 94"/>
                <a:gd name="T14" fmla="*/ 106 w 152"/>
                <a:gd name="T15" fmla="*/ 92 h 94"/>
                <a:gd name="T16" fmla="*/ 81 w 152"/>
                <a:gd name="T17" fmla="*/ 94 h 94"/>
                <a:gd name="T18" fmla="*/ 52 w 152"/>
                <a:gd name="T19" fmla="*/ 90 h 94"/>
                <a:gd name="T20" fmla="*/ 39 w 152"/>
                <a:gd name="T21" fmla="*/ 79 h 94"/>
                <a:gd name="T22" fmla="*/ 39 w 152"/>
                <a:gd name="T23" fmla="*/ 67 h 94"/>
                <a:gd name="T24" fmla="*/ 50 w 152"/>
                <a:gd name="T25" fmla="*/ 60 h 94"/>
                <a:gd name="T26" fmla="*/ 23 w 152"/>
                <a:gd name="T27" fmla="*/ 60 h 94"/>
                <a:gd name="T28" fmla="*/ 8 w 152"/>
                <a:gd name="T29" fmla="*/ 50 h 94"/>
                <a:gd name="T30" fmla="*/ 0 w 152"/>
                <a:gd name="T31" fmla="*/ 35 h 94"/>
                <a:gd name="T32" fmla="*/ 10 w 152"/>
                <a:gd name="T33" fmla="*/ 21 h 94"/>
                <a:gd name="T34" fmla="*/ 18 w 152"/>
                <a:gd name="T35" fmla="*/ 12 h 94"/>
                <a:gd name="T36" fmla="*/ 33 w 152"/>
                <a:gd name="T37" fmla="*/ 8 h 94"/>
                <a:gd name="T38" fmla="*/ 27 w 152"/>
                <a:gd name="T39" fmla="*/ 2 h 94"/>
                <a:gd name="T40" fmla="*/ 60 w 152"/>
                <a:gd name="T4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94">
                  <a:moveTo>
                    <a:pt x="60" y="0"/>
                  </a:moveTo>
                  <a:lnTo>
                    <a:pt x="77" y="15"/>
                  </a:lnTo>
                  <a:lnTo>
                    <a:pt x="100" y="23"/>
                  </a:lnTo>
                  <a:lnTo>
                    <a:pt x="123" y="29"/>
                  </a:lnTo>
                  <a:lnTo>
                    <a:pt x="135" y="50"/>
                  </a:lnTo>
                  <a:lnTo>
                    <a:pt x="152" y="62"/>
                  </a:lnTo>
                  <a:lnTo>
                    <a:pt x="133" y="69"/>
                  </a:lnTo>
                  <a:lnTo>
                    <a:pt x="106" y="92"/>
                  </a:lnTo>
                  <a:lnTo>
                    <a:pt x="81" y="94"/>
                  </a:lnTo>
                  <a:lnTo>
                    <a:pt x="52" y="90"/>
                  </a:lnTo>
                  <a:lnTo>
                    <a:pt x="39" y="79"/>
                  </a:lnTo>
                  <a:lnTo>
                    <a:pt x="39" y="67"/>
                  </a:lnTo>
                  <a:lnTo>
                    <a:pt x="50" y="60"/>
                  </a:lnTo>
                  <a:lnTo>
                    <a:pt x="23" y="60"/>
                  </a:lnTo>
                  <a:lnTo>
                    <a:pt x="8" y="50"/>
                  </a:lnTo>
                  <a:lnTo>
                    <a:pt x="0" y="35"/>
                  </a:lnTo>
                  <a:lnTo>
                    <a:pt x="10" y="21"/>
                  </a:lnTo>
                  <a:lnTo>
                    <a:pt x="18" y="12"/>
                  </a:lnTo>
                  <a:lnTo>
                    <a:pt x="33" y="8"/>
                  </a:lnTo>
                  <a:lnTo>
                    <a:pt x="27" y="2"/>
                  </a:lnTo>
                  <a:lnTo>
                    <a:pt x="6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237">
              <a:extLst>
                <a:ext uri="{FF2B5EF4-FFF2-40B4-BE49-F238E27FC236}">
                  <a16:creationId xmlns:a16="http://schemas.microsoft.com/office/drawing/2014/main" id="{04E93950-36C0-4067-B760-3199B0DD239B}"/>
                </a:ext>
              </a:extLst>
            </p:cNvPr>
            <p:cNvSpPr>
              <a:spLocks/>
            </p:cNvSpPr>
            <p:nvPr/>
          </p:nvSpPr>
          <p:spPr bwMode="auto">
            <a:xfrm>
              <a:off x="2339976" y="2011289"/>
              <a:ext cx="661988" cy="354173"/>
            </a:xfrm>
            <a:custGeom>
              <a:avLst/>
              <a:gdLst>
                <a:gd name="T0" fmla="*/ 292 w 417"/>
                <a:gd name="T1" fmla="*/ 2 h 223"/>
                <a:gd name="T2" fmla="*/ 359 w 417"/>
                <a:gd name="T3" fmla="*/ 6 h 223"/>
                <a:gd name="T4" fmla="*/ 417 w 417"/>
                <a:gd name="T5" fmla="*/ 19 h 223"/>
                <a:gd name="T6" fmla="*/ 380 w 417"/>
                <a:gd name="T7" fmla="*/ 44 h 223"/>
                <a:gd name="T8" fmla="*/ 334 w 417"/>
                <a:gd name="T9" fmla="*/ 58 h 223"/>
                <a:gd name="T10" fmla="*/ 330 w 417"/>
                <a:gd name="T11" fmla="*/ 79 h 223"/>
                <a:gd name="T12" fmla="*/ 284 w 417"/>
                <a:gd name="T13" fmla="*/ 113 h 223"/>
                <a:gd name="T14" fmla="*/ 248 w 417"/>
                <a:gd name="T15" fmla="*/ 125 h 223"/>
                <a:gd name="T16" fmla="*/ 225 w 417"/>
                <a:gd name="T17" fmla="*/ 130 h 223"/>
                <a:gd name="T18" fmla="*/ 227 w 417"/>
                <a:gd name="T19" fmla="*/ 152 h 223"/>
                <a:gd name="T20" fmla="*/ 192 w 417"/>
                <a:gd name="T21" fmla="*/ 171 h 223"/>
                <a:gd name="T22" fmla="*/ 167 w 417"/>
                <a:gd name="T23" fmla="*/ 194 h 223"/>
                <a:gd name="T24" fmla="*/ 190 w 417"/>
                <a:gd name="T25" fmla="*/ 198 h 223"/>
                <a:gd name="T26" fmla="*/ 154 w 417"/>
                <a:gd name="T27" fmla="*/ 223 h 223"/>
                <a:gd name="T28" fmla="*/ 77 w 417"/>
                <a:gd name="T29" fmla="*/ 219 h 223"/>
                <a:gd name="T30" fmla="*/ 31 w 417"/>
                <a:gd name="T31" fmla="*/ 213 h 223"/>
                <a:gd name="T32" fmla="*/ 54 w 417"/>
                <a:gd name="T33" fmla="*/ 194 h 223"/>
                <a:gd name="T34" fmla="*/ 56 w 417"/>
                <a:gd name="T35" fmla="*/ 171 h 223"/>
                <a:gd name="T36" fmla="*/ 73 w 417"/>
                <a:gd name="T37" fmla="*/ 163 h 223"/>
                <a:gd name="T38" fmla="*/ 64 w 417"/>
                <a:gd name="T39" fmla="*/ 146 h 223"/>
                <a:gd name="T40" fmla="*/ 93 w 417"/>
                <a:gd name="T41" fmla="*/ 127 h 223"/>
                <a:gd name="T42" fmla="*/ 66 w 417"/>
                <a:gd name="T43" fmla="*/ 98 h 223"/>
                <a:gd name="T44" fmla="*/ 116 w 417"/>
                <a:gd name="T45" fmla="*/ 104 h 223"/>
                <a:gd name="T46" fmla="*/ 106 w 417"/>
                <a:gd name="T47" fmla="*/ 88 h 223"/>
                <a:gd name="T48" fmla="*/ 33 w 417"/>
                <a:gd name="T49" fmla="*/ 81 h 223"/>
                <a:gd name="T50" fmla="*/ 4 w 417"/>
                <a:gd name="T51" fmla="*/ 56 h 223"/>
                <a:gd name="T52" fmla="*/ 22 w 417"/>
                <a:gd name="T53" fmla="*/ 38 h 223"/>
                <a:gd name="T54" fmla="*/ 66 w 417"/>
                <a:gd name="T55" fmla="*/ 31 h 223"/>
                <a:gd name="T56" fmla="*/ 102 w 417"/>
                <a:gd name="T57" fmla="*/ 21 h 223"/>
                <a:gd name="T58" fmla="*/ 129 w 417"/>
                <a:gd name="T59" fmla="*/ 11 h 223"/>
                <a:gd name="T60" fmla="*/ 173 w 417"/>
                <a:gd name="T61" fmla="*/ 4 h 223"/>
                <a:gd name="T62" fmla="*/ 223 w 417"/>
                <a:gd name="T63" fmla="*/ 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7" h="223">
                  <a:moveTo>
                    <a:pt x="263" y="0"/>
                  </a:moveTo>
                  <a:lnTo>
                    <a:pt x="292" y="2"/>
                  </a:lnTo>
                  <a:lnTo>
                    <a:pt x="323" y="4"/>
                  </a:lnTo>
                  <a:lnTo>
                    <a:pt x="359" y="6"/>
                  </a:lnTo>
                  <a:lnTo>
                    <a:pt x="392" y="11"/>
                  </a:lnTo>
                  <a:lnTo>
                    <a:pt x="417" y="19"/>
                  </a:lnTo>
                  <a:lnTo>
                    <a:pt x="417" y="29"/>
                  </a:lnTo>
                  <a:lnTo>
                    <a:pt x="380" y="44"/>
                  </a:lnTo>
                  <a:lnTo>
                    <a:pt x="348" y="50"/>
                  </a:lnTo>
                  <a:lnTo>
                    <a:pt x="334" y="58"/>
                  </a:lnTo>
                  <a:lnTo>
                    <a:pt x="367" y="58"/>
                  </a:lnTo>
                  <a:lnTo>
                    <a:pt x="330" y="79"/>
                  </a:lnTo>
                  <a:lnTo>
                    <a:pt x="311" y="86"/>
                  </a:lnTo>
                  <a:lnTo>
                    <a:pt x="284" y="113"/>
                  </a:lnTo>
                  <a:lnTo>
                    <a:pt x="256" y="119"/>
                  </a:lnTo>
                  <a:lnTo>
                    <a:pt x="248" y="125"/>
                  </a:lnTo>
                  <a:lnTo>
                    <a:pt x="206" y="129"/>
                  </a:lnTo>
                  <a:lnTo>
                    <a:pt x="225" y="130"/>
                  </a:lnTo>
                  <a:lnTo>
                    <a:pt x="215" y="136"/>
                  </a:lnTo>
                  <a:lnTo>
                    <a:pt x="227" y="152"/>
                  </a:lnTo>
                  <a:lnTo>
                    <a:pt x="213" y="163"/>
                  </a:lnTo>
                  <a:lnTo>
                    <a:pt x="192" y="171"/>
                  </a:lnTo>
                  <a:lnTo>
                    <a:pt x="187" y="184"/>
                  </a:lnTo>
                  <a:lnTo>
                    <a:pt x="167" y="194"/>
                  </a:lnTo>
                  <a:lnTo>
                    <a:pt x="167" y="200"/>
                  </a:lnTo>
                  <a:lnTo>
                    <a:pt x="190" y="198"/>
                  </a:lnTo>
                  <a:lnTo>
                    <a:pt x="192" y="205"/>
                  </a:lnTo>
                  <a:lnTo>
                    <a:pt x="154" y="223"/>
                  </a:lnTo>
                  <a:lnTo>
                    <a:pt x="119" y="215"/>
                  </a:lnTo>
                  <a:lnTo>
                    <a:pt x="77" y="219"/>
                  </a:lnTo>
                  <a:lnTo>
                    <a:pt x="58" y="215"/>
                  </a:lnTo>
                  <a:lnTo>
                    <a:pt x="31" y="213"/>
                  </a:lnTo>
                  <a:lnTo>
                    <a:pt x="29" y="200"/>
                  </a:lnTo>
                  <a:lnTo>
                    <a:pt x="54" y="194"/>
                  </a:lnTo>
                  <a:lnTo>
                    <a:pt x="46" y="171"/>
                  </a:lnTo>
                  <a:lnTo>
                    <a:pt x="56" y="171"/>
                  </a:lnTo>
                  <a:lnTo>
                    <a:pt x="94" y="184"/>
                  </a:lnTo>
                  <a:lnTo>
                    <a:pt x="73" y="163"/>
                  </a:lnTo>
                  <a:lnTo>
                    <a:pt x="52" y="157"/>
                  </a:lnTo>
                  <a:lnTo>
                    <a:pt x="64" y="146"/>
                  </a:lnTo>
                  <a:lnTo>
                    <a:pt x="87" y="138"/>
                  </a:lnTo>
                  <a:lnTo>
                    <a:pt x="93" y="127"/>
                  </a:lnTo>
                  <a:lnTo>
                    <a:pt x="73" y="115"/>
                  </a:lnTo>
                  <a:lnTo>
                    <a:pt x="66" y="98"/>
                  </a:lnTo>
                  <a:lnTo>
                    <a:pt x="104" y="100"/>
                  </a:lnTo>
                  <a:lnTo>
                    <a:pt x="116" y="104"/>
                  </a:lnTo>
                  <a:lnTo>
                    <a:pt x="139" y="92"/>
                  </a:lnTo>
                  <a:lnTo>
                    <a:pt x="106" y="88"/>
                  </a:lnTo>
                  <a:lnTo>
                    <a:pt x="58" y="90"/>
                  </a:lnTo>
                  <a:lnTo>
                    <a:pt x="33" y="81"/>
                  </a:lnTo>
                  <a:lnTo>
                    <a:pt x="22" y="67"/>
                  </a:lnTo>
                  <a:lnTo>
                    <a:pt x="4" y="56"/>
                  </a:lnTo>
                  <a:lnTo>
                    <a:pt x="0" y="44"/>
                  </a:lnTo>
                  <a:lnTo>
                    <a:pt x="22" y="38"/>
                  </a:lnTo>
                  <a:lnTo>
                    <a:pt x="39" y="38"/>
                  </a:lnTo>
                  <a:lnTo>
                    <a:pt x="66" y="31"/>
                  </a:lnTo>
                  <a:lnTo>
                    <a:pt x="85" y="19"/>
                  </a:lnTo>
                  <a:lnTo>
                    <a:pt x="102" y="21"/>
                  </a:lnTo>
                  <a:lnTo>
                    <a:pt x="117" y="29"/>
                  </a:lnTo>
                  <a:lnTo>
                    <a:pt x="129" y="11"/>
                  </a:lnTo>
                  <a:lnTo>
                    <a:pt x="148" y="6"/>
                  </a:lnTo>
                  <a:lnTo>
                    <a:pt x="173" y="4"/>
                  </a:lnTo>
                  <a:lnTo>
                    <a:pt x="215" y="2"/>
                  </a:lnTo>
                  <a:lnTo>
                    <a:pt x="223" y="6"/>
                  </a:lnTo>
                  <a:lnTo>
                    <a:pt x="26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239">
              <a:extLst>
                <a:ext uri="{FF2B5EF4-FFF2-40B4-BE49-F238E27FC236}">
                  <a16:creationId xmlns:a16="http://schemas.microsoft.com/office/drawing/2014/main" id="{0AD94A6C-E319-4953-AAA3-57E4494D0090}"/>
                </a:ext>
              </a:extLst>
            </p:cNvPr>
            <p:cNvSpPr>
              <a:spLocks/>
            </p:cNvSpPr>
            <p:nvPr/>
          </p:nvSpPr>
          <p:spPr bwMode="auto">
            <a:xfrm>
              <a:off x="2746375" y="1987465"/>
              <a:ext cx="1352550" cy="995813"/>
            </a:xfrm>
            <a:custGeom>
              <a:avLst/>
              <a:gdLst>
                <a:gd name="T0" fmla="*/ 731 w 852"/>
                <a:gd name="T1" fmla="*/ 30 h 627"/>
                <a:gd name="T2" fmla="*/ 577 w 852"/>
                <a:gd name="T3" fmla="*/ 49 h 627"/>
                <a:gd name="T4" fmla="*/ 675 w 852"/>
                <a:gd name="T5" fmla="*/ 63 h 627"/>
                <a:gd name="T6" fmla="*/ 698 w 852"/>
                <a:gd name="T7" fmla="*/ 84 h 627"/>
                <a:gd name="T8" fmla="*/ 844 w 852"/>
                <a:gd name="T9" fmla="*/ 67 h 627"/>
                <a:gd name="T10" fmla="*/ 786 w 852"/>
                <a:gd name="T11" fmla="*/ 109 h 627"/>
                <a:gd name="T12" fmla="*/ 758 w 852"/>
                <a:gd name="T13" fmla="*/ 140 h 627"/>
                <a:gd name="T14" fmla="*/ 763 w 852"/>
                <a:gd name="T15" fmla="*/ 213 h 627"/>
                <a:gd name="T16" fmla="*/ 746 w 852"/>
                <a:gd name="T17" fmla="*/ 239 h 627"/>
                <a:gd name="T18" fmla="*/ 752 w 852"/>
                <a:gd name="T19" fmla="*/ 289 h 627"/>
                <a:gd name="T20" fmla="*/ 733 w 852"/>
                <a:gd name="T21" fmla="*/ 312 h 627"/>
                <a:gd name="T22" fmla="*/ 710 w 852"/>
                <a:gd name="T23" fmla="*/ 335 h 627"/>
                <a:gd name="T24" fmla="*/ 683 w 852"/>
                <a:gd name="T25" fmla="*/ 335 h 627"/>
                <a:gd name="T26" fmla="*/ 713 w 852"/>
                <a:gd name="T27" fmla="*/ 366 h 627"/>
                <a:gd name="T28" fmla="*/ 683 w 852"/>
                <a:gd name="T29" fmla="*/ 380 h 627"/>
                <a:gd name="T30" fmla="*/ 654 w 852"/>
                <a:gd name="T31" fmla="*/ 397 h 627"/>
                <a:gd name="T32" fmla="*/ 673 w 852"/>
                <a:gd name="T33" fmla="*/ 420 h 627"/>
                <a:gd name="T34" fmla="*/ 577 w 852"/>
                <a:gd name="T35" fmla="*/ 447 h 627"/>
                <a:gd name="T36" fmla="*/ 514 w 852"/>
                <a:gd name="T37" fmla="*/ 499 h 627"/>
                <a:gd name="T38" fmla="*/ 466 w 852"/>
                <a:gd name="T39" fmla="*/ 512 h 627"/>
                <a:gd name="T40" fmla="*/ 454 w 852"/>
                <a:gd name="T41" fmla="*/ 539 h 627"/>
                <a:gd name="T42" fmla="*/ 431 w 852"/>
                <a:gd name="T43" fmla="*/ 589 h 627"/>
                <a:gd name="T44" fmla="*/ 397 w 852"/>
                <a:gd name="T45" fmla="*/ 627 h 627"/>
                <a:gd name="T46" fmla="*/ 335 w 852"/>
                <a:gd name="T47" fmla="*/ 598 h 627"/>
                <a:gd name="T48" fmla="*/ 295 w 852"/>
                <a:gd name="T49" fmla="*/ 537 h 627"/>
                <a:gd name="T50" fmla="*/ 280 w 852"/>
                <a:gd name="T51" fmla="*/ 479 h 627"/>
                <a:gd name="T52" fmla="*/ 303 w 852"/>
                <a:gd name="T53" fmla="*/ 433 h 627"/>
                <a:gd name="T54" fmla="*/ 297 w 852"/>
                <a:gd name="T55" fmla="*/ 412 h 627"/>
                <a:gd name="T56" fmla="*/ 261 w 852"/>
                <a:gd name="T57" fmla="*/ 412 h 627"/>
                <a:gd name="T58" fmla="*/ 278 w 852"/>
                <a:gd name="T59" fmla="*/ 380 h 627"/>
                <a:gd name="T60" fmla="*/ 268 w 852"/>
                <a:gd name="T61" fmla="*/ 364 h 627"/>
                <a:gd name="T62" fmla="*/ 259 w 852"/>
                <a:gd name="T63" fmla="*/ 335 h 627"/>
                <a:gd name="T64" fmla="*/ 224 w 852"/>
                <a:gd name="T65" fmla="*/ 278 h 627"/>
                <a:gd name="T66" fmla="*/ 169 w 852"/>
                <a:gd name="T67" fmla="*/ 239 h 627"/>
                <a:gd name="T68" fmla="*/ 67 w 852"/>
                <a:gd name="T69" fmla="*/ 239 h 627"/>
                <a:gd name="T70" fmla="*/ 63 w 852"/>
                <a:gd name="T71" fmla="*/ 205 h 627"/>
                <a:gd name="T72" fmla="*/ 0 w 852"/>
                <a:gd name="T73" fmla="*/ 182 h 627"/>
                <a:gd name="T74" fmla="*/ 107 w 852"/>
                <a:gd name="T75" fmla="*/ 140 h 627"/>
                <a:gd name="T76" fmla="*/ 86 w 852"/>
                <a:gd name="T77" fmla="*/ 105 h 627"/>
                <a:gd name="T78" fmla="*/ 149 w 852"/>
                <a:gd name="T79" fmla="*/ 65 h 627"/>
                <a:gd name="T80" fmla="*/ 266 w 852"/>
                <a:gd name="T81" fmla="*/ 49 h 627"/>
                <a:gd name="T82" fmla="*/ 353 w 852"/>
                <a:gd name="T83" fmla="*/ 55 h 627"/>
                <a:gd name="T84" fmla="*/ 368 w 852"/>
                <a:gd name="T85" fmla="*/ 49 h 627"/>
                <a:gd name="T86" fmla="*/ 466 w 852"/>
                <a:gd name="T87" fmla="*/ 1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2" h="627">
                  <a:moveTo>
                    <a:pt x="533" y="0"/>
                  </a:moveTo>
                  <a:lnTo>
                    <a:pt x="644" y="3"/>
                  </a:lnTo>
                  <a:lnTo>
                    <a:pt x="731" y="30"/>
                  </a:lnTo>
                  <a:lnTo>
                    <a:pt x="706" y="44"/>
                  </a:lnTo>
                  <a:lnTo>
                    <a:pt x="652" y="46"/>
                  </a:lnTo>
                  <a:lnTo>
                    <a:pt x="577" y="49"/>
                  </a:lnTo>
                  <a:lnTo>
                    <a:pt x="585" y="57"/>
                  </a:lnTo>
                  <a:lnTo>
                    <a:pt x="635" y="51"/>
                  </a:lnTo>
                  <a:lnTo>
                    <a:pt x="675" y="63"/>
                  </a:lnTo>
                  <a:lnTo>
                    <a:pt x="702" y="53"/>
                  </a:lnTo>
                  <a:lnTo>
                    <a:pt x="713" y="65"/>
                  </a:lnTo>
                  <a:lnTo>
                    <a:pt x="698" y="84"/>
                  </a:lnTo>
                  <a:lnTo>
                    <a:pt x="735" y="71"/>
                  </a:lnTo>
                  <a:lnTo>
                    <a:pt x="802" y="59"/>
                  </a:lnTo>
                  <a:lnTo>
                    <a:pt x="844" y="67"/>
                  </a:lnTo>
                  <a:lnTo>
                    <a:pt x="852" y="80"/>
                  </a:lnTo>
                  <a:lnTo>
                    <a:pt x="794" y="103"/>
                  </a:lnTo>
                  <a:lnTo>
                    <a:pt x="786" y="109"/>
                  </a:lnTo>
                  <a:lnTo>
                    <a:pt x="742" y="117"/>
                  </a:lnTo>
                  <a:lnTo>
                    <a:pt x="775" y="119"/>
                  </a:lnTo>
                  <a:lnTo>
                    <a:pt x="758" y="140"/>
                  </a:lnTo>
                  <a:lnTo>
                    <a:pt x="748" y="161"/>
                  </a:lnTo>
                  <a:lnTo>
                    <a:pt x="748" y="193"/>
                  </a:lnTo>
                  <a:lnTo>
                    <a:pt x="763" y="213"/>
                  </a:lnTo>
                  <a:lnTo>
                    <a:pt x="742" y="215"/>
                  </a:lnTo>
                  <a:lnTo>
                    <a:pt x="719" y="226"/>
                  </a:lnTo>
                  <a:lnTo>
                    <a:pt x="746" y="239"/>
                  </a:lnTo>
                  <a:lnTo>
                    <a:pt x="748" y="264"/>
                  </a:lnTo>
                  <a:lnTo>
                    <a:pt x="735" y="266"/>
                  </a:lnTo>
                  <a:lnTo>
                    <a:pt x="752" y="289"/>
                  </a:lnTo>
                  <a:lnTo>
                    <a:pt x="719" y="291"/>
                  </a:lnTo>
                  <a:lnTo>
                    <a:pt x="736" y="305"/>
                  </a:lnTo>
                  <a:lnTo>
                    <a:pt x="733" y="312"/>
                  </a:lnTo>
                  <a:lnTo>
                    <a:pt x="712" y="316"/>
                  </a:lnTo>
                  <a:lnTo>
                    <a:pt x="694" y="316"/>
                  </a:lnTo>
                  <a:lnTo>
                    <a:pt x="710" y="335"/>
                  </a:lnTo>
                  <a:lnTo>
                    <a:pt x="710" y="341"/>
                  </a:lnTo>
                  <a:lnTo>
                    <a:pt x="710" y="347"/>
                  </a:lnTo>
                  <a:lnTo>
                    <a:pt x="683" y="335"/>
                  </a:lnTo>
                  <a:lnTo>
                    <a:pt x="677" y="343"/>
                  </a:lnTo>
                  <a:lnTo>
                    <a:pt x="696" y="349"/>
                  </a:lnTo>
                  <a:lnTo>
                    <a:pt x="713" y="366"/>
                  </a:lnTo>
                  <a:lnTo>
                    <a:pt x="719" y="385"/>
                  </a:lnTo>
                  <a:lnTo>
                    <a:pt x="694" y="391"/>
                  </a:lnTo>
                  <a:lnTo>
                    <a:pt x="683" y="380"/>
                  </a:lnTo>
                  <a:lnTo>
                    <a:pt x="665" y="366"/>
                  </a:lnTo>
                  <a:lnTo>
                    <a:pt x="671" y="383"/>
                  </a:lnTo>
                  <a:lnTo>
                    <a:pt x="654" y="397"/>
                  </a:lnTo>
                  <a:lnTo>
                    <a:pt x="690" y="397"/>
                  </a:lnTo>
                  <a:lnTo>
                    <a:pt x="710" y="399"/>
                  </a:lnTo>
                  <a:lnTo>
                    <a:pt x="673" y="420"/>
                  </a:lnTo>
                  <a:lnTo>
                    <a:pt x="635" y="439"/>
                  </a:lnTo>
                  <a:lnTo>
                    <a:pt x="594" y="447"/>
                  </a:lnTo>
                  <a:lnTo>
                    <a:pt x="577" y="447"/>
                  </a:lnTo>
                  <a:lnTo>
                    <a:pt x="566" y="456"/>
                  </a:lnTo>
                  <a:lnTo>
                    <a:pt x="545" y="483"/>
                  </a:lnTo>
                  <a:lnTo>
                    <a:pt x="514" y="499"/>
                  </a:lnTo>
                  <a:lnTo>
                    <a:pt x="506" y="499"/>
                  </a:lnTo>
                  <a:lnTo>
                    <a:pt x="487" y="504"/>
                  </a:lnTo>
                  <a:lnTo>
                    <a:pt x="466" y="512"/>
                  </a:lnTo>
                  <a:lnTo>
                    <a:pt x="454" y="524"/>
                  </a:lnTo>
                  <a:lnTo>
                    <a:pt x="454" y="533"/>
                  </a:lnTo>
                  <a:lnTo>
                    <a:pt x="454" y="539"/>
                  </a:lnTo>
                  <a:lnTo>
                    <a:pt x="447" y="554"/>
                  </a:lnTo>
                  <a:lnTo>
                    <a:pt x="426" y="573"/>
                  </a:lnTo>
                  <a:lnTo>
                    <a:pt x="431" y="589"/>
                  </a:lnTo>
                  <a:lnTo>
                    <a:pt x="426" y="606"/>
                  </a:lnTo>
                  <a:lnTo>
                    <a:pt x="418" y="627"/>
                  </a:lnTo>
                  <a:lnTo>
                    <a:pt x="397" y="627"/>
                  </a:lnTo>
                  <a:lnTo>
                    <a:pt x="378" y="612"/>
                  </a:lnTo>
                  <a:lnTo>
                    <a:pt x="349" y="612"/>
                  </a:lnTo>
                  <a:lnTo>
                    <a:pt x="335" y="598"/>
                  </a:lnTo>
                  <a:lnTo>
                    <a:pt x="328" y="577"/>
                  </a:lnTo>
                  <a:lnTo>
                    <a:pt x="303" y="550"/>
                  </a:lnTo>
                  <a:lnTo>
                    <a:pt x="295" y="537"/>
                  </a:lnTo>
                  <a:lnTo>
                    <a:pt x="293" y="518"/>
                  </a:lnTo>
                  <a:lnTo>
                    <a:pt x="274" y="495"/>
                  </a:lnTo>
                  <a:lnTo>
                    <a:pt x="280" y="479"/>
                  </a:lnTo>
                  <a:lnTo>
                    <a:pt x="270" y="472"/>
                  </a:lnTo>
                  <a:lnTo>
                    <a:pt x="284" y="443"/>
                  </a:lnTo>
                  <a:lnTo>
                    <a:pt x="303" y="433"/>
                  </a:lnTo>
                  <a:lnTo>
                    <a:pt x="311" y="424"/>
                  </a:lnTo>
                  <a:lnTo>
                    <a:pt x="312" y="405"/>
                  </a:lnTo>
                  <a:lnTo>
                    <a:pt x="297" y="412"/>
                  </a:lnTo>
                  <a:lnTo>
                    <a:pt x="289" y="418"/>
                  </a:lnTo>
                  <a:lnTo>
                    <a:pt x="278" y="420"/>
                  </a:lnTo>
                  <a:lnTo>
                    <a:pt x="261" y="412"/>
                  </a:lnTo>
                  <a:lnTo>
                    <a:pt x="259" y="395"/>
                  </a:lnTo>
                  <a:lnTo>
                    <a:pt x="264" y="382"/>
                  </a:lnTo>
                  <a:lnTo>
                    <a:pt x="278" y="380"/>
                  </a:lnTo>
                  <a:lnTo>
                    <a:pt x="305" y="387"/>
                  </a:lnTo>
                  <a:lnTo>
                    <a:pt x="284" y="372"/>
                  </a:lnTo>
                  <a:lnTo>
                    <a:pt x="268" y="364"/>
                  </a:lnTo>
                  <a:lnTo>
                    <a:pt x="255" y="368"/>
                  </a:lnTo>
                  <a:lnTo>
                    <a:pt x="243" y="360"/>
                  </a:lnTo>
                  <a:lnTo>
                    <a:pt x="259" y="335"/>
                  </a:lnTo>
                  <a:lnTo>
                    <a:pt x="251" y="328"/>
                  </a:lnTo>
                  <a:lnTo>
                    <a:pt x="241" y="307"/>
                  </a:lnTo>
                  <a:lnTo>
                    <a:pt x="224" y="278"/>
                  </a:lnTo>
                  <a:lnTo>
                    <a:pt x="205" y="268"/>
                  </a:lnTo>
                  <a:lnTo>
                    <a:pt x="205" y="257"/>
                  </a:lnTo>
                  <a:lnTo>
                    <a:pt x="169" y="239"/>
                  </a:lnTo>
                  <a:lnTo>
                    <a:pt x="138" y="239"/>
                  </a:lnTo>
                  <a:lnTo>
                    <a:pt x="101" y="239"/>
                  </a:lnTo>
                  <a:lnTo>
                    <a:pt x="67" y="239"/>
                  </a:lnTo>
                  <a:lnTo>
                    <a:pt x="51" y="232"/>
                  </a:lnTo>
                  <a:lnTo>
                    <a:pt x="27" y="213"/>
                  </a:lnTo>
                  <a:lnTo>
                    <a:pt x="63" y="205"/>
                  </a:lnTo>
                  <a:lnTo>
                    <a:pt x="92" y="203"/>
                  </a:lnTo>
                  <a:lnTo>
                    <a:pt x="32" y="195"/>
                  </a:lnTo>
                  <a:lnTo>
                    <a:pt x="0" y="182"/>
                  </a:lnTo>
                  <a:lnTo>
                    <a:pt x="2" y="170"/>
                  </a:lnTo>
                  <a:lnTo>
                    <a:pt x="55" y="155"/>
                  </a:lnTo>
                  <a:lnTo>
                    <a:pt x="107" y="140"/>
                  </a:lnTo>
                  <a:lnTo>
                    <a:pt x="113" y="130"/>
                  </a:lnTo>
                  <a:lnTo>
                    <a:pt x="74" y="119"/>
                  </a:lnTo>
                  <a:lnTo>
                    <a:pt x="86" y="105"/>
                  </a:lnTo>
                  <a:lnTo>
                    <a:pt x="136" y="84"/>
                  </a:lnTo>
                  <a:lnTo>
                    <a:pt x="155" y="78"/>
                  </a:lnTo>
                  <a:lnTo>
                    <a:pt x="149" y="65"/>
                  </a:lnTo>
                  <a:lnTo>
                    <a:pt x="182" y="55"/>
                  </a:lnTo>
                  <a:lnTo>
                    <a:pt x="226" y="49"/>
                  </a:lnTo>
                  <a:lnTo>
                    <a:pt x="266" y="49"/>
                  </a:lnTo>
                  <a:lnTo>
                    <a:pt x="284" y="59"/>
                  </a:lnTo>
                  <a:lnTo>
                    <a:pt x="320" y="42"/>
                  </a:lnTo>
                  <a:lnTo>
                    <a:pt x="353" y="55"/>
                  </a:lnTo>
                  <a:lnTo>
                    <a:pt x="372" y="57"/>
                  </a:lnTo>
                  <a:lnTo>
                    <a:pt x="401" y="69"/>
                  </a:lnTo>
                  <a:lnTo>
                    <a:pt x="368" y="49"/>
                  </a:lnTo>
                  <a:lnTo>
                    <a:pt x="370" y="34"/>
                  </a:lnTo>
                  <a:lnTo>
                    <a:pt x="418" y="15"/>
                  </a:lnTo>
                  <a:lnTo>
                    <a:pt x="466" y="17"/>
                  </a:lnTo>
                  <a:lnTo>
                    <a:pt x="483" y="2"/>
                  </a:lnTo>
                  <a:lnTo>
                    <a:pt x="53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241">
              <a:extLst>
                <a:ext uri="{FF2B5EF4-FFF2-40B4-BE49-F238E27FC236}">
                  <a16:creationId xmlns:a16="http://schemas.microsoft.com/office/drawing/2014/main" id="{E7E7E5D4-4A66-4135-9814-DE09944A66A9}"/>
                </a:ext>
              </a:extLst>
            </p:cNvPr>
            <p:cNvSpPr>
              <a:spLocks/>
            </p:cNvSpPr>
            <p:nvPr/>
          </p:nvSpPr>
          <p:spPr bwMode="auto">
            <a:xfrm>
              <a:off x="665164" y="2973749"/>
              <a:ext cx="39688" cy="22235"/>
            </a:xfrm>
            <a:custGeom>
              <a:avLst/>
              <a:gdLst>
                <a:gd name="T0" fmla="*/ 14 w 25"/>
                <a:gd name="T1" fmla="*/ 0 h 14"/>
                <a:gd name="T2" fmla="*/ 25 w 25"/>
                <a:gd name="T3" fmla="*/ 2 h 14"/>
                <a:gd name="T4" fmla="*/ 25 w 25"/>
                <a:gd name="T5" fmla="*/ 10 h 14"/>
                <a:gd name="T6" fmla="*/ 17 w 25"/>
                <a:gd name="T7" fmla="*/ 14 h 14"/>
                <a:gd name="T8" fmla="*/ 8 w 25"/>
                <a:gd name="T9" fmla="*/ 8 h 14"/>
                <a:gd name="T10" fmla="*/ 0 w 25"/>
                <a:gd name="T11" fmla="*/ 4 h 14"/>
                <a:gd name="T12" fmla="*/ 14 w 25"/>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14" y="0"/>
                  </a:moveTo>
                  <a:lnTo>
                    <a:pt x="25" y="2"/>
                  </a:lnTo>
                  <a:lnTo>
                    <a:pt x="25" y="10"/>
                  </a:lnTo>
                  <a:lnTo>
                    <a:pt x="17" y="14"/>
                  </a:lnTo>
                  <a:lnTo>
                    <a:pt x="8" y="8"/>
                  </a:lnTo>
                  <a:lnTo>
                    <a:pt x="0" y="4"/>
                  </a:lnTo>
                  <a:lnTo>
                    <a:pt x="1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243">
              <a:extLst>
                <a:ext uri="{FF2B5EF4-FFF2-40B4-BE49-F238E27FC236}">
                  <a16:creationId xmlns:a16="http://schemas.microsoft.com/office/drawing/2014/main" id="{35290ABB-7037-4330-B66F-01176C819103}"/>
                </a:ext>
              </a:extLst>
            </p:cNvPr>
            <p:cNvSpPr>
              <a:spLocks/>
            </p:cNvSpPr>
            <p:nvPr/>
          </p:nvSpPr>
          <p:spPr bwMode="auto">
            <a:xfrm>
              <a:off x="571501" y="2857808"/>
              <a:ext cx="66675" cy="28588"/>
            </a:xfrm>
            <a:custGeom>
              <a:avLst/>
              <a:gdLst>
                <a:gd name="T0" fmla="*/ 0 w 42"/>
                <a:gd name="T1" fmla="*/ 0 h 18"/>
                <a:gd name="T2" fmla="*/ 7 w 42"/>
                <a:gd name="T3" fmla="*/ 4 h 18"/>
                <a:gd name="T4" fmla="*/ 17 w 42"/>
                <a:gd name="T5" fmla="*/ 2 h 18"/>
                <a:gd name="T6" fmla="*/ 28 w 42"/>
                <a:gd name="T7" fmla="*/ 8 h 18"/>
                <a:gd name="T8" fmla="*/ 42 w 42"/>
                <a:gd name="T9" fmla="*/ 12 h 18"/>
                <a:gd name="T10" fmla="*/ 40 w 42"/>
                <a:gd name="T11" fmla="*/ 12 h 18"/>
                <a:gd name="T12" fmla="*/ 30 w 42"/>
                <a:gd name="T13" fmla="*/ 18 h 18"/>
                <a:gd name="T14" fmla="*/ 21 w 42"/>
                <a:gd name="T15" fmla="*/ 12 h 18"/>
                <a:gd name="T16" fmla="*/ 15 w 42"/>
                <a:gd name="T17" fmla="*/ 10 h 18"/>
                <a:gd name="T18" fmla="*/ 2 w 42"/>
                <a:gd name="T19" fmla="*/ 10 h 18"/>
                <a:gd name="T20" fmla="*/ 0 w 42"/>
                <a:gd name="T21" fmla="*/ 8 h 18"/>
                <a:gd name="T22" fmla="*/ 0 w 42"/>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18">
                  <a:moveTo>
                    <a:pt x="0" y="0"/>
                  </a:moveTo>
                  <a:lnTo>
                    <a:pt x="7" y="4"/>
                  </a:lnTo>
                  <a:lnTo>
                    <a:pt x="17" y="2"/>
                  </a:lnTo>
                  <a:lnTo>
                    <a:pt x="28" y="8"/>
                  </a:lnTo>
                  <a:lnTo>
                    <a:pt x="42" y="12"/>
                  </a:lnTo>
                  <a:lnTo>
                    <a:pt x="40" y="12"/>
                  </a:lnTo>
                  <a:lnTo>
                    <a:pt x="30" y="18"/>
                  </a:lnTo>
                  <a:lnTo>
                    <a:pt x="21" y="12"/>
                  </a:lnTo>
                  <a:lnTo>
                    <a:pt x="15" y="10"/>
                  </a:lnTo>
                  <a:lnTo>
                    <a:pt x="2" y="10"/>
                  </a:lnTo>
                  <a:lnTo>
                    <a:pt x="0" y="8"/>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24" name="Rectangle 223">
            <a:extLst>
              <a:ext uri="{FF2B5EF4-FFF2-40B4-BE49-F238E27FC236}">
                <a16:creationId xmlns:a16="http://schemas.microsoft.com/office/drawing/2014/main" id="{C69EC4AE-281A-46D9-873E-07BB1E51B05A}"/>
              </a:ext>
            </a:extLst>
          </p:cNvPr>
          <p:cNvSpPr/>
          <p:nvPr userDrawn="1"/>
        </p:nvSpPr>
        <p:spPr>
          <a:xfrm flipV="1">
            <a:off x="974274" y="3227405"/>
            <a:ext cx="10243456" cy="1245901"/>
          </a:xfrm>
          <a:prstGeom prst="rect">
            <a:avLst/>
          </a:prstGeom>
          <a:gradFill flip="none" rotWithShape="1">
            <a:gsLst>
              <a:gs pos="0">
                <a:schemeClr val="bg1"/>
              </a:gs>
              <a:gs pos="49000">
                <a:schemeClr val="bg1">
                  <a:alpha val="60000"/>
                </a:schemeClr>
              </a:gs>
              <a:gs pos="100000">
                <a:schemeClr val="bg1">
                  <a:alpha val="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225" name="Title 1">
            <a:extLst>
              <a:ext uri="{FF2B5EF4-FFF2-40B4-BE49-F238E27FC236}">
                <a16:creationId xmlns:a16="http://schemas.microsoft.com/office/drawing/2014/main" id="{35737774-FF6C-4629-B50A-18CFF24C5375}"/>
              </a:ext>
            </a:extLst>
          </p:cNvPr>
          <p:cNvSpPr>
            <a:spLocks noGrp="1"/>
          </p:cNvSpPr>
          <p:nvPr>
            <p:ph type="ctrTitle" hasCustomPrompt="1"/>
          </p:nvPr>
        </p:nvSpPr>
        <p:spPr>
          <a:xfrm>
            <a:off x="1929251" y="1929170"/>
            <a:ext cx="3504407" cy="220414"/>
          </a:xfrm>
        </p:spPr>
        <p:txBody>
          <a:bodyPr vert="horz" anchor="ctr" anchorCtr="0"/>
          <a:lstStyle>
            <a:lvl1pPr algn="r">
              <a:defRPr sz="1100" b="0" spc="0" baseline="0">
                <a:solidFill>
                  <a:schemeClr val="tx1"/>
                </a:solidFill>
              </a:defRPr>
            </a:lvl1pPr>
          </a:lstStyle>
          <a:p>
            <a:r>
              <a:rPr lang="en-US"/>
              <a:t>Type Name 1, Title</a:t>
            </a:r>
          </a:p>
        </p:txBody>
      </p:sp>
      <p:sp>
        <p:nvSpPr>
          <p:cNvPr id="226" name="Text Placeholder 12">
            <a:extLst>
              <a:ext uri="{FF2B5EF4-FFF2-40B4-BE49-F238E27FC236}">
                <a16:creationId xmlns:a16="http://schemas.microsoft.com/office/drawing/2014/main" id="{763DFA56-A75B-4906-9775-8AAB400E4C31}"/>
              </a:ext>
            </a:extLst>
          </p:cNvPr>
          <p:cNvSpPr>
            <a:spLocks noGrp="1"/>
          </p:cNvSpPr>
          <p:nvPr>
            <p:ph type="body" sz="quarter" idx="10" hasCustomPrompt="1"/>
          </p:nvPr>
        </p:nvSpPr>
        <p:spPr>
          <a:xfrm>
            <a:off x="1929251" y="2161154"/>
            <a:ext cx="3504407" cy="220414"/>
          </a:xfrm>
        </p:spPr>
        <p:txBody>
          <a:bodyPr anchor="ctr">
            <a:noAutofit/>
          </a:bodyPr>
          <a:lstStyle>
            <a:lvl1pPr algn="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227" name="Text Placeholder 12">
            <a:extLst>
              <a:ext uri="{FF2B5EF4-FFF2-40B4-BE49-F238E27FC236}">
                <a16:creationId xmlns:a16="http://schemas.microsoft.com/office/drawing/2014/main" id="{1F8CE907-3C90-41EB-91C7-DA18FA106401}"/>
              </a:ext>
            </a:extLst>
          </p:cNvPr>
          <p:cNvSpPr>
            <a:spLocks noGrp="1"/>
          </p:cNvSpPr>
          <p:nvPr>
            <p:ph type="body" sz="quarter" idx="11" hasCustomPrompt="1"/>
          </p:nvPr>
        </p:nvSpPr>
        <p:spPr>
          <a:xfrm>
            <a:off x="1929251" y="2956917"/>
            <a:ext cx="3504407" cy="220414"/>
          </a:xfrm>
        </p:spPr>
        <p:txBody>
          <a:bodyPr anchor="ctr">
            <a:noAutofit/>
          </a:bodyPr>
          <a:lstStyle>
            <a:lvl1pPr algn="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228" name="Text Placeholder 12">
            <a:extLst>
              <a:ext uri="{FF2B5EF4-FFF2-40B4-BE49-F238E27FC236}">
                <a16:creationId xmlns:a16="http://schemas.microsoft.com/office/drawing/2014/main" id="{B4D241AA-6FF3-4200-BFC4-3729D0603CFF}"/>
              </a:ext>
            </a:extLst>
          </p:cNvPr>
          <p:cNvSpPr>
            <a:spLocks noGrp="1"/>
          </p:cNvSpPr>
          <p:nvPr>
            <p:ph type="body" sz="quarter" idx="12" hasCustomPrompt="1"/>
          </p:nvPr>
        </p:nvSpPr>
        <p:spPr>
          <a:xfrm>
            <a:off x="1929251" y="3744054"/>
            <a:ext cx="3504407" cy="220414"/>
          </a:xfrm>
        </p:spPr>
        <p:txBody>
          <a:bodyPr anchor="ctr">
            <a:noAutofit/>
          </a:bodyPr>
          <a:lstStyle>
            <a:lvl1pPr algn="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229" name="Text Placeholder 12">
            <a:extLst>
              <a:ext uri="{FF2B5EF4-FFF2-40B4-BE49-F238E27FC236}">
                <a16:creationId xmlns:a16="http://schemas.microsoft.com/office/drawing/2014/main" id="{F6C3451D-9208-4A3A-9A11-2DDE6C330EC8}"/>
              </a:ext>
            </a:extLst>
          </p:cNvPr>
          <p:cNvSpPr>
            <a:spLocks noGrp="1"/>
          </p:cNvSpPr>
          <p:nvPr>
            <p:ph type="body" sz="quarter" idx="26" hasCustomPrompt="1"/>
          </p:nvPr>
        </p:nvSpPr>
        <p:spPr>
          <a:xfrm>
            <a:off x="1929251" y="4531191"/>
            <a:ext cx="3504407" cy="220414"/>
          </a:xfrm>
        </p:spPr>
        <p:txBody>
          <a:bodyPr anchor="ctr">
            <a:noAutofit/>
          </a:bodyPr>
          <a:lstStyle>
            <a:lvl1pPr algn="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230" name="Text Placeholder 12">
            <a:extLst>
              <a:ext uri="{FF2B5EF4-FFF2-40B4-BE49-F238E27FC236}">
                <a16:creationId xmlns:a16="http://schemas.microsoft.com/office/drawing/2014/main" id="{6E2907FF-2C7C-460B-B05F-BE4B56F1C815}"/>
              </a:ext>
            </a:extLst>
          </p:cNvPr>
          <p:cNvSpPr>
            <a:spLocks noGrp="1"/>
          </p:cNvSpPr>
          <p:nvPr>
            <p:ph type="body" sz="quarter" idx="15" hasCustomPrompt="1"/>
          </p:nvPr>
        </p:nvSpPr>
        <p:spPr>
          <a:xfrm>
            <a:off x="1929251" y="2724933"/>
            <a:ext cx="3504407" cy="220414"/>
          </a:xfrm>
        </p:spPr>
        <p:txBody>
          <a:bodyPr anchor="ctr">
            <a:noAutofit/>
          </a:bodyPr>
          <a:lstStyle>
            <a:lvl1pPr algn="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3, Title</a:t>
            </a:r>
          </a:p>
        </p:txBody>
      </p:sp>
      <p:sp>
        <p:nvSpPr>
          <p:cNvPr id="231" name="Text Placeholder 12">
            <a:extLst>
              <a:ext uri="{FF2B5EF4-FFF2-40B4-BE49-F238E27FC236}">
                <a16:creationId xmlns:a16="http://schemas.microsoft.com/office/drawing/2014/main" id="{78719E91-891E-4FAB-9142-5F2DD1E252F5}"/>
              </a:ext>
            </a:extLst>
          </p:cNvPr>
          <p:cNvSpPr>
            <a:spLocks noGrp="1"/>
          </p:cNvSpPr>
          <p:nvPr>
            <p:ph type="body" sz="quarter" idx="16" hasCustomPrompt="1"/>
          </p:nvPr>
        </p:nvSpPr>
        <p:spPr>
          <a:xfrm>
            <a:off x="1929251" y="3512070"/>
            <a:ext cx="3504407" cy="220414"/>
          </a:xfrm>
        </p:spPr>
        <p:txBody>
          <a:bodyPr anchor="ctr">
            <a:noAutofit/>
          </a:bodyPr>
          <a:lstStyle>
            <a:lvl1pPr algn="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5, Title</a:t>
            </a:r>
          </a:p>
        </p:txBody>
      </p:sp>
      <p:sp>
        <p:nvSpPr>
          <p:cNvPr id="232" name="Text Placeholder 12">
            <a:extLst>
              <a:ext uri="{FF2B5EF4-FFF2-40B4-BE49-F238E27FC236}">
                <a16:creationId xmlns:a16="http://schemas.microsoft.com/office/drawing/2014/main" id="{7F77393C-C96C-4DF6-9050-4B3C3FB2C5EF}"/>
              </a:ext>
            </a:extLst>
          </p:cNvPr>
          <p:cNvSpPr>
            <a:spLocks noGrp="1"/>
          </p:cNvSpPr>
          <p:nvPr>
            <p:ph type="body" sz="quarter" idx="27" hasCustomPrompt="1"/>
          </p:nvPr>
        </p:nvSpPr>
        <p:spPr>
          <a:xfrm>
            <a:off x="1929251" y="4299207"/>
            <a:ext cx="3504407" cy="220414"/>
          </a:xfrm>
        </p:spPr>
        <p:txBody>
          <a:bodyPr anchor="ctr">
            <a:noAutofit/>
          </a:bodyPr>
          <a:lstStyle>
            <a:lvl1pPr algn="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7, Title</a:t>
            </a:r>
          </a:p>
        </p:txBody>
      </p:sp>
      <p:sp>
        <p:nvSpPr>
          <p:cNvPr id="233" name="Text Placeholder 12">
            <a:extLst>
              <a:ext uri="{FF2B5EF4-FFF2-40B4-BE49-F238E27FC236}">
                <a16:creationId xmlns:a16="http://schemas.microsoft.com/office/drawing/2014/main" id="{BA4218A5-F5D0-4116-B615-8D1922502525}"/>
              </a:ext>
            </a:extLst>
          </p:cNvPr>
          <p:cNvSpPr>
            <a:spLocks noGrp="1"/>
          </p:cNvSpPr>
          <p:nvPr>
            <p:ph type="body" sz="quarter" idx="28" hasCustomPrompt="1"/>
          </p:nvPr>
        </p:nvSpPr>
        <p:spPr>
          <a:xfrm>
            <a:off x="6806051" y="2161154"/>
            <a:ext cx="3504407" cy="220414"/>
          </a:xfrm>
        </p:spPr>
        <p:txBody>
          <a:bodyPr anchor="ctr">
            <a:noAutofit/>
          </a:bodyPr>
          <a:lstStyle>
            <a:lvl1pP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234" name="Text Placeholder 12">
            <a:extLst>
              <a:ext uri="{FF2B5EF4-FFF2-40B4-BE49-F238E27FC236}">
                <a16:creationId xmlns:a16="http://schemas.microsoft.com/office/drawing/2014/main" id="{8722B1D3-D916-4E16-8E31-739781F5F3B5}"/>
              </a:ext>
            </a:extLst>
          </p:cNvPr>
          <p:cNvSpPr>
            <a:spLocks noGrp="1"/>
          </p:cNvSpPr>
          <p:nvPr>
            <p:ph type="body" sz="quarter" idx="29" hasCustomPrompt="1"/>
          </p:nvPr>
        </p:nvSpPr>
        <p:spPr>
          <a:xfrm>
            <a:off x="6806051" y="2956917"/>
            <a:ext cx="3504407" cy="220414"/>
          </a:xfrm>
        </p:spPr>
        <p:txBody>
          <a:bodyPr anchor="ctr">
            <a:noAutofit/>
          </a:bodyPr>
          <a:lstStyle>
            <a:lvl1pP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235" name="Text Placeholder 12">
            <a:extLst>
              <a:ext uri="{FF2B5EF4-FFF2-40B4-BE49-F238E27FC236}">
                <a16:creationId xmlns:a16="http://schemas.microsoft.com/office/drawing/2014/main" id="{F0A13DB8-9044-4579-A67C-3278A2ADBB21}"/>
              </a:ext>
            </a:extLst>
          </p:cNvPr>
          <p:cNvSpPr>
            <a:spLocks noGrp="1"/>
          </p:cNvSpPr>
          <p:nvPr>
            <p:ph type="body" sz="quarter" idx="30" hasCustomPrompt="1"/>
          </p:nvPr>
        </p:nvSpPr>
        <p:spPr>
          <a:xfrm>
            <a:off x="6806051" y="3744054"/>
            <a:ext cx="3504407" cy="220414"/>
          </a:xfrm>
        </p:spPr>
        <p:txBody>
          <a:bodyPr anchor="ctr">
            <a:noAutofit/>
          </a:bodyPr>
          <a:lstStyle>
            <a:lvl1pP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236" name="Text Placeholder 12">
            <a:extLst>
              <a:ext uri="{FF2B5EF4-FFF2-40B4-BE49-F238E27FC236}">
                <a16:creationId xmlns:a16="http://schemas.microsoft.com/office/drawing/2014/main" id="{DBE8D341-5191-4133-94BC-B8AFA2172D62}"/>
              </a:ext>
            </a:extLst>
          </p:cNvPr>
          <p:cNvSpPr>
            <a:spLocks noGrp="1"/>
          </p:cNvSpPr>
          <p:nvPr>
            <p:ph type="body" sz="quarter" idx="31" hasCustomPrompt="1"/>
          </p:nvPr>
        </p:nvSpPr>
        <p:spPr>
          <a:xfrm>
            <a:off x="6806051" y="4531191"/>
            <a:ext cx="3504407" cy="220414"/>
          </a:xfrm>
        </p:spPr>
        <p:txBody>
          <a:bodyPr anchor="ctr">
            <a:noAutofit/>
          </a:bodyPr>
          <a:lstStyle>
            <a:lvl1pP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237" name="Text Placeholder 12">
            <a:extLst>
              <a:ext uri="{FF2B5EF4-FFF2-40B4-BE49-F238E27FC236}">
                <a16:creationId xmlns:a16="http://schemas.microsoft.com/office/drawing/2014/main" id="{E0D9B687-E5AC-4EB2-8E32-52C6A7BC273A}"/>
              </a:ext>
            </a:extLst>
          </p:cNvPr>
          <p:cNvSpPr>
            <a:spLocks noGrp="1"/>
          </p:cNvSpPr>
          <p:nvPr>
            <p:ph type="body" sz="quarter" idx="32" hasCustomPrompt="1"/>
          </p:nvPr>
        </p:nvSpPr>
        <p:spPr>
          <a:xfrm>
            <a:off x="6806051" y="2724933"/>
            <a:ext cx="3504407" cy="220414"/>
          </a:xfrm>
        </p:spPr>
        <p:txBody>
          <a:bodyPr anchor="ctr">
            <a:noAutofit/>
          </a:bodyPr>
          <a:lstStyle>
            <a:lvl1pP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4, Title</a:t>
            </a:r>
          </a:p>
        </p:txBody>
      </p:sp>
      <p:sp>
        <p:nvSpPr>
          <p:cNvPr id="238" name="Text Placeholder 12">
            <a:extLst>
              <a:ext uri="{FF2B5EF4-FFF2-40B4-BE49-F238E27FC236}">
                <a16:creationId xmlns:a16="http://schemas.microsoft.com/office/drawing/2014/main" id="{B72450F8-D29A-4586-A330-65D7B8850D1A}"/>
              </a:ext>
            </a:extLst>
          </p:cNvPr>
          <p:cNvSpPr>
            <a:spLocks noGrp="1"/>
          </p:cNvSpPr>
          <p:nvPr>
            <p:ph type="body" sz="quarter" idx="33" hasCustomPrompt="1"/>
          </p:nvPr>
        </p:nvSpPr>
        <p:spPr>
          <a:xfrm>
            <a:off x="6806051" y="3512070"/>
            <a:ext cx="3504407" cy="220414"/>
          </a:xfrm>
        </p:spPr>
        <p:txBody>
          <a:bodyPr anchor="ctr">
            <a:noAutofit/>
          </a:bodyPr>
          <a:lstStyle>
            <a:lvl1pP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6, Title</a:t>
            </a:r>
          </a:p>
        </p:txBody>
      </p:sp>
      <p:sp>
        <p:nvSpPr>
          <p:cNvPr id="239" name="Text Placeholder 12">
            <a:extLst>
              <a:ext uri="{FF2B5EF4-FFF2-40B4-BE49-F238E27FC236}">
                <a16:creationId xmlns:a16="http://schemas.microsoft.com/office/drawing/2014/main" id="{580A7465-6C73-4C3D-85E5-58D1DFF9741D}"/>
              </a:ext>
            </a:extLst>
          </p:cNvPr>
          <p:cNvSpPr>
            <a:spLocks noGrp="1"/>
          </p:cNvSpPr>
          <p:nvPr>
            <p:ph type="body" sz="quarter" idx="34" hasCustomPrompt="1"/>
          </p:nvPr>
        </p:nvSpPr>
        <p:spPr>
          <a:xfrm>
            <a:off x="6806051" y="4299207"/>
            <a:ext cx="3504407" cy="220414"/>
          </a:xfrm>
        </p:spPr>
        <p:txBody>
          <a:bodyPr anchor="ctr">
            <a:noAutofit/>
          </a:bodyPr>
          <a:lstStyle>
            <a:lvl1pP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8, Title</a:t>
            </a:r>
          </a:p>
        </p:txBody>
      </p:sp>
      <p:sp>
        <p:nvSpPr>
          <p:cNvPr id="240" name="Text Placeholder 12">
            <a:extLst>
              <a:ext uri="{FF2B5EF4-FFF2-40B4-BE49-F238E27FC236}">
                <a16:creationId xmlns:a16="http://schemas.microsoft.com/office/drawing/2014/main" id="{3981ACA2-061D-42E5-84B6-56462232FC2D}"/>
              </a:ext>
            </a:extLst>
          </p:cNvPr>
          <p:cNvSpPr>
            <a:spLocks noGrp="1"/>
          </p:cNvSpPr>
          <p:nvPr>
            <p:ph type="body" sz="quarter" idx="35" hasCustomPrompt="1"/>
          </p:nvPr>
        </p:nvSpPr>
        <p:spPr>
          <a:xfrm>
            <a:off x="6806051" y="1929170"/>
            <a:ext cx="3504407" cy="220414"/>
          </a:xfrm>
        </p:spPr>
        <p:txBody>
          <a:bodyPr anchor="ctr">
            <a:noAutofit/>
          </a:bodyPr>
          <a:lstStyle>
            <a:lvl1pP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2, Title</a:t>
            </a:r>
          </a:p>
        </p:txBody>
      </p:sp>
      <p:grpSp>
        <p:nvGrpSpPr>
          <p:cNvPr id="2" name="Group 1">
            <a:extLst>
              <a:ext uri="{FF2B5EF4-FFF2-40B4-BE49-F238E27FC236}">
                <a16:creationId xmlns:a16="http://schemas.microsoft.com/office/drawing/2014/main" id="{DB9F30B6-DF89-1762-7679-92C83D8EC1B8}"/>
              </a:ext>
            </a:extLst>
          </p:cNvPr>
          <p:cNvGrpSpPr/>
          <p:nvPr userDrawn="1"/>
        </p:nvGrpSpPr>
        <p:grpSpPr>
          <a:xfrm>
            <a:off x="367368" y="5725874"/>
            <a:ext cx="951309" cy="341297"/>
            <a:chOff x="367368" y="6371773"/>
            <a:chExt cx="951309" cy="341297"/>
          </a:xfrm>
        </p:grpSpPr>
        <p:sp>
          <p:nvSpPr>
            <p:cNvPr id="3" name="Shape 2452">
              <a:extLst>
                <a:ext uri="{FF2B5EF4-FFF2-40B4-BE49-F238E27FC236}">
                  <a16:creationId xmlns:a16="http://schemas.microsoft.com/office/drawing/2014/main" id="{14AF95AC-A041-2120-6470-824591C6F158}"/>
                </a:ext>
              </a:extLst>
            </p:cNvPr>
            <p:cNvSpPr>
              <a:spLocks noChangeAspect="1"/>
            </p:cNvSpPr>
            <p:nvPr userDrawn="1"/>
          </p:nvSpPr>
          <p:spPr>
            <a:xfrm>
              <a:off x="796852"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4" name="TextBox 3">
              <a:extLst>
                <a:ext uri="{FF2B5EF4-FFF2-40B4-BE49-F238E27FC236}">
                  <a16:creationId xmlns:a16="http://schemas.microsoft.com/office/drawing/2014/main" id="{0AA41FEB-DAEA-49CC-1E4C-EB286F735838}"/>
                </a:ext>
              </a:extLst>
            </p:cNvPr>
            <p:cNvSpPr txBox="1"/>
            <p:nvPr userDrawn="1"/>
          </p:nvSpPr>
          <p:spPr>
            <a:xfrm>
              <a:off x="367368"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WALTHAM</a:t>
              </a:r>
            </a:p>
          </p:txBody>
        </p:sp>
      </p:grpSp>
      <p:grpSp>
        <p:nvGrpSpPr>
          <p:cNvPr id="35" name="Group 34">
            <a:extLst>
              <a:ext uri="{FF2B5EF4-FFF2-40B4-BE49-F238E27FC236}">
                <a16:creationId xmlns:a16="http://schemas.microsoft.com/office/drawing/2014/main" id="{615B14D5-E45B-DD0B-8A90-B77E6773B7B9}"/>
              </a:ext>
            </a:extLst>
          </p:cNvPr>
          <p:cNvGrpSpPr/>
          <p:nvPr userDrawn="1"/>
        </p:nvGrpSpPr>
        <p:grpSpPr>
          <a:xfrm>
            <a:off x="1419076" y="5725874"/>
            <a:ext cx="951309" cy="341297"/>
            <a:chOff x="1419076" y="6371773"/>
            <a:chExt cx="951309" cy="341297"/>
          </a:xfrm>
        </p:grpSpPr>
        <p:sp>
          <p:nvSpPr>
            <p:cNvPr id="36" name="Shape 2452">
              <a:extLst>
                <a:ext uri="{FF2B5EF4-FFF2-40B4-BE49-F238E27FC236}">
                  <a16:creationId xmlns:a16="http://schemas.microsoft.com/office/drawing/2014/main" id="{5985CE1B-A8DE-2791-691C-74AB5AB551B7}"/>
                </a:ext>
              </a:extLst>
            </p:cNvPr>
            <p:cNvSpPr>
              <a:spLocks noChangeAspect="1"/>
            </p:cNvSpPr>
            <p:nvPr userDrawn="1"/>
          </p:nvSpPr>
          <p:spPr>
            <a:xfrm>
              <a:off x="1848560"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37" name="TextBox 36">
              <a:extLst>
                <a:ext uri="{FF2B5EF4-FFF2-40B4-BE49-F238E27FC236}">
                  <a16:creationId xmlns:a16="http://schemas.microsoft.com/office/drawing/2014/main" id="{31C51F9D-F912-B335-BC5C-EE36F6AEFBC5}"/>
                </a:ext>
              </a:extLst>
            </p:cNvPr>
            <p:cNvSpPr txBox="1"/>
            <p:nvPr userDrawn="1"/>
          </p:nvSpPr>
          <p:spPr>
            <a:xfrm>
              <a:off x="1419076"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CAMBRIDGE</a:t>
              </a:r>
            </a:p>
          </p:txBody>
        </p:sp>
      </p:grpSp>
      <p:grpSp>
        <p:nvGrpSpPr>
          <p:cNvPr id="44" name="Group 43">
            <a:extLst>
              <a:ext uri="{FF2B5EF4-FFF2-40B4-BE49-F238E27FC236}">
                <a16:creationId xmlns:a16="http://schemas.microsoft.com/office/drawing/2014/main" id="{30A16698-4CC1-817F-2E21-7D413FED1EE6}"/>
              </a:ext>
            </a:extLst>
          </p:cNvPr>
          <p:cNvGrpSpPr/>
          <p:nvPr userDrawn="1"/>
        </p:nvGrpSpPr>
        <p:grpSpPr>
          <a:xfrm>
            <a:off x="2470784" y="5725874"/>
            <a:ext cx="951309" cy="341297"/>
            <a:chOff x="2470784" y="6371773"/>
            <a:chExt cx="951309" cy="341297"/>
          </a:xfrm>
        </p:grpSpPr>
        <p:sp>
          <p:nvSpPr>
            <p:cNvPr id="45" name="Shape 2452">
              <a:extLst>
                <a:ext uri="{FF2B5EF4-FFF2-40B4-BE49-F238E27FC236}">
                  <a16:creationId xmlns:a16="http://schemas.microsoft.com/office/drawing/2014/main" id="{F590BB96-8911-EDB7-62F8-767AE73FC0D4}"/>
                </a:ext>
              </a:extLst>
            </p:cNvPr>
            <p:cNvSpPr>
              <a:spLocks noChangeAspect="1"/>
            </p:cNvSpPr>
            <p:nvPr userDrawn="1"/>
          </p:nvSpPr>
          <p:spPr>
            <a:xfrm>
              <a:off x="2900268"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46" name="TextBox 45">
              <a:extLst>
                <a:ext uri="{FF2B5EF4-FFF2-40B4-BE49-F238E27FC236}">
                  <a16:creationId xmlns:a16="http://schemas.microsoft.com/office/drawing/2014/main" id="{D63CD3C3-9455-1520-3768-3288A1BC4AED}"/>
                </a:ext>
              </a:extLst>
            </p:cNvPr>
            <p:cNvSpPr txBox="1"/>
            <p:nvPr userDrawn="1"/>
          </p:nvSpPr>
          <p:spPr>
            <a:xfrm>
              <a:off x="2470784"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NEW YORK</a:t>
              </a:r>
            </a:p>
          </p:txBody>
        </p:sp>
      </p:grpSp>
      <p:grpSp>
        <p:nvGrpSpPr>
          <p:cNvPr id="47" name="Group 46">
            <a:extLst>
              <a:ext uri="{FF2B5EF4-FFF2-40B4-BE49-F238E27FC236}">
                <a16:creationId xmlns:a16="http://schemas.microsoft.com/office/drawing/2014/main" id="{050252AC-6335-832D-AC27-C9EEF2700BC0}"/>
              </a:ext>
            </a:extLst>
          </p:cNvPr>
          <p:cNvGrpSpPr/>
          <p:nvPr userDrawn="1"/>
        </p:nvGrpSpPr>
        <p:grpSpPr>
          <a:xfrm>
            <a:off x="5625908" y="5725874"/>
            <a:ext cx="951309" cy="341297"/>
            <a:chOff x="5625908" y="6371773"/>
            <a:chExt cx="951309" cy="341297"/>
          </a:xfrm>
        </p:grpSpPr>
        <p:sp>
          <p:nvSpPr>
            <p:cNvPr id="48" name="Shape 2452">
              <a:extLst>
                <a:ext uri="{FF2B5EF4-FFF2-40B4-BE49-F238E27FC236}">
                  <a16:creationId xmlns:a16="http://schemas.microsoft.com/office/drawing/2014/main" id="{5DFB239C-A55B-4B96-F168-E0A6A4BEC60A}"/>
                </a:ext>
              </a:extLst>
            </p:cNvPr>
            <p:cNvSpPr>
              <a:spLocks noChangeAspect="1"/>
            </p:cNvSpPr>
            <p:nvPr userDrawn="1"/>
          </p:nvSpPr>
          <p:spPr>
            <a:xfrm>
              <a:off x="6055392"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50" name="TextBox 49">
              <a:extLst>
                <a:ext uri="{FF2B5EF4-FFF2-40B4-BE49-F238E27FC236}">
                  <a16:creationId xmlns:a16="http://schemas.microsoft.com/office/drawing/2014/main" id="{855306DA-489E-C9AC-3665-8C63AC75922D}"/>
                </a:ext>
              </a:extLst>
            </p:cNvPr>
            <p:cNvSpPr txBox="1"/>
            <p:nvPr userDrawn="1"/>
          </p:nvSpPr>
          <p:spPr>
            <a:xfrm>
              <a:off x="5625908"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SAN FRANCISCO</a:t>
              </a:r>
            </a:p>
          </p:txBody>
        </p:sp>
      </p:grpSp>
      <p:grpSp>
        <p:nvGrpSpPr>
          <p:cNvPr id="52" name="Group 51">
            <a:extLst>
              <a:ext uri="{FF2B5EF4-FFF2-40B4-BE49-F238E27FC236}">
                <a16:creationId xmlns:a16="http://schemas.microsoft.com/office/drawing/2014/main" id="{D3C30A7A-006B-1E46-EE5E-60E6CE4C1E04}"/>
              </a:ext>
            </a:extLst>
          </p:cNvPr>
          <p:cNvGrpSpPr/>
          <p:nvPr userDrawn="1"/>
        </p:nvGrpSpPr>
        <p:grpSpPr>
          <a:xfrm>
            <a:off x="9832740" y="5725874"/>
            <a:ext cx="951309" cy="341297"/>
            <a:chOff x="9832740" y="6371773"/>
            <a:chExt cx="951309" cy="341297"/>
          </a:xfrm>
        </p:grpSpPr>
        <p:sp>
          <p:nvSpPr>
            <p:cNvPr id="54" name="Shape 2452">
              <a:extLst>
                <a:ext uri="{FF2B5EF4-FFF2-40B4-BE49-F238E27FC236}">
                  <a16:creationId xmlns:a16="http://schemas.microsoft.com/office/drawing/2014/main" id="{EB45FF2F-D800-0371-9D79-42CF70843CD7}"/>
                </a:ext>
              </a:extLst>
            </p:cNvPr>
            <p:cNvSpPr>
              <a:spLocks noChangeAspect="1"/>
            </p:cNvSpPr>
            <p:nvPr userDrawn="1"/>
          </p:nvSpPr>
          <p:spPr>
            <a:xfrm>
              <a:off x="10262224"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56" name="TextBox 55">
              <a:extLst>
                <a:ext uri="{FF2B5EF4-FFF2-40B4-BE49-F238E27FC236}">
                  <a16:creationId xmlns:a16="http://schemas.microsoft.com/office/drawing/2014/main" id="{27C7C02A-57B5-2FD9-16FA-1866A17FAE9C}"/>
                </a:ext>
              </a:extLst>
            </p:cNvPr>
            <p:cNvSpPr txBox="1"/>
            <p:nvPr userDrawn="1"/>
          </p:nvSpPr>
          <p:spPr>
            <a:xfrm>
              <a:off x="9832740"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BANGALORE</a:t>
              </a:r>
            </a:p>
          </p:txBody>
        </p:sp>
      </p:grpSp>
      <p:grpSp>
        <p:nvGrpSpPr>
          <p:cNvPr id="57" name="Group 56">
            <a:extLst>
              <a:ext uri="{FF2B5EF4-FFF2-40B4-BE49-F238E27FC236}">
                <a16:creationId xmlns:a16="http://schemas.microsoft.com/office/drawing/2014/main" id="{26767756-A20B-A02E-FD5B-72FDC0BB91E3}"/>
              </a:ext>
            </a:extLst>
          </p:cNvPr>
          <p:cNvGrpSpPr/>
          <p:nvPr userDrawn="1"/>
        </p:nvGrpSpPr>
        <p:grpSpPr>
          <a:xfrm>
            <a:off x="7729324" y="5725874"/>
            <a:ext cx="951309" cy="341297"/>
            <a:chOff x="7729324" y="5725874"/>
            <a:chExt cx="951309" cy="341297"/>
          </a:xfrm>
        </p:grpSpPr>
        <p:sp>
          <p:nvSpPr>
            <p:cNvPr id="58" name="TextBox 57">
              <a:extLst>
                <a:ext uri="{FF2B5EF4-FFF2-40B4-BE49-F238E27FC236}">
                  <a16:creationId xmlns:a16="http://schemas.microsoft.com/office/drawing/2014/main" id="{72F9C6CE-F70E-833E-1BB7-1C8F1DCA37E7}"/>
                </a:ext>
              </a:extLst>
            </p:cNvPr>
            <p:cNvSpPr txBox="1"/>
            <p:nvPr userDrawn="1"/>
          </p:nvSpPr>
          <p:spPr>
            <a:xfrm>
              <a:off x="7729324" y="5928672"/>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LONDON</a:t>
              </a:r>
            </a:p>
          </p:txBody>
        </p:sp>
        <p:sp>
          <p:nvSpPr>
            <p:cNvPr id="59" name="Shape 2452">
              <a:extLst>
                <a:ext uri="{FF2B5EF4-FFF2-40B4-BE49-F238E27FC236}">
                  <a16:creationId xmlns:a16="http://schemas.microsoft.com/office/drawing/2014/main" id="{48E720C1-09C7-D199-59F5-47D28055041C}"/>
                </a:ext>
              </a:extLst>
            </p:cNvPr>
            <p:cNvSpPr>
              <a:spLocks noChangeAspect="1"/>
            </p:cNvSpPr>
            <p:nvPr userDrawn="1"/>
          </p:nvSpPr>
          <p:spPr>
            <a:xfrm>
              <a:off x="8158808" y="5725874"/>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grpSp>
      <p:grpSp>
        <p:nvGrpSpPr>
          <p:cNvPr id="60" name="Group 59">
            <a:extLst>
              <a:ext uri="{FF2B5EF4-FFF2-40B4-BE49-F238E27FC236}">
                <a16:creationId xmlns:a16="http://schemas.microsoft.com/office/drawing/2014/main" id="{18B1E878-87CB-AEF4-C457-DBEE9AF1D1FE}"/>
              </a:ext>
            </a:extLst>
          </p:cNvPr>
          <p:cNvGrpSpPr/>
          <p:nvPr userDrawn="1"/>
        </p:nvGrpSpPr>
        <p:grpSpPr>
          <a:xfrm>
            <a:off x="6677616" y="5725874"/>
            <a:ext cx="951309" cy="341297"/>
            <a:chOff x="6677616" y="5725874"/>
            <a:chExt cx="951309" cy="341297"/>
          </a:xfrm>
        </p:grpSpPr>
        <p:sp>
          <p:nvSpPr>
            <p:cNvPr id="61" name="Shape 2452">
              <a:extLst>
                <a:ext uri="{FF2B5EF4-FFF2-40B4-BE49-F238E27FC236}">
                  <a16:creationId xmlns:a16="http://schemas.microsoft.com/office/drawing/2014/main" id="{1E2971BA-A131-BDFE-BE81-A6CD1AB1B9B0}"/>
                </a:ext>
              </a:extLst>
            </p:cNvPr>
            <p:cNvSpPr>
              <a:spLocks noChangeAspect="1"/>
            </p:cNvSpPr>
            <p:nvPr userDrawn="1"/>
          </p:nvSpPr>
          <p:spPr>
            <a:xfrm>
              <a:off x="7107100" y="5725874"/>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62" name="TextBox 61">
              <a:extLst>
                <a:ext uri="{FF2B5EF4-FFF2-40B4-BE49-F238E27FC236}">
                  <a16:creationId xmlns:a16="http://schemas.microsoft.com/office/drawing/2014/main" id="{CB4A05A2-09C0-FAF2-861A-20D9048A37C2}"/>
                </a:ext>
              </a:extLst>
            </p:cNvPr>
            <p:cNvSpPr txBox="1"/>
            <p:nvPr userDrawn="1"/>
          </p:nvSpPr>
          <p:spPr>
            <a:xfrm>
              <a:off x="6677616" y="5928672"/>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MUNICH</a:t>
              </a:r>
            </a:p>
          </p:txBody>
        </p:sp>
      </p:grpSp>
      <p:grpSp>
        <p:nvGrpSpPr>
          <p:cNvPr id="63" name="Group 62">
            <a:extLst>
              <a:ext uri="{FF2B5EF4-FFF2-40B4-BE49-F238E27FC236}">
                <a16:creationId xmlns:a16="http://schemas.microsoft.com/office/drawing/2014/main" id="{CD5339AF-4A3A-171E-55C8-CAF44EB8C981}"/>
              </a:ext>
            </a:extLst>
          </p:cNvPr>
          <p:cNvGrpSpPr/>
          <p:nvPr userDrawn="1"/>
        </p:nvGrpSpPr>
        <p:grpSpPr>
          <a:xfrm>
            <a:off x="8781032" y="5725874"/>
            <a:ext cx="951309" cy="341297"/>
            <a:chOff x="8781032" y="6371773"/>
            <a:chExt cx="951309" cy="341297"/>
          </a:xfrm>
        </p:grpSpPr>
        <p:sp>
          <p:nvSpPr>
            <p:cNvPr id="65" name="Shape 2452">
              <a:extLst>
                <a:ext uri="{FF2B5EF4-FFF2-40B4-BE49-F238E27FC236}">
                  <a16:creationId xmlns:a16="http://schemas.microsoft.com/office/drawing/2014/main" id="{DB060A30-71EE-AAA9-CECC-CE31F66A7C7E}"/>
                </a:ext>
              </a:extLst>
            </p:cNvPr>
            <p:cNvSpPr>
              <a:spLocks noChangeAspect="1"/>
            </p:cNvSpPr>
            <p:nvPr userDrawn="1"/>
          </p:nvSpPr>
          <p:spPr>
            <a:xfrm>
              <a:off x="9210516"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67" name="TextBox 66">
              <a:extLst>
                <a:ext uri="{FF2B5EF4-FFF2-40B4-BE49-F238E27FC236}">
                  <a16:creationId xmlns:a16="http://schemas.microsoft.com/office/drawing/2014/main" id="{2BD68742-E44C-4D53-4FCE-6CC36B61013C}"/>
                </a:ext>
              </a:extLst>
            </p:cNvPr>
            <p:cNvSpPr txBox="1"/>
            <p:nvPr userDrawn="1"/>
          </p:nvSpPr>
          <p:spPr>
            <a:xfrm>
              <a:off x="8781032"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GURGAON</a:t>
              </a:r>
            </a:p>
          </p:txBody>
        </p:sp>
      </p:grpSp>
      <p:grpSp>
        <p:nvGrpSpPr>
          <p:cNvPr id="68" name="Group 67">
            <a:extLst>
              <a:ext uri="{FF2B5EF4-FFF2-40B4-BE49-F238E27FC236}">
                <a16:creationId xmlns:a16="http://schemas.microsoft.com/office/drawing/2014/main" id="{9B7B5779-AE47-57F2-B872-D35098B4C0A9}"/>
              </a:ext>
            </a:extLst>
          </p:cNvPr>
          <p:cNvGrpSpPr/>
          <p:nvPr userDrawn="1"/>
        </p:nvGrpSpPr>
        <p:grpSpPr>
          <a:xfrm>
            <a:off x="3522492" y="5725874"/>
            <a:ext cx="951309" cy="341297"/>
            <a:chOff x="3522492" y="6371773"/>
            <a:chExt cx="951309" cy="341297"/>
          </a:xfrm>
        </p:grpSpPr>
        <p:sp>
          <p:nvSpPr>
            <p:cNvPr id="69" name="TextBox 68">
              <a:extLst>
                <a:ext uri="{FF2B5EF4-FFF2-40B4-BE49-F238E27FC236}">
                  <a16:creationId xmlns:a16="http://schemas.microsoft.com/office/drawing/2014/main" id="{ECA45C61-9282-422B-BECB-C7E2EC28EE8C}"/>
                </a:ext>
              </a:extLst>
            </p:cNvPr>
            <p:cNvSpPr txBox="1"/>
            <p:nvPr userDrawn="1"/>
          </p:nvSpPr>
          <p:spPr>
            <a:xfrm>
              <a:off x="3522492"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PRINCETON</a:t>
              </a:r>
            </a:p>
          </p:txBody>
        </p:sp>
        <p:sp>
          <p:nvSpPr>
            <p:cNvPr id="70" name="Shape 2452">
              <a:extLst>
                <a:ext uri="{FF2B5EF4-FFF2-40B4-BE49-F238E27FC236}">
                  <a16:creationId xmlns:a16="http://schemas.microsoft.com/office/drawing/2014/main" id="{B693884A-B083-8581-D747-028FDFF22DB0}"/>
                </a:ext>
              </a:extLst>
            </p:cNvPr>
            <p:cNvSpPr>
              <a:spLocks noChangeAspect="1"/>
            </p:cNvSpPr>
            <p:nvPr userDrawn="1"/>
          </p:nvSpPr>
          <p:spPr>
            <a:xfrm>
              <a:off x="3951976"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grpSp>
      <p:grpSp>
        <p:nvGrpSpPr>
          <p:cNvPr id="71" name="Group 70">
            <a:extLst>
              <a:ext uri="{FF2B5EF4-FFF2-40B4-BE49-F238E27FC236}">
                <a16:creationId xmlns:a16="http://schemas.microsoft.com/office/drawing/2014/main" id="{EA616A0A-90B7-2E87-3CFD-340C49FC782C}"/>
              </a:ext>
            </a:extLst>
          </p:cNvPr>
          <p:cNvGrpSpPr/>
          <p:nvPr userDrawn="1"/>
        </p:nvGrpSpPr>
        <p:grpSpPr>
          <a:xfrm>
            <a:off x="4574200" y="5725874"/>
            <a:ext cx="951309" cy="341297"/>
            <a:chOff x="4574200" y="6371773"/>
            <a:chExt cx="951309" cy="341297"/>
          </a:xfrm>
        </p:grpSpPr>
        <p:sp>
          <p:nvSpPr>
            <p:cNvPr id="72" name="Shape 2452">
              <a:extLst>
                <a:ext uri="{FF2B5EF4-FFF2-40B4-BE49-F238E27FC236}">
                  <a16:creationId xmlns:a16="http://schemas.microsoft.com/office/drawing/2014/main" id="{A86B73BD-7A41-724C-DBB4-ADD739B2A3BD}"/>
                </a:ext>
              </a:extLst>
            </p:cNvPr>
            <p:cNvSpPr>
              <a:spLocks noChangeAspect="1"/>
            </p:cNvSpPr>
            <p:nvPr userDrawn="1"/>
          </p:nvSpPr>
          <p:spPr>
            <a:xfrm>
              <a:off x="5003684"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73" name="TextBox 72">
              <a:extLst>
                <a:ext uri="{FF2B5EF4-FFF2-40B4-BE49-F238E27FC236}">
                  <a16:creationId xmlns:a16="http://schemas.microsoft.com/office/drawing/2014/main" id="{3D741C62-88EF-CA5A-EE8A-1577FEE61D9C}"/>
                </a:ext>
              </a:extLst>
            </p:cNvPr>
            <p:cNvSpPr txBox="1"/>
            <p:nvPr userDrawn="1"/>
          </p:nvSpPr>
          <p:spPr>
            <a:xfrm>
              <a:off x="4574200"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PHILADELPHIA</a:t>
              </a:r>
            </a:p>
          </p:txBody>
        </p:sp>
      </p:grpSp>
      <p:grpSp>
        <p:nvGrpSpPr>
          <p:cNvPr id="75" name="Group 74">
            <a:extLst>
              <a:ext uri="{FF2B5EF4-FFF2-40B4-BE49-F238E27FC236}">
                <a16:creationId xmlns:a16="http://schemas.microsoft.com/office/drawing/2014/main" id="{F2DB4799-6867-3FB9-47CA-484D46A1CE0C}"/>
              </a:ext>
            </a:extLst>
          </p:cNvPr>
          <p:cNvGrpSpPr/>
          <p:nvPr userDrawn="1"/>
        </p:nvGrpSpPr>
        <p:grpSpPr>
          <a:xfrm>
            <a:off x="10884444" y="5725874"/>
            <a:ext cx="951309" cy="341297"/>
            <a:chOff x="10884444" y="6371773"/>
            <a:chExt cx="951309" cy="341297"/>
          </a:xfrm>
        </p:grpSpPr>
        <p:sp>
          <p:nvSpPr>
            <p:cNvPr id="85" name="TextBox 84">
              <a:extLst>
                <a:ext uri="{FF2B5EF4-FFF2-40B4-BE49-F238E27FC236}">
                  <a16:creationId xmlns:a16="http://schemas.microsoft.com/office/drawing/2014/main" id="{3CE03958-D72C-4FD5-5323-79A5DE9C88BE}"/>
                </a:ext>
              </a:extLst>
            </p:cNvPr>
            <p:cNvSpPr txBox="1"/>
            <p:nvPr userDrawn="1"/>
          </p:nvSpPr>
          <p:spPr>
            <a:xfrm>
              <a:off x="10884444"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CHENNAI</a:t>
              </a:r>
            </a:p>
          </p:txBody>
        </p:sp>
        <p:sp>
          <p:nvSpPr>
            <p:cNvPr id="86" name="Shape 2452">
              <a:extLst>
                <a:ext uri="{FF2B5EF4-FFF2-40B4-BE49-F238E27FC236}">
                  <a16:creationId xmlns:a16="http://schemas.microsoft.com/office/drawing/2014/main" id="{2C68EC04-1FA6-29D6-3AC6-97E221C51C69}"/>
                </a:ext>
              </a:extLst>
            </p:cNvPr>
            <p:cNvSpPr>
              <a:spLocks noChangeAspect="1"/>
            </p:cNvSpPr>
            <p:nvPr userDrawn="1"/>
          </p:nvSpPr>
          <p:spPr>
            <a:xfrm>
              <a:off x="11313928"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grpSp>
    </p:spTree>
    <p:extLst>
      <p:ext uri="{BB962C8B-B14F-4D97-AF65-F5344CB8AC3E}">
        <p14:creationId xmlns:p14="http://schemas.microsoft.com/office/powerpoint/2010/main" val="15056097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Slide">
    <p:spTree>
      <p:nvGrpSpPr>
        <p:cNvPr id="1" name=""/>
        <p:cNvGrpSpPr/>
        <p:nvPr/>
      </p:nvGrpSpPr>
      <p:grpSpPr>
        <a:xfrm>
          <a:off x="0" y="0"/>
          <a:ext cx="0" cy="0"/>
          <a:chOff x="0" y="0"/>
          <a:chExt cx="0" cy="0"/>
        </a:xfrm>
      </p:grpSpPr>
      <p:sp>
        <p:nvSpPr>
          <p:cNvPr id="12" name="Right Triangle 11">
            <a:extLst>
              <a:ext uri="{FF2B5EF4-FFF2-40B4-BE49-F238E27FC236}">
                <a16:creationId xmlns:a16="http://schemas.microsoft.com/office/drawing/2014/main" id="{F74925F4-E2FE-404F-8F2C-10661440AAFC}"/>
              </a:ext>
            </a:extLst>
          </p:cNvPr>
          <p:cNvSpPr/>
          <p:nvPr userDrawn="1"/>
        </p:nvSpPr>
        <p:spPr>
          <a:xfrm rot="16200000">
            <a:off x="7354548" y="2020544"/>
            <a:ext cx="5223296" cy="4451617"/>
          </a:xfrm>
          <a:prstGeom prst="rtTriangle">
            <a:avLst/>
          </a:prstGeom>
          <a:gradFill flip="none" rotWithShape="1">
            <a:gsLst>
              <a:gs pos="100000">
                <a:srgbClr val="7993BA"/>
              </a:gs>
              <a:gs pos="0">
                <a:srgbClr val="8FACCC">
                  <a:alpha val="64706"/>
                </a:srgbClr>
              </a:gs>
            </a:gsLst>
            <a:lin ang="54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6" name="Right Triangle 5"/>
          <p:cNvSpPr/>
          <p:nvPr userDrawn="1"/>
        </p:nvSpPr>
        <p:spPr>
          <a:xfrm flipH="1">
            <a:off x="7251191" y="1634704"/>
            <a:ext cx="4940806" cy="5223296"/>
          </a:xfrm>
          <a:prstGeom prst="rtTriangle">
            <a:avLst/>
          </a:prstGeom>
          <a:gradFill flip="none" rotWithShape="1">
            <a:gsLst>
              <a:gs pos="0">
                <a:schemeClr val="bg1"/>
              </a:gs>
              <a:gs pos="100000">
                <a:schemeClr val="bg1">
                  <a:alpha val="20000"/>
                </a:schemeClr>
              </a:gs>
            </a:gsLst>
            <a:lin ang="108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11" name="Right Triangle 10">
            <a:extLst>
              <a:ext uri="{FF2B5EF4-FFF2-40B4-BE49-F238E27FC236}">
                <a16:creationId xmlns:a16="http://schemas.microsoft.com/office/drawing/2014/main" id="{857CE522-ADB6-E645-8450-7D1EADF70370}"/>
              </a:ext>
            </a:extLst>
          </p:cNvPr>
          <p:cNvSpPr/>
          <p:nvPr userDrawn="1"/>
        </p:nvSpPr>
        <p:spPr>
          <a:xfrm rot="10800000">
            <a:off x="10183654" y="0"/>
            <a:ext cx="2008345" cy="4495803"/>
          </a:xfrm>
          <a:prstGeom prst="rtTriangle">
            <a:avLst/>
          </a:prstGeom>
          <a:gradFill flip="none" rotWithShape="1">
            <a:gsLst>
              <a:gs pos="39000">
                <a:srgbClr val="88ABCC">
                  <a:alpha val="90000"/>
                </a:srgbClr>
              </a:gs>
              <a:gs pos="97000">
                <a:srgbClr val="394F73"/>
              </a:gs>
            </a:gsLst>
            <a:lin ang="9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29277489"/>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5" name="Text Placeholder 4"/>
          <p:cNvSpPr>
            <a:spLocks noGrp="1"/>
          </p:cNvSpPr>
          <p:nvPr>
            <p:ph type="body" sz="quarter" idx="10"/>
          </p:nvPr>
        </p:nvSpPr>
        <p:spPr>
          <a:xfrm>
            <a:off x="609600" y="1371600"/>
            <a:ext cx="10972800" cy="4953000"/>
          </a:xfrm>
        </p:spPr>
        <p:txBody>
          <a:bodyPr/>
          <a:lstStyle>
            <a:lvl1pPr marL="190500" indent="-187325">
              <a:spcBef>
                <a:spcPts val="1200"/>
              </a:spcBef>
              <a:spcAft>
                <a:spcPts val="1200"/>
              </a:spcAft>
              <a:buClr>
                <a:schemeClr val="bg2">
                  <a:lumMod val="50000"/>
                </a:schemeClr>
              </a:buClr>
              <a:buSzPct val="100000"/>
              <a:buFont typeface="Arial" charset="0"/>
              <a:buChar char="•"/>
              <a:defRPr sz="2000">
                <a:solidFill>
                  <a:schemeClr val="tx1"/>
                </a:solidFill>
              </a:defRPr>
            </a:lvl1pPr>
            <a:lvl2pPr>
              <a:spcBef>
                <a:spcPts val="600"/>
              </a:spcBef>
              <a:spcAft>
                <a:spcPts val="600"/>
              </a:spcAft>
              <a:defRPr sz="1800">
                <a:solidFill>
                  <a:schemeClr val="accent1"/>
                </a:solidFill>
              </a:defRPr>
            </a:lvl2pPr>
            <a:lvl3pPr>
              <a:spcBef>
                <a:spcPts val="600"/>
              </a:spcBef>
              <a:spcAft>
                <a:spcPts val="600"/>
              </a:spcAft>
              <a:defRPr sz="1600">
                <a:solidFill>
                  <a:schemeClr val="bg2">
                    <a:lumMod val="50000"/>
                  </a:schemeClr>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5"/>
          <p:cNvSpPr txBox="1">
            <a:spLocks/>
          </p:cNvSpPr>
          <p:nvPr userDrawn="1"/>
        </p:nvSpPr>
        <p:spPr>
          <a:xfrm>
            <a:off x="11672713" y="6626675"/>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bg1"/>
                </a:solidFill>
              </a:rPr>
              <a:pPr algn="ctr"/>
              <a:t>‹#›</a:t>
            </a:fld>
            <a:endParaRPr lang="en-US" sz="900">
              <a:solidFill>
                <a:schemeClr val="bg1"/>
              </a:solidFill>
            </a:endParaRPr>
          </a:p>
        </p:txBody>
      </p:sp>
      <p:pic>
        <p:nvPicPr>
          <p:cNvPr id="13" name="Graphic 12">
            <a:extLst>
              <a:ext uri="{FF2B5EF4-FFF2-40B4-BE49-F238E27FC236}">
                <a16:creationId xmlns:a16="http://schemas.microsoft.com/office/drawing/2014/main" id="{2EDE4865-A18F-4B66-B53A-9DE63DD8A8FE}"/>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
        <p:nvSpPr>
          <p:cNvPr id="15" name="Text Placeholder 25">
            <a:extLst>
              <a:ext uri="{FF2B5EF4-FFF2-40B4-BE49-F238E27FC236}">
                <a16:creationId xmlns:a16="http://schemas.microsoft.com/office/drawing/2014/main" id="{47E044E3-5C8C-4466-B83E-A87A08E92E30}"/>
              </a:ext>
            </a:extLst>
          </p:cNvPr>
          <p:cNvSpPr>
            <a:spLocks noGrp="1"/>
          </p:cNvSpPr>
          <p:nvPr>
            <p:ph type="body" sz="quarter" idx="12" hasCustomPrompt="1"/>
          </p:nvPr>
        </p:nvSpPr>
        <p:spPr>
          <a:xfrm rot="10800000">
            <a:off x="483951" y="1458962"/>
            <a:ext cx="329184" cy="329184"/>
          </a:xfrm>
          <a:prstGeom prst="rtTriangle">
            <a:avLst/>
          </a:prstGeom>
          <a:gradFill>
            <a:gsLst>
              <a:gs pos="0">
                <a:srgbClr val="7FAFDE"/>
              </a:gs>
              <a:gs pos="80000">
                <a:srgbClr val="3A5580"/>
              </a:gs>
            </a:gsLst>
            <a:lin ang="19800000" scaled="0"/>
          </a:gradFill>
          <a:ln>
            <a:noFill/>
          </a:ln>
        </p:spPr>
        <p:style>
          <a:lnRef idx="0">
            <a:scrgbClr r="0" g="0" b="0"/>
          </a:lnRef>
          <a:fillRef idx="0">
            <a:scrgbClr r="0" g="0" b="0"/>
          </a:fillRef>
          <a:effectRef idx="0">
            <a:scrgbClr r="0" g="0" b="0"/>
          </a:effectRef>
          <a:fontRef idx="minor">
            <a:schemeClr val="lt1"/>
          </a:fontRef>
        </p:style>
        <p:txBody>
          <a:bodyPr vert="horz" lIns="91440" tIns="45720" rIns="91440" bIns="45720" rtlCol="0" anchor="ctr">
            <a:noAutofit/>
          </a:bodyPr>
          <a:lstStyle>
            <a:lvl1pPr algn="l">
              <a:buFontTx/>
              <a:buNone/>
              <a:defRPr lang="en-US" dirty="0" smtClean="0">
                <a:ln>
                  <a:noFill/>
                </a:ln>
                <a:noFill/>
              </a:defRPr>
            </a:lvl1pPr>
            <a:lvl2pPr>
              <a:defRPr lang="en-US" dirty="0" smtClean="0">
                <a:solidFill>
                  <a:schemeClr val="lt1"/>
                </a:solidFill>
              </a:defRPr>
            </a:lvl2pPr>
            <a:lvl3pPr>
              <a:defRPr lang="en-US" dirty="0" smtClean="0">
                <a:solidFill>
                  <a:schemeClr val="lt1"/>
                </a:solidFill>
              </a:defRPr>
            </a:lvl3pPr>
            <a:lvl4pPr>
              <a:defRPr lang="en-US" dirty="0" smtClean="0">
                <a:solidFill>
                  <a:schemeClr val="lt1"/>
                </a:solidFill>
              </a:defRPr>
            </a:lvl4pPr>
            <a:lvl5pPr>
              <a:defRPr lang="en-US" dirty="0">
                <a:solidFill>
                  <a:schemeClr val="lt1"/>
                </a:solidFill>
              </a:defRPr>
            </a:lvl5pPr>
          </a:lstStyle>
          <a:p>
            <a:pPr marL="0" lvl="0" indent="0" algn="ctr">
              <a:buFontTx/>
              <a:buNone/>
            </a:pPr>
            <a:r>
              <a:rPr lang="en-US"/>
              <a:t> </a:t>
            </a:r>
          </a:p>
        </p:txBody>
      </p:sp>
      <p:sp>
        <p:nvSpPr>
          <p:cNvPr id="2" name="Title 1"/>
          <p:cNvSpPr>
            <a:spLocks noGrp="1"/>
          </p:cNvSpPr>
          <p:nvPr>
            <p:ph type="title" hasCustomPrompt="1"/>
          </p:nvPr>
        </p:nvSpPr>
        <p:spPr>
          <a:xfrm>
            <a:off x="609600" y="104415"/>
            <a:ext cx="10972800" cy="906738"/>
          </a:xfrm>
          <a:noFill/>
        </p:spPr>
        <p:txBody>
          <a:bodyPr vert="horz" lIns="91440" tIns="45720" rIns="91440" bIns="45720" rtlCol="0" anchor="ctr">
            <a:noAutofit/>
          </a:bodyPr>
          <a:lstStyle>
            <a:lvl1pPr>
              <a:defRPr lang="en-US" i="0" dirty="0">
                <a:solidFill>
                  <a:schemeClr val="tx1"/>
                </a:solidFill>
              </a:defRPr>
            </a:lvl1pPr>
          </a:lstStyle>
          <a:p>
            <a:pPr lvl="0"/>
            <a:r>
              <a:rPr lang="en-US"/>
              <a:t>Agenda Slide</a:t>
            </a:r>
          </a:p>
        </p:txBody>
      </p:sp>
    </p:spTree>
    <p:extLst>
      <p:ext uri="{BB962C8B-B14F-4D97-AF65-F5344CB8AC3E}">
        <p14:creationId xmlns:p14="http://schemas.microsoft.com/office/powerpoint/2010/main" val="7232465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lank Slide with Tex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788819446"/>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nchor="ctr"/>
          <a:lstStyle>
            <a:lvl1pPr>
              <a:defRPr b="0" i="0" baseline="0">
                <a:solidFill>
                  <a:schemeClr val="tx1"/>
                </a:solidFill>
              </a:defRPr>
            </a:lvl1pPr>
          </a:lstStyle>
          <a:p>
            <a:r>
              <a:rPr lang="en-US"/>
              <a:t>Title Line 1</a:t>
            </a:r>
            <a:br>
              <a:rPr lang="en-US"/>
            </a:br>
            <a:r>
              <a:rPr lang="en-US"/>
              <a:t>Title Line Continued</a:t>
            </a:r>
          </a:p>
        </p:txBody>
      </p:sp>
      <p:sp>
        <p:nvSpPr>
          <p:cNvPr id="5"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12" name="Text Placeholder 11"/>
          <p:cNvSpPr>
            <a:spLocks noGrp="1"/>
          </p:cNvSpPr>
          <p:nvPr>
            <p:ph type="body" sz="quarter" idx="14"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1">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14" name="Text Placeholder 13"/>
          <p:cNvSpPr>
            <a:spLocks noGrp="1"/>
          </p:cNvSpPr>
          <p:nvPr>
            <p:ph type="body" sz="quarter" idx="15"/>
          </p:nvPr>
        </p:nvSpPr>
        <p:spPr>
          <a:xfrm>
            <a:off x="609600" y="1276709"/>
            <a:ext cx="10972800" cy="5098692"/>
          </a:xfrm>
        </p:spPr>
        <p:txBody>
          <a:bodyPr/>
          <a:lstStyle>
            <a:lvl1pPr marL="190500" indent="-187325">
              <a:defRPr>
                <a:solidFill>
                  <a:schemeClr val="tx1"/>
                </a:solidFill>
              </a:defRPr>
            </a:lvl1pPr>
            <a:lvl2pPr marL="439738" indent="-250825">
              <a:defRPr>
                <a:solidFill>
                  <a:schemeClr val="accent1"/>
                </a:solidFill>
              </a:defRPr>
            </a:lvl2pPr>
            <a:lvl3pPr marL="652463" indent="-217488">
              <a:defRPr>
                <a:solidFill>
                  <a:schemeClr val="bg2">
                    <a:lumMod val="50000"/>
                  </a:schemeClr>
                </a:solidFill>
              </a:defRPr>
            </a:lvl3pPr>
            <a:lvl4pPr marL="833438" indent="-173038">
              <a:defRPr>
                <a:solidFill>
                  <a:schemeClr val="bg2">
                    <a:lumMod val="50000"/>
                  </a:schemeClr>
                </a:solidFill>
              </a:defRPr>
            </a:lvl4pPr>
            <a:lvl5pPr marL="1004888" indent="-169863">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9" name="Graphic 8">
            <a:extLst>
              <a:ext uri="{FF2B5EF4-FFF2-40B4-BE49-F238E27FC236}">
                <a16:creationId xmlns:a16="http://schemas.microsoft.com/office/drawing/2014/main" id="{36B9E241-CFFF-466B-8BCC-C37A427FEE9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1792466438"/>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572258052"/>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nchor="ctr"/>
          <a:lstStyle>
            <a:lvl1pPr>
              <a:defRPr b="0" i="0" baseline="0">
                <a:solidFill>
                  <a:schemeClr val="tx1"/>
                </a:solidFill>
              </a:defRPr>
            </a:lvl1pPr>
          </a:lstStyle>
          <a:p>
            <a:r>
              <a:rPr lang="en-US"/>
              <a:t>Title Line 1</a:t>
            </a:r>
            <a:br>
              <a:rPr lang="en-US"/>
            </a:br>
            <a:r>
              <a:rPr lang="en-US"/>
              <a:t>Title Line Continued</a:t>
            </a:r>
          </a:p>
        </p:txBody>
      </p:sp>
      <p:sp>
        <p:nvSpPr>
          <p:cNvPr id="5"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12" name="Text Placeholder 11"/>
          <p:cNvSpPr>
            <a:spLocks noGrp="1"/>
          </p:cNvSpPr>
          <p:nvPr>
            <p:ph type="body" sz="quarter" idx="14"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1">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11"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9" name="Graphic 8">
            <a:extLst>
              <a:ext uri="{FF2B5EF4-FFF2-40B4-BE49-F238E27FC236}">
                <a16:creationId xmlns:a16="http://schemas.microsoft.com/office/drawing/2014/main" id="{36B9E241-CFFF-466B-8BCC-C37A427FEE9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3030119690"/>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ntent &amp;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3062585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Content Placeholder 4"/>
          <p:cNvSpPr>
            <a:spLocks noGrp="1"/>
          </p:cNvSpPr>
          <p:nvPr>
            <p:ph sz="quarter" idx="15" hasCustomPrompt="1"/>
          </p:nvPr>
        </p:nvSpPr>
        <p:spPr>
          <a:xfrm>
            <a:off x="609600" y="1295400"/>
            <a:ext cx="10972800" cy="3657600"/>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vert="horz" anchor="ctr"/>
          <a:lstStyle>
            <a:lvl1pPr>
              <a:defRPr b="0" baseline="0">
                <a:solidFill>
                  <a:schemeClr val="tx1"/>
                </a:solidFill>
              </a:defRPr>
            </a:lvl1pPr>
          </a:lstStyle>
          <a:p>
            <a:r>
              <a:rPr lang="en-US"/>
              <a:t>Chart Title Line 1</a:t>
            </a:r>
            <a:br>
              <a:rPr lang="en-US"/>
            </a:br>
            <a:r>
              <a:rPr lang="en-US"/>
              <a:t>Chart Title Line Continued</a:t>
            </a:r>
          </a:p>
        </p:txBody>
      </p:sp>
      <p:sp>
        <p:nvSpPr>
          <p:cNvPr id="13"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4" name="Content Placeholder 3"/>
          <p:cNvSpPr>
            <a:spLocks noGrp="1"/>
          </p:cNvSpPr>
          <p:nvPr>
            <p:ph sz="quarter" idx="16"/>
          </p:nvPr>
        </p:nvSpPr>
        <p:spPr>
          <a:xfrm>
            <a:off x="609600" y="4953000"/>
            <a:ext cx="10972800" cy="1524000"/>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1"/>
          <p:cNvSpPr>
            <a:spLocks noGrp="1"/>
          </p:cNvSpPr>
          <p:nvPr>
            <p:ph type="body" sz="quarter" idx="14"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2">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12"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11" name="Graphic 10">
            <a:extLst>
              <a:ext uri="{FF2B5EF4-FFF2-40B4-BE49-F238E27FC236}">
                <a16:creationId xmlns:a16="http://schemas.microsoft.com/office/drawing/2014/main" id="{96F4AB1D-9480-49B7-B3FE-27C8B6D5CF4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36297060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wo Content &amp;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3585731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nchor="ctr"/>
          <a:lstStyle>
            <a:lvl1pPr>
              <a:defRPr b="0" baseline="0">
                <a:solidFill>
                  <a:schemeClr val="tx1"/>
                </a:solidFill>
              </a:defRPr>
            </a:lvl1pPr>
          </a:lstStyle>
          <a:p>
            <a:r>
              <a:rPr lang="en-US"/>
              <a:t>Content Title Line 1</a:t>
            </a:r>
            <a:br>
              <a:rPr lang="en-US"/>
            </a:br>
            <a:r>
              <a:rPr lang="en-US"/>
              <a:t>Content Title Line Continued</a:t>
            </a:r>
          </a:p>
        </p:txBody>
      </p:sp>
      <p:sp>
        <p:nvSpPr>
          <p:cNvPr id="12" name="Content Placeholder 11"/>
          <p:cNvSpPr>
            <a:spLocks noGrp="1"/>
          </p:cNvSpPr>
          <p:nvPr>
            <p:ph sz="quarter" idx="12"/>
          </p:nvPr>
        </p:nvSpPr>
        <p:spPr>
          <a:xfrm>
            <a:off x="609600" y="1285337"/>
            <a:ext cx="5485291" cy="3452004"/>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9" name="Content Placeholder 11"/>
          <p:cNvSpPr>
            <a:spLocks noGrp="1"/>
          </p:cNvSpPr>
          <p:nvPr>
            <p:ph sz="quarter" idx="14"/>
          </p:nvPr>
        </p:nvSpPr>
        <p:spPr>
          <a:xfrm>
            <a:off x="6097109" y="1285337"/>
            <a:ext cx="5485291" cy="3452004"/>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17"/>
          </p:nvPr>
        </p:nvSpPr>
        <p:spPr>
          <a:xfrm>
            <a:off x="609600" y="4754352"/>
            <a:ext cx="11063113" cy="1739900"/>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p:cNvSpPr>
            <a:spLocks noGrp="1"/>
          </p:cNvSpPr>
          <p:nvPr>
            <p:ph type="body" sz="quarter" idx="18"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2">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11"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15" name="Graphic 14">
            <a:extLst>
              <a:ext uri="{FF2B5EF4-FFF2-40B4-BE49-F238E27FC236}">
                <a16:creationId xmlns:a16="http://schemas.microsoft.com/office/drawing/2014/main" id="{6CB4149F-01E9-40A8-AF6C-99D38407C9F0}"/>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16600364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56161927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7" name="Text Placeholder 19"/>
          <p:cNvSpPr>
            <a:spLocks noGrp="1"/>
          </p:cNvSpPr>
          <p:nvPr>
            <p:ph type="body" sz="quarter" idx="26" hasCustomPrompt="1"/>
          </p:nvPr>
        </p:nvSpPr>
        <p:spPr>
          <a:xfrm>
            <a:off x="601132" y="1376604"/>
            <a:ext cx="813600" cy="1468679"/>
          </a:xfrm>
          <a:noFill/>
          <a:ln>
            <a:noFill/>
          </a:ln>
        </p:spPr>
        <p:txBody>
          <a:bodyPr anchor="ctr">
            <a:normAutofit/>
          </a:bodyPr>
          <a:lstStyle>
            <a:lvl1pPr marL="3175" indent="0" algn="ctr">
              <a:buNone/>
              <a:defRPr sz="800" b="0" i="1" baseline="0">
                <a:solidFill>
                  <a:schemeClr val="bg2">
                    <a:lumMod val="75000"/>
                  </a:schemeClr>
                </a:solidFill>
              </a:defRPr>
            </a:lvl1pPr>
          </a:lstStyle>
          <a:p>
            <a:pPr lvl="0"/>
            <a:r>
              <a:rPr lang="en-US"/>
              <a:t>Icon</a:t>
            </a:r>
          </a:p>
          <a:p>
            <a:pPr lvl="0"/>
            <a:r>
              <a:rPr lang="en-US"/>
              <a:t>Remove Once Icon is Added</a:t>
            </a:r>
          </a:p>
        </p:txBody>
      </p:sp>
      <p:sp>
        <p:nvSpPr>
          <p:cNvPr id="17" name="Text Placeholder 19"/>
          <p:cNvSpPr>
            <a:spLocks noGrp="1"/>
          </p:cNvSpPr>
          <p:nvPr>
            <p:ph type="body" sz="quarter" idx="30" hasCustomPrompt="1"/>
          </p:nvPr>
        </p:nvSpPr>
        <p:spPr>
          <a:xfrm>
            <a:off x="609601" y="3194302"/>
            <a:ext cx="805131" cy="1463675"/>
          </a:xfrm>
          <a:noFill/>
          <a:ln>
            <a:noFill/>
          </a:ln>
        </p:spPr>
        <p:txBody>
          <a:bodyPr anchor="ctr">
            <a:normAutofit/>
          </a:bodyPr>
          <a:lstStyle>
            <a:lvl1pPr marL="3175" marR="0" indent="0" algn="ctr" defTabSz="914400" rtl="0" eaLnBrk="1" fontAlgn="auto" latinLnBrk="0" hangingPunct="1">
              <a:lnSpc>
                <a:spcPct val="100000"/>
              </a:lnSpc>
              <a:spcBef>
                <a:spcPts val="600"/>
              </a:spcBef>
              <a:spcAft>
                <a:spcPts val="0"/>
              </a:spcAft>
              <a:buClr>
                <a:schemeClr val="tx1">
                  <a:lumMod val="50000"/>
                  <a:lumOff val="50000"/>
                </a:schemeClr>
              </a:buClr>
              <a:buSzTx/>
              <a:buFont typeface="Arial" panose="020B0604020202020204" pitchFamily="34" charset="0"/>
              <a:buNone/>
              <a:tabLst/>
              <a:defRPr sz="800" b="0" i="1" baseline="0">
                <a:solidFill>
                  <a:schemeClr val="bg2">
                    <a:lumMod val="75000"/>
                  </a:schemeClr>
                </a:solidFill>
              </a:defRPr>
            </a:lvl1pPr>
          </a:lstStyle>
          <a:p>
            <a:pPr lvl="0"/>
            <a:r>
              <a:rPr lang="en-US"/>
              <a:t>Icon</a:t>
            </a:r>
          </a:p>
          <a:p>
            <a:pPr marL="3175" marR="0" lvl="0" indent="0" algn="ctr" defTabSz="914400" rtl="0" eaLnBrk="1" fontAlgn="auto" latinLnBrk="0" hangingPunct="1">
              <a:lnSpc>
                <a:spcPct val="100000"/>
              </a:lnSpc>
              <a:spcBef>
                <a:spcPts val="600"/>
              </a:spcBef>
              <a:spcAft>
                <a:spcPts val="0"/>
              </a:spcAft>
              <a:buClr>
                <a:schemeClr val="tx1">
                  <a:lumMod val="50000"/>
                  <a:lumOff val="50000"/>
                </a:schemeClr>
              </a:buClr>
              <a:buSzTx/>
              <a:buFont typeface="Arial" panose="020B0604020202020204" pitchFamily="34" charset="0"/>
              <a:buNone/>
              <a:tabLst/>
              <a:defRPr/>
            </a:pPr>
            <a:r>
              <a:rPr lang="en-US"/>
              <a:t>Remove Once Icon is Added</a:t>
            </a:r>
          </a:p>
        </p:txBody>
      </p:sp>
      <p:sp>
        <p:nvSpPr>
          <p:cNvPr id="19" name="Text Placeholder 19"/>
          <p:cNvSpPr>
            <a:spLocks noGrp="1"/>
          </p:cNvSpPr>
          <p:nvPr>
            <p:ph type="body" sz="quarter" idx="32" hasCustomPrompt="1"/>
          </p:nvPr>
        </p:nvSpPr>
        <p:spPr>
          <a:xfrm>
            <a:off x="601132" y="4984742"/>
            <a:ext cx="813600" cy="1463675"/>
          </a:xfrm>
          <a:noFill/>
          <a:ln>
            <a:noFill/>
          </a:ln>
        </p:spPr>
        <p:txBody>
          <a:bodyPr anchor="ctr">
            <a:normAutofit/>
          </a:bodyPr>
          <a:lstStyle>
            <a:lvl1pPr marL="3175" marR="0" indent="0" algn="ctr" defTabSz="914400" rtl="0" eaLnBrk="1" fontAlgn="auto" latinLnBrk="0" hangingPunct="1">
              <a:lnSpc>
                <a:spcPct val="100000"/>
              </a:lnSpc>
              <a:spcBef>
                <a:spcPts val="600"/>
              </a:spcBef>
              <a:spcAft>
                <a:spcPts val="0"/>
              </a:spcAft>
              <a:buClr>
                <a:schemeClr val="tx1">
                  <a:lumMod val="50000"/>
                  <a:lumOff val="50000"/>
                </a:schemeClr>
              </a:buClr>
              <a:buSzTx/>
              <a:buFont typeface="Arial" panose="020B0604020202020204" pitchFamily="34" charset="0"/>
              <a:buNone/>
              <a:tabLst/>
              <a:defRPr sz="800" b="0" i="1" baseline="0">
                <a:solidFill>
                  <a:schemeClr val="bg2">
                    <a:lumMod val="75000"/>
                  </a:schemeClr>
                </a:solidFill>
              </a:defRPr>
            </a:lvl1pPr>
          </a:lstStyle>
          <a:p>
            <a:pPr lvl="0"/>
            <a:r>
              <a:rPr lang="en-US"/>
              <a:t>Icon</a:t>
            </a:r>
          </a:p>
          <a:p>
            <a:pPr marL="3175" marR="0" lvl="0" indent="0" algn="ctr" defTabSz="914400" rtl="0" eaLnBrk="1" fontAlgn="auto" latinLnBrk="0" hangingPunct="1">
              <a:lnSpc>
                <a:spcPct val="100000"/>
              </a:lnSpc>
              <a:spcBef>
                <a:spcPts val="600"/>
              </a:spcBef>
              <a:spcAft>
                <a:spcPts val="0"/>
              </a:spcAft>
              <a:buClr>
                <a:schemeClr val="tx1">
                  <a:lumMod val="50000"/>
                  <a:lumOff val="50000"/>
                </a:schemeClr>
              </a:buClr>
              <a:buSzTx/>
              <a:buFont typeface="Arial" panose="020B0604020202020204" pitchFamily="34" charset="0"/>
              <a:buNone/>
              <a:tabLst/>
              <a:defRPr/>
            </a:pPr>
            <a:r>
              <a:rPr lang="en-US"/>
              <a:t>Remove Once Icon is Added</a:t>
            </a:r>
          </a:p>
        </p:txBody>
      </p:sp>
      <p:sp>
        <p:nvSpPr>
          <p:cNvPr id="4" name="Text Placeholder 3"/>
          <p:cNvSpPr>
            <a:spLocks noGrp="1"/>
          </p:cNvSpPr>
          <p:nvPr>
            <p:ph type="body" sz="quarter" idx="29" hasCustomPrompt="1"/>
          </p:nvPr>
        </p:nvSpPr>
        <p:spPr>
          <a:xfrm>
            <a:off x="1414732" y="1376605"/>
            <a:ext cx="1737696" cy="1463675"/>
          </a:xfrm>
        </p:spPr>
        <p:txBody>
          <a:bodyPr anchor="ctr">
            <a:noAutofit/>
          </a:bodyPr>
          <a:lstStyle>
            <a:lvl1pPr marL="3175" indent="0" algn="l">
              <a:buFontTx/>
              <a:buNone/>
              <a:defRPr sz="2000" i="1" baseline="0">
                <a:solidFill>
                  <a:schemeClr val="tx1"/>
                </a:solidFill>
              </a:defRPr>
            </a:lvl1pPr>
          </a:lstStyle>
          <a:p>
            <a:pPr lvl="0"/>
            <a:r>
              <a:rPr lang="en-US"/>
              <a:t>Content Header</a:t>
            </a:r>
          </a:p>
        </p:txBody>
      </p:sp>
      <p:sp>
        <p:nvSpPr>
          <p:cNvPr id="18" name="Text Placeholder 3"/>
          <p:cNvSpPr>
            <a:spLocks noGrp="1"/>
          </p:cNvSpPr>
          <p:nvPr>
            <p:ph type="body" sz="quarter" idx="31" hasCustomPrompt="1"/>
          </p:nvPr>
        </p:nvSpPr>
        <p:spPr>
          <a:xfrm>
            <a:off x="1414732" y="3194303"/>
            <a:ext cx="1737696" cy="1463675"/>
          </a:xfrm>
        </p:spPr>
        <p:txBody>
          <a:bodyPr anchor="ctr">
            <a:noAutofit/>
          </a:bodyPr>
          <a:lstStyle>
            <a:lvl1pPr marL="3175" indent="0" algn="l">
              <a:buFontTx/>
              <a:buNone/>
              <a:defRPr sz="2000" i="1" baseline="0">
                <a:solidFill>
                  <a:schemeClr val="tx1"/>
                </a:solidFill>
              </a:defRPr>
            </a:lvl1pPr>
          </a:lstStyle>
          <a:p>
            <a:pPr lvl="0"/>
            <a:r>
              <a:rPr lang="en-US"/>
              <a:t>Content Header</a:t>
            </a:r>
          </a:p>
        </p:txBody>
      </p:sp>
      <p:sp>
        <p:nvSpPr>
          <p:cNvPr id="20" name="Text Placeholder 3"/>
          <p:cNvSpPr>
            <a:spLocks noGrp="1"/>
          </p:cNvSpPr>
          <p:nvPr>
            <p:ph type="body" sz="quarter" idx="33" hasCustomPrompt="1"/>
          </p:nvPr>
        </p:nvSpPr>
        <p:spPr>
          <a:xfrm>
            <a:off x="1414732" y="4984743"/>
            <a:ext cx="1737696" cy="1463675"/>
          </a:xfrm>
        </p:spPr>
        <p:txBody>
          <a:bodyPr anchor="ctr">
            <a:noAutofit/>
          </a:bodyPr>
          <a:lstStyle>
            <a:lvl1pPr marL="3175" indent="0" algn="l">
              <a:buFontTx/>
              <a:buNone/>
              <a:defRPr sz="2000" i="1" baseline="0">
                <a:solidFill>
                  <a:schemeClr val="tx1"/>
                </a:solidFill>
              </a:defRPr>
            </a:lvl1pPr>
          </a:lstStyle>
          <a:p>
            <a:pPr lvl="0"/>
            <a:r>
              <a:rPr lang="en-US"/>
              <a:t>Content Header</a:t>
            </a:r>
          </a:p>
        </p:txBody>
      </p:sp>
      <p:sp>
        <p:nvSpPr>
          <p:cNvPr id="2" name="Title 1"/>
          <p:cNvSpPr>
            <a:spLocks noGrp="1"/>
          </p:cNvSpPr>
          <p:nvPr>
            <p:ph type="title" hasCustomPrompt="1"/>
          </p:nvPr>
        </p:nvSpPr>
        <p:spPr/>
        <p:txBody>
          <a:bodyPr vert="horz" anchor="ctr"/>
          <a:lstStyle>
            <a:lvl1pPr>
              <a:defRPr b="0">
                <a:solidFill>
                  <a:schemeClr val="tx1"/>
                </a:solidFill>
              </a:defRPr>
            </a:lvl1pPr>
          </a:lstStyle>
          <a:p>
            <a:r>
              <a:rPr lang="en-US"/>
              <a:t>Content Title Line 1</a:t>
            </a:r>
            <a:br>
              <a:rPr lang="en-US"/>
            </a:br>
            <a:r>
              <a:rPr lang="en-US"/>
              <a:t>Content Title Line Continued</a:t>
            </a:r>
          </a:p>
        </p:txBody>
      </p:sp>
      <p:sp>
        <p:nvSpPr>
          <p:cNvPr id="13"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14" name="Text Placeholder 10"/>
          <p:cNvSpPr>
            <a:spLocks noGrp="1"/>
          </p:cNvSpPr>
          <p:nvPr>
            <p:ph type="body" sz="quarter" idx="17"/>
          </p:nvPr>
        </p:nvSpPr>
        <p:spPr>
          <a:xfrm>
            <a:off x="3151517" y="1371600"/>
            <a:ext cx="8430883" cy="1465052"/>
          </a:xfrm>
          <a:ln>
            <a:noFill/>
          </a:ln>
        </p:spPr>
        <p:txBody>
          <a:bodyPr anchor="ctr">
            <a:noAutofit/>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0"/>
          <p:cNvSpPr>
            <a:spLocks noGrp="1"/>
          </p:cNvSpPr>
          <p:nvPr>
            <p:ph type="body" sz="quarter" idx="18"/>
          </p:nvPr>
        </p:nvSpPr>
        <p:spPr>
          <a:xfrm>
            <a:off x="3151517" y="3194938"/>
            <a:ext cx="8430883" cy="1463040"/>
          </a:xfrm>
          <a:ln>
            <a:noFill/>
          </a:ln>
        </p:spPr>
        <p:txBody>
          <a:bodyPr anchor="ctr">
            <a:noAutofit/>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0"/>
          <p:cNvSpPr>
            <a:spLocks noGrp="1"/>
          </p:cNvSpPr>
          <p:nvPr>
            <p:ph type="body" sz="quarter" idx="19"/>
          </p:nvPr>
        </p:nvSpPr>
        <p:spPr>
          <a:xfrm>
            <a:off x="3151517" y="4990381"/>
            <a:ext cx="8430883" cy="1463040"/>
          </a:xfrm>
          <a:ln>
            <a:noFill/>
          </a:ln>
        </p:spPr>
        <p:txBody>
          <a:bodyPr anchor="ctr">
            <a:noAutofit/>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p:cNvSpPr>
            <a:spLocks noGrp="1"/>
          </p:cNvSpPr>
          <p:nvPr>
            <p:ph type="body" sz="quarter" idx="14"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2">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22"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24" name="Graphic 23">
            <a:extLst>
              <a:ext uri="{FF2B5EF4-FFF2-40B4-BE49-F238E27FC236}">
                <a16:creationId xmlns:a16="http://schemas.microsoft.com/office/drawing/2014/main" id="{649DDDAE-420B-49B1-A0A6-E18343F11A0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14394041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192929100"/>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5"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pic>
        <p:nvPicPr>
          <p:cNvPr id="7" name="Graphic 6">
            <a:extLst>
              <a:ext uri="{FF2B5EF4-FFF2-40B4-BE49-F238E27FC236}">
                <a16:creationId xmlns:a16="http://schemas.microsoft.com/office/drawing/2014/main" id="{5DD8CBB5-720A-4D3E-9302-3581E36DBE0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
        <p:nvSpPr>
          <p:cNvPr id="8" name="Isosceles Triangle 7">
            <a:extLst>
              <a:ext uri="{FF2B5EF4-FFF2-40B4-BE49-F238E27FC236}">
                <a16:creationId xmlns:a16="http://schemas.microsoft.com/office/drawing/2014/main" id="{DD36AA67-2249-4498-A83A-109C81843B94}"/>
              </a:ext>
            </a:extLst>
          </p:cNvPr>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439218613"/>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1761140143"/>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9" name="Object 8" hidden="1"/>
                      <p:cNvPicPr/>
                      <p:nvPr/>
                    </p:nvPicPr>
                    <p:blipFill>
                      <a:blip r:embed="rId4"/>
                      <a:stretch>
                        <a:fillRect/>
                      </a:stretch>
                    </p:blipFill>
                    <p:spPr>
                      <a:xfrm>
                        <a:off x="2119" y="1591"/>
                        <a:ext cx="2116" cy="1587"/>
                      </a:xfrm>
                      <a:prstGeom prst="rect">
                        <a:avLst/>
                      </a:prstGeom>
                    </p:spPr>
                  </p:pic>
                </p:oleObj>
              </mc:Fallback>
            </mc:AlternateContent>
          </a:graphicData>
        </a:graphic>
      </p:graphicFrame>
      <p:pic>
        <p:nvPicPr>
          <p:cNvPr id="31" name="Picture 30"/>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4358338" y="0"/>
            <a:ext cx="7833663" cy="1479691"/>
          </a:xfrm>
          <a:prstGeom prst="rect">
            <a:avLst/>
          </a:prstGeom>
        </p:spPr>
      </p:pic>
      <p:sp>
        <p:nvSpPr>
          <p:cNvPr id="55" name="Isosceles Triangle 34">
            <a:extLst>
              <a:ext uri="{FF2B5EF4-FFF2-40B4-BE49-F238E27FC236}">
                <a16:creationId xmlns:a16="http://schemas.microsoft.com/office/drawing/2014/main" id="{E94C9310-F41D-E14E-BD00-755814005A74}"/>
              </a:ext>
            </a:extLst>
          </p:cNvPr>
          <p:cNvSpPr/>
          <p:nvPr userDrawn="1"/>
        </p:nvSpPr>
        <p:spPr>
          <a:xfrm>
            <a:off x="4267200" y="0"/>
            <a:ext cx="7924800" cy="1481584"/>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3" name="Right Triangle 52">
            <a:extLst>
              <a:ext uri="{FF2B5EF4-FFF2-40B4-BE49-F238E27FC236}">
                <a16:creationId xmlns:a16="http://schemas.microsoft.com/office/drawing/2014/main" id="{FB6E33E6-376A-0341-BD75-69AEF908BC54}"/>
              </a:ext>
            </a:extLst>
          </p:cNvPr>
          <p:cNvSpPr/>
          <p:nvPr userDrawn="1"/>
        </p:nvSpPr>
        <p:spPr>
          <a:xfrm rot="5400000">
            <a:off x="3228839" y="-3228841"/>
            <a:ext cx="1479688" cy="7937376"/>
          </a:xfrm>
          <a:prstGeom prst="rtTriangle">
            <a:avLst/>
          </a:prstGeom>
          <a:gradFill flip="none" rotWithShape="1">
            <a:gsLst>
              <a:gs pos="0">
                <a:srgbClr val="3A4254"/>
              </a:gs>
              <a:gs pos="82000">
                <a:srgbClr val="789ABD">
                  <a:alpha val="75000"/>
                </a:srgbClr>
              </a:gs>
              <a:gs pos="53000">
                <a:srgbClr val="6287B3"/>
              </a:gs>
              <a:gs pos="100000">
                <a:srgbClr val="ABC3D6">
                  <a:alpha val="60000"/>
                </a:srgbClr>
              </a:gs>
            </a:gsLst>
            <a:lin ang="126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7" name="Rectangle 6">
            <a:hlinkClick r:id="rId6"/>
          </p:cNvPr>
          <p:cNvSpPr/>
          <p:nvPr userDrawn="1"/>
        </p:nvSpPr>
        <p:spPr>
          <a:xfrm>
            <a:off x="9373415" y="6568882"/>
            <a:ext cx="1307285" cy="194733"/>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r>
              <a:rPr lang="en-US" sz="1000" b="0" i="0">
                <a:solidFill>
                  <a:schemeClr val="bg2">
                    <a:lumMod val="65000"/>
                  </a:schemeClr>
                </a:solidFill>
              </a:rPr>
              <a:t>TRINITY</a:t>
            </a:r>
            <a:r>
              <a:rPr lang="en-US" sz="1000" b="0" i="0" baseline="0">
                <a:solidFill>
                  <a:schemeClr val="bg2">
                    <a:lumMod val="65000"/>
                  </a:schemeClr>
                </a:solidFill>
              </a:rPr>
              <a:t>, LLC</a:t>
            </a:r>
            <a:endParaRPr lang="en-US" sz="1000" b="0" i="0">
              <a:solidFill>
                <a:schemeClr val="bg2">
                  <a:lumMod val="65000"/>
                </a:schemeClr>
              </a:solidFill>
            </a:endParaRPr>
          </a:p>
        </p:txBody>
      </p:sp>
      <p:sp>
        <p:nvSpPr>
          <p:cNvPr id="51" name="Rectangle 50">
            <a:hlinkClick r:id="rId6"/>
          </p:cNvPr>
          <p:cNvSpPr/>
          <p:nvPr userDrawn="1"/>
        </p:nvSpPr>
        <p:spPr>
          <a:xfrm>
            <a:off x="1101343" y="6568881"/>
            <a:ext cx="2414291" cy="194734"/>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l"/>
            <a:r>
              <a:rPr lang="en-US" sz="900" b="0" i="0">
                <a:solidFill>
                  <a:schemeClr val="bg1">
                    <a:lumMod val="65000"/>
                  </a:schemeClr>
                </a:solidFill>
              </a:rPr>
              <a:t>TRINITYLIFESCIENCES.COM</a:t>
            </a:r>
          </a:p>
        </p:txBody>
      </p:sp>
      <p:pic>
        <p:nvPicPr>
          <p:cNvPr id="64" name="Graphic 63">
            <a:extLst>
              <a:ext uri="{FF2B5EF4-FFF2-40B4-BE49-F238E27FC236}">
                <a16:creationId xmlns:a16="http://schemas.microsoft.com/office/drawing/2014/main" id="{4771A41E-A1E1-4434-B8EA-22E5F4F82DDD}"/>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81372" y="788108"/>
            <a:ext cx="3229256" cy="777414"/>
          </a:xfrm>
          <a:prstGeom prst="rect">
            <a:avLst/>
          </a:prstGeom>
        </p:spPr>
      </p:pic>
      <p:pic>
        <p:nvPicPr>
          <p:cNvPr id="87" name="Picture 2" descr="https://blog.twitter.com/sites/all/themes/gazebo/img/twitter-bird-white-on-blue.png">
            <a:hlinkClick r:id="rId9"/>
            <a:extLst>
              <a:ext uri="{FF2B5EF4-FFF2-40B4-BE49-F238E27FC236}">
                <a16:creationId xmlns:a16="http://schemas.microsoft.com/office/drawing/2014/main" id="{49ABFB95-7990-B649-B98E-EBC44641BD1F}"/>
              </a:ext>
            </a:extLst>
          </p:cNvPr>
          <p:cNvPicPr>
            <a:picLocks noChangeAspect="1" noChangeArrowheads="1"/>
          </p:cNvPicPr>
          <p:nvPr userDrawn="1"/>
        </p:nvPicPr>
        <p:blipFill>
          <a:blip r:embed="rId10" cstate="print">
            <a:grayscl/>
            <a:extLst>
              <a:ext uri="{28A0092B-C50C-407E-A947-70E740481C1C}">
                <a14:useLocalDpi xmlns:a14="http://schemas.microsoft.com/office/drawing/2010/main" val="0"/>
              </a:ext>
            </a:extLst>
          </a:blip>
          <a:srcRect/>
          <a:stretch>
            <a:fillRect/>
          </a:stretch>
        </p:blipFill>
        <p:spPr bwMode="auto">
          <a:xfrm>
            <a:off x="10740702" y="6591397"/>
            <a:ext cx="163759" cy="163759"/>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4" descr="Image result for linkedin official logo">
            <a:hlinkClick r:id="rId11"/>
            <a:extLst>
              <a:ext uri="{FF2B5EF4-FFF2-40B4-BE49-F238E27FC236}">
                <a16:creationId xmlns:a16="http://schemas.microsoft.com/office/drawing/2014/main" id="{88CD604B-7B15-B746-9DD6-2FA0BDC908C9}"/>
              </a:ext>
            </a:extLst>
          </p:cNvPr>
          <p:cNvPicPr>
            <a:picLocks noChangeAspect="1" noChangeArrowheads="1"/>
          </p:cNvPicPr>
          <p:nvPr userDrawn="1"/>
        </p:nvPicPr>
        <p:blipFill rotWithShape="1">
          <a:blip r:embed="rId12" cstate="print">
            <a:grayscl/>
            <a:extLst>
              <a:ext uri="{28A0092B-C50C-407E-A947-70E740481C1C}">
                <a14:useLocalDpi xmlns:a14="http://schemas.microsoft.com/office/drawing/2010/main" val="0"/>
              </a:ext>
            </a:extLst>
          </a:blip>
          <a:srcRect l="8067" t="10407" r="10599" b="6547"/>
          <a:stretch/>
        </p:blipFill>
        <p:spPr bwMode="auto">
          <a:xfrm>
            <a:off x="10979559" y="6590564"/>
            <a:ext cx="161198" cy="16459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9" name="Picture 8" descr="https://facebookbrand.com/wp-content/themes/fb-branding/prj-fb-branding/assets/images/fb-art.png">
            <a:hlinkClick r:id="rId13"/>
            <a:extLst>
              <a:ext uri="{FF2B5EF4-FFF2-40B4-BE49-F238E27FC236}">
                <a16:creationId xmlns:a16="http://schemas.microsoft.com/office/drawing/2014/main" id="{50D77134-1206-824B-82B7-5F60A9FD0F17}"/>
              </a:ext>
            </a:extLst>
          </p:cNvPr>
          <p:cNvPicPr>
            <a:picLocks noChangeAspect="1" noChangeArrowheads="1"/>
          </p:cNvPicPr>
          <p:nvPr userDrawn="1"/>
        </p:nvPicPr>
        <p:blipFill rotWithShape="1">
          <a:blip r:embed="rId14" cstate="print">
            <a:grayscl/>
            <a:extLst>
              <a:ext uri="{28A0092B-C50C-407E-A947-70E740481C1C}">
                <a14:useLocalDpi xmlns:a14="http://schemas.microsoft.com/office/drawing/2010/main" val="0"/>
              </a:ext>
            </a:extLst>
          </a:blip>
          <a:srcRect l="7708" t="3031" r="8742" b="7720"/>
          <a:stretch/>
        </p:blipFill>
        <p:spPr bwMode="auto">
          <a:xfrm>
            <a:off x="11215854" y="6590564"/>
            <a:ext cx="154082" cy="164592"/>
          </a:xfrm>
          <a:prstGeom prst="rect">
            <a:avLst/>
          </a:prstGeom>
          <a:noFill/>
          <a:extLst>
            <a:ext uri="{909E8E84-426E-40DD-AFC4-6F175D3DCCD1}">
              <a14:hiddenFill xmlns:a14="http://schemas.microsoft.com/office/drawing/2010/main">
                <a:solidFill>
                  <a:srgbClr val="FFFFFF"/>
                </a:solidFill>
              </a14:hiddenFill>
            </a:ext>
          </a:extLst>
        </p:spPr>
      </p:pic>
      <p:pic>
        <p:nvPicPr>
          <p:cNvPr id="49" name="Graphic 48">
            <a:extLst>
              <a:ext uri="{FF2B5EF4-FFF2-40B4-BE49-F238E27FC236}">
                <a16:creationId xmlns:a16="http://schemas.microsoft.com/office/drawing/2014/main" id="{C1BC4DAE-D695-4420-A09D-C8F6E03B9779}"/>
              </a:ext>
            </a:extLst>
          </p:cNvPr>
          <p:cNvPicPr>
            <a:picLocks noChangeAspect="1"/>
          </p:cNvPicPr>
          <p:nvPr userDrawn="1"/>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51496" y="6405894"/>
            <a:ext cx="152400" cy="330200"/>
          </a:xfrm>
          <a:prstGeom prst="rect">
            <a:avLst/>
          </a:prstGeom>
        </p:spPr>
      </p:pic>
      <p:grpSp>
        <p:nvGrpSpPr>
          <p:cNvPr id="66" name="Group 65">
            <a:extLst>
              <a:ext uri="{FF2B5EF4-FFF2-40B4-BE49-F238E27FC236}">
                <a16:creationId xmlns:a16="http://schemas.microsoft.com/office/drawing/2014/main" id="{76EAD314-1FBB-4CB5-9A1D-83E6CA099C47}"/>
              </a:ext>
            </a:extLst>
          </p:cNvPr>
          <p:cNvGrpSpPr>
            <a:grpSpLocks/>
          </p:cNvGrpSpPr>
          <p:nvPr userDrawn="1"/>
        </p:nvGrpSpPr>
        <p:grpSpPr>
          <a:xfrm>
            <a:off x="2999292" y="3815825"/>
            <a:ext cx="6193416" cy="3042175"/>
            <a:chOff x="571501" y="1987465"/>
            <a:chExt cx="8000999" cy="3891134"/>
          </a:xfrm>
          <a:solidFill>
            <a:srgbClr val="F3F2F2"/>
          </a:solidFill>
        </p:grpSpPr>
        <p:sp>
          <p:nvSpPr>
            <p:cNvPr id="74" name="Freeform 7">
              <a:extLst>
                <a:ext uri="{FF2B5EF4-FFF2-40B4-BE49-F238E27FC236}">
                  <a16:creationId xmlns:a16="http://schemas.microsoft.com/office/drawing/2014/main" id="{663254B2-23E7-4281-A9DE-24C49895315B}"/>
                </a:ext>
              </a:extLst>
            </p:cNvPr>
            <p:cNvSpPr>
              <a:spLocks/>
            </p:cNvSpPr>
            <p:nvPr/>
          </p:nvSpPr>
          <p:spPr bwMode="auto">
            <a:xfrm>
              <a:off x="2714626" y="5784894"/>
              <a:ext cx="214313" cy="93705"/>
            </a:xfrm>
            <a:custGeom>
              <a:avLst/>
              <a:gdLst>
                <a:gd name="T0" fmla="*/ 75 w 135"/>
                <a:gd name="T1" fmla="*/ 0 h 59"/>
                <a:gd name="T2" fmla="*/ 85 w 135"/>
                <a:gd name="T3" fmla="*/ 2 h 59"/>
                <a:gd name="T4" fmla="*/ 91 w 135"/>
                <a:gd name="T5" fmla="*/ 11 h 59"/>
                <a:gd name="T6" fmla="*/ 96 w 135"/>
                <a:gd name="T7" fmla="*/ 25 h 59"/>
                <a:gd name="T8" fmla="*/ 116 w 135"/>
                <a:gd name="T9" fmla="*/ 36 h 59"/>
                <a:gd name="T10" fmla="*/ 135 w 135"/>
                <a:gd name="T11" fmla="*/ 40 h 59"/>
                <a:gd name="T12" fmla="*/ 131 w 135"/>
                <a:gd name="T13" fmla="*/ 52 h 59"/>
                <a:gd name="T14" fmla="*/ 116 w 135"/>
                <a:gd name="T15" fmla="*/ 52 h 59"/>
                <a:gd name="T16" fmla="*/ 110 w 135"/>
                <a:gd name="T17" fmla="*/ 46 h 59"/>
                <a:gd name="T18" fmla="*/ 104 w 135"/>
                <a:gd name="T19" fmla="*/ 52 h 59"/>
                <a:gd name="T20" fmla="*/ 93 w 135"/>
                <a:gd name="T21" fmla="*/ 59 h 59"/>
                <a:gd name="T22" fmla="*/ 85 w 135"/>
                <a:gd name="T23" fmla="*/ 59 h 59"/>
                <a:gd name="T24" fmla="*/ 77 w 135"/>
                <a:gd name="T25" fmla="*/ 57 h 59"/>
                <a:gd name="T26" fmla="*/ 68 w 135"/>
                <a:gd name="T27" fmla="*/ 52 h 59"/>
                <a:gd name="T28" fmla="*/ 52 w 135"/>
                <a:gd name="T29" fmla="*/ 50 h 59"/>
                <a:gd name="T30" fmla="*/ 33 w 135"/>
                <a:gd name="T31" fmla="*/ 36 h 59"/>
                <a:gd name="T32" fmla="*/ 20 w 135"/>
                <a:gd name="T33" fmla="*/ 27 h 59"/>
                <a:gd name="T34" fmla="*/ 0 w 135"/>
                <a:gd name="T35" fmla="*/ 6 h 59"/>
                <a:gd name="T36" fmla="*/ 12 w 135"/>
                <a:gd name="T37" fmla="*/ 11 h 59"/>
                <a:gd name="T38" fmla="*/ 33 w 135"/>
                <a:gd name="T39" fmla="*/ 23 h 59"/>
                <a:gd name="T40" fmla="*/ 50 w 135"/>
                <a:gd name="T41" fmla="*/ 29 h 59"/>
                <a:gd name="T42" fmla="*/ 56 w 135"/>
                <a:gd name="T43" fmla="*/ 21 h 59"/>
                <a:gd name="T44" fmla="*/ 62 w 135"/>
                <a:gd name="T45" fmla="*/ 8 h 59"/>
                <a:gd name="T46" fmla="*/ 75 w 135"/>
                <a:gd name="T4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59">
                  <a:moveTo>
                    <a:pt x="75" y="0"/>
                  </a:moveTo>
                  <a:lnTo>
                    <a:pt x="85" y="2"/>
                  </a:lnTo>
                  <a:lnTo>
                    <a:pt x="91" y="11"/>
                  </a:lnTo>
                  <a:lnTo>
                    <a:pt x="96" y="25"/>
                  </a:lnTo>
                  <a:lnTo>
                    <a:pt x="116" y="36"/>
                  </a:lnTo>
                  <a:lnTo>
                    <a:pt x="135" y="40"/>
                  </a:lnTo>
                  <a:lnTo>
                    <a:pt x="131" y="52"/>
                  </a:lnTo>
                  <a:lnTo>
                    <a:pt x="116" y="52"/>
                  </a:lnTo>
                  <a:lnTo>
                    <a:pt x="110" y="46"/>
                  </a:lnTo>
                  <a:lnTo>
                    <a:pt x="104" y="52"/>
                  </a:lnTo>
                  <a:lnTo>
                    <a:pt x="93" y="59"/>
                  </a:lnTo>
                  <a:lnTo>
                    <a:pt x="85" y="59"/>
                  </a:lnTo>
                  <a:lnTo>
                    <a:pt x="77" y="57"/>
                  </a:lnTo>
                  <a:lnTo>
                    <a:pt x="68" y="52"/>
                  </a:lnTo>
                  <a:lnTo>
                    <a:pt x="52" y="50"/>
                  </a:lnTo>
                  <a:lnTo>
                    <a:pt x="33" y="36"/>
                  </a:lnTo>
                  <a:lnTo>
                    <a:pt x="20" y="27"/>
                  </a:lnTo>
                  <a:lnTo>
                    <a:pt x="0" y="6"/>
                  </a:lnTo>
                  <a:lnTo>
                    <a:pt x="12" y="11"/>
                  </a:lnTo>
                  <a:lnTo>
                    <a:pt x="33" y="23"/>
                  </a:lnTo>
                  <a:lnTo>
                    <a:pt x="50" y="29"/>
                  </a:lnTo>
                  <a:lnTo>
                    <a:pt x="56" y="21"/>
                  </a:lnTo>
                  <a:lnTo>
                    <a:pt x="62" y="8"/>
                  </a:lnTo>
                  <a:lnTo>
                    <a:pt x="7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9">
              <a:extLst>
                <a:ext uri="{FF2B5EF4-FFF2-40B4-BE49-F238E27FC236}">
                  <a16:creationId xmlns:a16="http://schemas.microsoft.com/office/drawing/2014/main" id="{E056408E-CA85-488F-898C-A12AB071CB31}"/>
                </a:ext>
              </a:extLst>
            </p:cNvPr>
            <p:cNvSpPr>
              <a:spLocks/>
            </p:cNvSpPr>
            <p:nvPr/>
          </p:nvSpPr>
          <p:spPr bwMode="auto">
            <a:xfrm>
              <a:off x="3014663" y="5745189"/>
              <a:ext cx="74613" cy="30177"/>
            </a:xfrm>
            <a:custGeom>
              <a:avLst/>
              <a:gdLst>
                <a:gd name="T0" fmla="*/ 38 w 47"/>
                <a:gd name="T1" fmla="*/ 0 h 19"/>
                <a:gd name="T2" fmla="*/ 47 w 47"/>
                <a:gd name="T3" fmla="*/ 8 h 19"/>
                <a:gd name="T4" fmla="*/ 46 w 47"/>
                <a:gd name="T5" fmla="*/ 13 h 19"/>
                <a:gd name="T6" fmla="*/ 24 w 47"/>
                <a:gd name="T7" fmla="*/ 19 h 19"/>
                <a:gd name="T8" fmla="*/ 21 w 47"/>
                <a:gd name="T9" fmla="*/ 11 h 19"/>
                <a:gd name="T10" fmla="*/ 9 w 47"/>
                <a:gd name="T11" fmla="*/ 19 h 19"/>
                <a:gd name="T12" fmla="*/ 0 w 47"/>
                <a:gd name="T13" fmla="*/ 11 h 19"/>
                <a:gd name="T14" fmla="*/ 17 w 47"/>
                <a:gd name="T15" fmla="*/ 2 h 19"/>
                <a:gd name="T16" fmla="*/ 30 w 47"/>
                <a:gd name="T17" fmla="*/ 6 h 19"/>
                <a:gd name="T18" fmla="*/ 38 w 47"/>
                <a:gd name="T1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19">
                  <a:moveTo>
                    <a:pt x="38" y="0"/>
                  </a:moveTo>
                  <a:lnTo>
                    <a:pt x="47" y="8"/>
                  </a:lnTo>
                  <a:lnTo>
                    <a:pt x="46" y="13"/>
                  </a:lnTo>
                  <a:lnTo>
                    <a:pt x="24" y="19"/>
                  </a:lnTo>
                  <a:lnTo>
                    <a:pt x="21" y="11"/>
                  </a:lnTo>
                  <a:lnTo>
                    <a:pt x="9" y="19"/>
                  </a:lnTo>
                  <a:lnTo>
                    <a:pt x="0" y="11"/>
                  </a:lnTo>
                  <a:lnTo>
                    <a:pt x="17" y="2"/>
                  </a:lnTo>
                  <a:lnTo>
                    <a:pt x="30" y="6"/>
                  </a:lnTo>
                  <a:lnTo>
                    <a:pt x="38"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11">
              <a:extLst>
                <a:ext uri="{FF2B5EF4-FFF2-40B4-BE49-F238E27FC236}">
                  <a16:creationId xmlns:a16="http://schemas.microsoft.com/office/drawing/2014/main" id="{5F6A418A-F690-4341-9EB8-44857EF0D0FF}"/>
                </a:ext>
              </a:extLst>
            </p:cNvPr>
            <p:cNvSpPr>
              <a:spLocks/>
            </p:cNvSpPr>
            <p:nvPr/>
          </p:nvSpPr>
          <p:spPr bwMode="auto">
            <a:xfrm>
              <a:off x="5886451" y="5672131"/>
              <a:ext cx="42863" cy="30177"/>
            </a:xfrm>
            <a:custGeom>
              <a:avLst/>
              <a:gdLst>
                <a:gd name="T0" fmla="*/ 4 w 27"/>
                <a:gd name="T1" fmla="*/ 0 h 19"/>
                <a:gd name="T2" fmla="*/ 13 w 27"/>
                <a:gd name="T3" fmla="*/ 6 h 19"/>
                <a:gd name="T4" fmla="*/ 25 w 27"/>
                <a:gd name="T5" fmla="*/ 8 h 19"/>
                <a:gd name="T6" fmla="*/ 27 w 27"/>
                <a:gd name="T7" fmla="*/ 11 h 19"/>
                <a:gd name="T8" fmla="*/ 23 w 27"/>
                <a:gd name="T9" fmla="*/ 19 h 19"/>
                <a:gd name="T10" fmla="*/ 2 w 27"/>
                <a:gd name="T11" fmla="*/ 19 h 19"/>
                <a:gd name="T12" fmla="*/ 0 w 27"/>
                <a:gd name="T13" fmla="*/ 11 h 19"/>
                <a:gd name="T14" fmla="*/ 4 w 27"/>
                <a:gd name="T15" fmla="*/ 4 h 19"/>
                <a:gd name="T16" fmla="*/ 4 w 27"/>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19">
                  <a:moveTo>
                    <a:pt x="4" y="0"/>
                  </a:moveTo>
                  <a:lnTo>
                    <a:pt x="13" y="6"/>
                  </a:lnTo>
                  <a:lnTo>
                    <a:pt x="25" y="8"/>
                  </a:lnTo>
                  <a:lnTo>
                    <a:pt x="27" y="11"/>
                  </a:lnTo>
                  <a:lnTo>
                    <a:pt x="23" y="19"/>
                  </a:lnTo>
                  <a:lnTo>
                    <a:pt x="2" y="19"/>
                  </a:lnTo>
                  <a:lnTo>
                    <a:pt x="0" y="11"/>
                  </a:lnTo>
                  <a:lnTo>
                    <a:pt x="4" y="4"/>
                  </a:lnTo>
                  <a:lnTo>
                    <a:pt x="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13">
              <a:extLst>
                <a:ext uri="{FF2B5EF4-FFF2-40B4-BE49-F238E27FC236}">
                  <a16:creationId xmlns:a16="http://schemas.microsoft.com/office/drawing/2014/main" id="{02A29AC2-6A93-4F91-8909-0BD8FA55F2D8}"/>
                </a:ext>
              </a:extLst>
            </p:cNvPr>
            <p:cNvSpPr>
              <a:spLocks/>
            </p:cNvSpPr>
            <p:nvPr/>
          </p:nvSpPr>
          <p:spPr bwMode="auto">
            <a:xfrm>
              <a:off x="7567612" y="5452957"/>
              <a:ext cx="82550" cy="82587"/>
            </a:xfrm>
            <a:custGeom>
              <a:avLst/>
              <a:gdLst>
                <a:gd name="T0" fmla="*/ 0 w 52"/>
                <a:gd name="T1" fmla="*/ 0 h 52"/>
                <a:gd name="T2" fmla="*/ 10 w 52"/>
                <a:gd name="T3" fmla="*/ 2 h 52"/>
                <a:gd name="T4" fmla="*/ 23 w 52"/>
                <a:gd name="T5" fmla="*/ 9 h 52"/>
                <a:gd name="T6" fmla="*/ 31 w 52"/>
                <a:gd name="T7" fmla="*/ 5 h 52"/>
                <a:gd name="T8" fmla="*/ 42 w 52"/>
                <a:gd name="T9" fmla="*/ 2 h 52"/>
                <a:gd name="T10" fmla="*/ 52 w 52"/>
                <a:gd name="T11" fmla="*/ 4 h 52"/>
                <a:gd name="T12" fmla="*/ 52 w 52"/>
                <a:gd name="T13" fmla="*/ 25 h 52"/>
                <a:gd name="T14" fmla="*/ 48 w 52"/>
                <a:gd name="T15" fmla="*/ 29 h 52"/>
                <a:gd name="T16" fmla="*/ 46 w 52"/>
                <a:gd name="T17" fmla="*/ 42 h 52"/>
                <a:gd name="T18" fmla="*/ 40 w 52"/>
                <a:gd name="T19" fmla="*/ 40 h 52"/>
                <a:gd name="T20" fmla="*/ 31 w 52"/>
                <a:gd name="T21" fmla="*/ 52 h 52"/>
                <a:gd name="T22" fmla="*/ 27 w 52"/>
                <a:gd name="T23" fmla="*/ 50 h 52"/>
                <a:gd name="T24" fmla="*/ 17 w 52"/>
                <a:gd name="T25" fmla="*/ 50 h 52"/>
                <a:gd name="T26" fmla="*/ 10 w 52"/>
                <a:gd name="T27" fmla="*/ 34 h 52"/>
                <a:gd name="T28" fmla="*/ 8 w 52"/>
                <a:gd name="T29" fmla="*/ 23 h 52"/>
                <a:gd name="T30" fmla="*/ 0 w 52"/>
                <a:gd name="T31" fmla="*/ 9 h 52"/>
                <a:gd name="T32" fmla="*/ 0 w 52"/>
                <a:gd name="T3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52">
                  <a:moveTo>
                    <a:pt x="0" y="0"/>
                  </a:moveTo>
                  <a:lnTo>
                    <a:pt x="10" y="2"/>
                  </a:lnTo>
                  <a:lnTo>
                    <a:pt x="23" y="9"/>
                  </a:lnTo>
                  <a:lnTo>
                    <a:pt x="31" y="5"/>
                  </a:lnTo>
                  <a:lnTo>
                    <a:pt x="42" y="2"/>
                  </a:lnTo>
                  <a:lnTo>
                    <a:pt x="52" y="4"/>
                  </a:lnTo>
                  <a:lnTo>
                    <a:pt x="52" y="25"/>
                  </a:lnTo>
                  <a:lnTo>
                    <a:pt x="48" y="29"/>
                  </a:lnTo>
                  <a:lnTo>
                    <a:pt x="46" y="42"/>
                  </a:lnTo>
                  <a:lnTo>
                    <a:pt x="40" y="40"/>
                  </a:lnTo>
                  <a:lnTo>
                    <a:pt x="31" y="52"/>
                  </a:lnTo>
                  <a:lnTo>
                    <a:pt x="27" y="50"/>
                  </a:lnTo>
                  <a:lnTo>
                    <a:pt x="17" y="50"/>
                  </a:lnTo>
                  <a:lnTo>
                    <a:pt x="10" y="34"/>
                  </a:lnTo>
                  <a:lnTo>
                    <a:pt x="8" y="23"/>
                  </a:lnTo>
                  <a:lnTo>
                    <a:pt x="0" y="9"/>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15">
              <a:extLst>
                <a:ext uri="{FF2B5EF4-FFF2-40B4-BE49-F238E27FC236}">
                  <a16:creationId xmlns:a16="http://schemas.microsoft.com/office/drawing/2014/main" id="{44F9E3A7-EF85-49B5-A382-86A8A45B30F2}"/>
                </a:ext>
              </a:extLst>
            </p:cNvPr>
            <p:cNvSpPr>
              <a:spLocks/>
            </p:cNvSpPr>
            <p:nvPr/>
          </p:nvSpPr>
          <p:spPr bwMode="auto">
            <a:xfrm>
              <a:off x="8051800" y="5449780"/>
              <a:ext cx="171450" cy="163587"/>
            </a:xfrm>
            <a:custGeom>
              <a:avLst/>
              <a:gdLst>
                <a:gd name="T0" fmla="*/ 87 w 108"/>
                <a:gd name="T1" fmla="*/ 0 h 103"/>
                <a:gd name="T2" fmla="*/ 90 w 108"/>
                <a:gd name="T3" fmla="*/ 6 h 103"/>
                <a:gd name="T4" fmla="*/ 94 w 108"/>
                <a:gd name="T5" fmla="*/ 13 h 103"/>
                <a:gd name="T6" fmla="*/ 104 w 108"/>
                <a:gd name="T7" fmla="*/ 6 h 103"/>
                <a:gd name="T8" fmla="*/ 108 w 108"/>
                <a:gd name="T9" fmla="*/ 15 h 103"/>
                <a:gd name="T10" fmla="*/ 108 w 108"/>
                <a:gd name="T11" fmla="*/ 21 h 103"/>
                <a:gd name="T12" fmla="*/ 102 w 108"/>
                <a:gd name="T13" fmla="*/ 27 h 103"/>
                <a:gd name="T14" fmla="*/ 92 w 108"/>
                <a:gd name="T15" fmla="*/ 42 h 103"/>
                <a:gd name="T16" fmla="*/ 85 w 108"/>
                <a:gd name="T17" fmla="*/ 48 h 103"/>
                <a:gd name="T18" fmla="*/ 90 w 108"/>
                <a:gd name="T19" fmla="*/ 55 h 103"/>
                <a:gd name="T20" fmla="*/ 81 w 108"/>
                <a:gd name="T21" fmla="*/ 55 h 103"/>
                <a:gd name="T22" fmla="*/ 69 w 108"/>
                <a:gd name="T23" fmla="*/ 63 h 103"/>
                <a:gd name="T24" fmla="*/ 64 w 108"/>
                <a:gd name="T25" fmla="*/ 73 h 103"/>
                <a:gd name="T26" fmla="*/ 58 w 108"/>
                <a:gd name="T27" fmla="*/ 92 h 103"/>
                <a:gd name="T28" fmla="*/ 46 w 108"/>
                <a:gd name="T29" fmla="*/ 100 h 103"/>
                <a:gd name="T30" fmla="*/ 39 w 108"/>
                <a:gd name="T31" fmla="*/ 103 h 103"/>
                <a:gd name="T32" fmla="*/ 25 w 108"/>
                <a:gd name="T33" fmla="*/ 103 h 103"/>
                <a:gd name="T34" fmla="*/ 18 w 108"/>
                <a:gd name="T35" fmla="*/ 98 h 103"/>
                <a:gd name="T36" fmla="*/ 2 w 108"/>
                <a:gd name="T37" fmla="*/ 96 h 103"/>
                <a:gd name="T38" fmla="*/ 0 w 108"/>
                <a:gd name="T39" fmla="*/ 90 h 103"/>
                <a:gd name="T40" fmla="*/ 8 w 108"/>
                <a:gd name="T41" fmla="*/ 78 h 103"/>
                <a:gd name="T42" fmla="*/ 23 w 108"/>
                <a:gd name="T43" fmla="*/ 61 h 103"/>
                <a:gd name="T44" fmla="*/ 35 w 108"/>
                <a:gd name="T45" fmla="*/ 57 h 103"/>
                <a:gd name="T46" fmla="*/ 44 w 108"/>
                <a:gd name="T47" fmla="*/ 52 h 103"/>
                <a:gd name="T48" fmla="*/ 56 w 108"/>
                <a:gd name="T49" fmla="*/ 42 h 103"/>
                <a:gd name="T50" fmla="*/ 64 w 108"/>
                <a:gd name="T51" fmla="*/ 32 h 103"/>
                <a:gd name="T52" fmla="*/ 71 w 108"/>
                <a:gd name="T53" fmla="*/ 21 h 103"/>
                <a:gd name="T54" fmla="*/ 75 w 108"/>
                <a:gd name="T55" fmla="*/ 17 h 103"/>
                <a:gd name="T56" fmla="*/ 77 w 108"/>
                <a:gd name="T57" fmla="*/ 7 h 103"/>
                <a:gd name="T58" fmla="*/ 87 w 108"/>
                <a:gd name="T5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103">
                  <a:moveTo>
                    <a:pt x="87" y="0"/>
                  </a:moveTo>
                  <a:lnTo>
                    <a:pt x="90" y="6"/>
                  </a:lnTo>
                  <a:lnTo>
                    <a:pt x="94" y="13"/>
                  </a:lnTo>
                  <a:lnTo>
                    <a:pt x="104" y="6"/>
                  </a:lnTo>
                  <a:lnTo>
                    <a:pt x="108" y="15"/>
                  </a:lnTo>
                  <a:lnTo>
                    <a:pt x="108" y="21"/>
                  </a:lnTo>
                  <a:lnTo>
                    <a:pt x="102" y="27"/>
                  </a:lnTo>
                  <a:lnTo>
                    <a:pt x="92" y="42"/>
                  </a:lnTo>
                  <a:lnTo>
                    <a:pt x="85" y="48"/>
                  </a:lnTo>
                  <a:lnTo>
                    <a:pt x="90" y="55"/>
                  </a:lnTo>
                  <a:lnTo>
                    <a:pt x="81" y="55"/>
                  </a:lnTo>
                  <a:lnTo>
                    <a:pt x="69" y="63"/>
                  </a:lnTo>
                  <a:lnTo>
                    <a:pt x="64" y="73"/>
                  </a:lnTo>
                  <a:lnTo>
                    <a:pt x="58" y="92"/>
                  </a:lnTo>
                  <a:lnTo>
                    <a:pt x="46" y="100"/>
                  </a:lnTo>
                  <a:lnTo>
                    <a:pt x="39" y="103"/>
                  </a:lnTo>
                  <a:lnTo>
                    <a:pt x="25" y="103"/>
                  </a:lnTo>
                  <a:lnTo>
                    <a:pt x="18" y="98"/>
                  </a:lnTo>
                  <a:lnTo>
                    <a:pt x="2" y="96"/>
                  </a:lnTo>
                  <a:lnTo>
                    <a:pt x="0" y="90"/>
                  </a:lnTo>
                  <a:lnTo>
                    <a:pt x="8" y="78"/>
                  </a:lnTo>
                  <a:lnTo>
                    <a:pt x="23" y="61"/>
                  </a:lnTo>
                  <a:lnTo>
                    <a:pt x="35" y="57"/>
                  </a:lnTo>
                  <a:lnTo>
                    <a:pt x="44" y="52"/>
                  </a:lnTo>
                  <a:lnTo>
                    <a:pt x="56" y="42"/>
                  </a:lnTo>
                  <a:lnTo>
                    <a:pt x="64" y="32"/>
                  </a:lnTo>
                  <a:lnTo>
                    <a:pt x="71" y="21"/>
                  </a:lnTo>
                  <a:lnTo>
                    <a:pt x="75" y="17"/>
                  </a:lnTo>
                  <a:lnTo>
                    <a:pt x="77" y="7"/>
                  </a:lnTo>
                  <a:lnTo>
                    <a:pt x="8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17">
              <a:extLst>
                <a:ext uri="{FF2B5EF4-FFF2-40B4-BE49-F238E27FC236}">
                  <a16:creationId xmlns:a16="http://schemas.microsoft.com/office/drawing/2014/main" id="{67D40441-2608-44DC-A4EB-A4ACF587E895}"/>
                </a:ext>
              </a:extLst>
            </p:cNvPr>
            <p:cNvSpPr>
              <a:spLocks/>
            </p:cNvSpPr>
            <p:nvPr/>
          </p:nvSpPr>
          <p:spPr bwMode="auto">
            <a:xfrm>
              <a:off x="8186737" y="5294135"/>
              <a:ext cx="127000" cy="185822"/>
            </a:xfrm>
            <a:custGeom>
              <a:avLst/>
              <a:gdLst>
                <a:gd name="T0" fmla="*/ 5 w 80"/>
                <a:gd name="T1" fmla="*/ 0 h 117"/>
                <a:gd name="T2" fmla="*/ 13 w 80"/>
                <a:gd name="T3" fmla="*/ 10 h 117"/>
                <a:gd name="T4" fmla="*/ 25 w 80"/>
                <a:gd name="T5" fmla="*/ 13 h 117"/>
                <a:gd name="T6" fmla="*/ 27 w 80"/>
                <a:gd name="T7" fmla="*/ 27 h 117"/>
                <a:gd name="T8" fmla="*/ 36 w 80"/>
                <a:gd name="T9" fmla="*/ 44 h 117"/>
                <a:gd name="T10" fmla="*/ 36 w 80"/>
                <a:gd name="T11" fmla="*/ 34 h 117"/>
                <a:gd name="T12" fmla="*/ 44 w 80"/>
                <a:gd name="T13" fmla="*/ 38 h 117"/>
                <a:gd name="T14" fmla="*/ 46 w 80"/>
                <a:gd name="T15" fmla="*/ 50 h 117"/>
                <a:gd name="T16" fmla="*/ 57 w 80"/>
                <a:gd name="T17" fmla="*/ 56 h 117"/>
                <a:gd name="T18" fmla="*/ 67 w 80"/>
                <a:gd name="T19" fmla="*/ 56 h 117"/>
                <a:gd name="T20" fmla="*/ 75 w 80"/>
                <a:gd name="T21" fmla="*/ 50 h 117"/>
                <a:gd name="T22" fmla="*/ 80 w 80"/>
                <a:gd name="T23" fmla="*/ 52 h 117"/>
                <a:gd name="T24" fmla="*/ 76 w 80"/>
                <a:gd name="T25" fmla="*/ 65 h 117"/>
                <a:gd name="T26" fmla="*/ 75 w 80"/>
                <a:gd name="T27" fmla="*/ 77 h 117"/>
                <a:gd name="T28" fmla="*/ 65 w 80"/>
                <a:gd name="T29" fmla="*/ 77 h 117"/>
                <a:gd name="T30" fmla="*/ 59 w 80"/>
                <a:gd name="T31" fmla="*/ 81 h 117"/>
                <a:gd name="T32" fmla="*/ 61 w 80"/>
                <a:gd name="T33" fmla="*/ 86 h 117"/>
                <a:gd name="T34" fmla="*/ 59 w 80"/>
                <a:gd name="T35" fmla="*/ 90 h 117"/>
                <a:gd name="T36" fmla="*/ 55 w 80"/>
                <a:gd name="T37" fmla="*/ 98 h 117"/>
                <a:gd name="T38" fmla="*/ 48 w 80"/>
                <a:gd name="T39" fmla="*/ 111 h 117"/>
                <a:gd name="T40" fmla="*/ 36 w 80"/>
                <a:gd name="T41" fmla="*/ 117 h 117"/>
                <a:gd name="T42" fmla="*/ 34 w 80"/>
                <a:gd name="T43" fmla="*/ 113 h 117"/>
                <a:gd name="T44" fmla="*/ 27 w 80"/>
                <a:gd name="T45" fmla="*/ 111 h 117"/>
                <a:gd name="T46" fmla="*/ 36 w 80"/>
                <a:gd name="T47" fmla="*/ 98 h 117"/>
                <a:gd name="T48" fmla="*/ 30 w 80"/>
                <a:gd name="T49" fmla="*/ 86 h 117"/>
                <a:gd name="T50" fmla="*/ 15 w 80"/>
                <a:gd name="T51" fmla="*/ 82 h 117"/>
                <a:gd name="T52" fmla="*/ 17 w 80"/>
                <a:gd name="T53" fmla="*/ 77 h 117"/>
                <a:gd name="T54" fmla="*/ 27 w 80"/>
                <a:gd name="T55" fmla="*/ 71 h 117"/>
                <a:gd name="T56" fmla="*/ 28 w 80"/>
                <a:gd name="T57" fmla="*/ 57 h 117"/>
                <a:gd name="T58" fmla="*/ 28 w 80"/>
                <a:gd name="T59" fmla="*/ 48 h 117"/>
                <a:gd name="T60" fmla="*/ 23 w 80"/>
                <a:gd name="T61" fmla="*/ 36 h 117"/>
                <a:gd name="T62" fmla="*/ 25 w 80"/>
                <a:gd name="T63" fmla="*/ 34 h 117"/>
                <a:gd name="T64" fmla="*/ 17 w 80"/>
                <a:gd name="T65" fmla="*/ 27 h 117"/>
                <a:gd name="T66" fmla="*/ 5 w 80"/>
                <a:gd name="T67" fmla="*/ 11 h 117"/>
                <a:gd name="T68" fmla="*/ 0 w 80"/>
                <a:gd name="T69" fmla="*/ 2 h 117"/>
                <a:gd name="T70" fmla="*/ 5 w 80"/>
                <a:gd name="T7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117">
                  <a:moveTo>
                    <a:pt x="5" y="0"/>
                  </a:moveTo>
                  <a:lnTo>
                    <a:pt x="13" y="10"/>
                  </a:lnTo>
                  <a:lnTo>
                    <a:pt x="25" y="13"/>
                  </a:lnTo>
                  <a:lnTo>
                    <a:pt x="27" y="27"/>
                  </a:lnTo>
                  <a:lnTo>
                    <a:pt x="36" y="44"/>
                  </a:lnTo>
                  <a:lnTo>
                    <a:pt x="36" y="34"/>
                  </a:lnTo>
                  <a:lnTo>
                    <a:pt x="44" y="38"/>
                  </a:lnTo>
                  <a:lnTo>
                    <a:pt x="46" y="50"/>
                  </a:lnTo>
                  <a:lnTo>
                    <a:pt x="57" y="56"/>
                  </a:lnTo>
                  <a:lnTo>
                    <a:pt x="67" y="56"/>
                  </a:lnTo>
                  <a:lnTo>
                    <a:pt x="75" y="50"/>
                  </a:lnTo>
                  <a:lnTo>
                    <a:pt x="80" y="52"/>
                  </a:lnTo>
                  <a:lnTo>
                    <a:pt x="76" y="65"/>
                  </a:lnTo>
                  <a:lnTo>
                    <a:pt x="75" y="77"/>
                  </a:lnTo>
                  <a:lnTo>
                    <a:pt x="65" y="77"/>
                  </a:lnTo>
                  <a:lnTo>
                    <a:pt x="59" y="81"/>
                  </a:lnTo>
                  <a:lnTo>
                    <a:pt x="61" y="86"/>
                  </a:lnTo>
                  <a:lnTo>
                    <a:pt x="59" y="90"/>
                  </a:lnTo>
                  <a:lnTo>
                    <a:pt x="55" y="98"/>
                  </a:lnTo>
                  <a:lnTo>
                    <a:pt x="48" y="111"/>
                  </a:lnTo>
                  <a:lnTo>
                    <a:pt x="36" y="117"/>
                  </a:lnTo>
                  <a:lnTo>
                    <a:pt x="34" y="113"/>
                  </a:lnTo>
                  <a:lnTo>
                    <a:pt x="27" y="111"/>
                  </a:lnTo>
                  <a:lnTo>
                    <a:pt x="36" y="98"/>
                  </a:lnTo>
                  <a:lnTo>
                    <a:pt x="30" y="86"/>
                  </a:lnTo>
                  <a:lnTo>
                    <a:pt x="15" y="82"/>
                  </a:lnTo>
                  <a:lnTo>
                    <a:pt x="17" y="77"/>
                  </a:lnTo>
                  <a:lnTo>
                    <a:pt x="27" y="71"/>
                  </a:lnTo>
                  <a:lnTo>
                    <a:pt x="28" y="57"/>
                  </a:lnTo>
                  <a:lnTo>
                    <a:pt x="28" y="48"/>
                  </a:lnTo>
                  <a:lnTo>
                    <a:pt x="23" y="36"/>
                  </a:lnTo>
                  <a:lnTo>
                    <a:pt x="25" y="34"/>
                  </a:lnTo>
                  <a:lnTo>
                    <a:pt x="17" y="27"/>
                  </a:lnTo>
                  <a:lnTo>
                    <a:pt x="5" y="11"/>
                  </a:lnTo>
                  <a:lnTo>
                    <a:pt x="0" y="2"/>
                  </a:lnTo>
                  <a:lnTo>
                    <a:pt x="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19">
              <a:extLst>
                <a:ext uri="{FF2B5EF4-FFF2-40B4-BE49-F238E27FC236}">
                  <a16:creationId xmlns:a16="http://schemas.microsoft.com/office/drawing/2014/main" id="{9D5E61F1-EA51-49AA-9530-15917BC2D744}"/>
                </a:ext>
              </a:extLst>
            </p:cNvPr>
            <p:cNvSpPr>
              <a:spLocks/>
            </p:cNvSpPr>
            <p:nvPr/>
          </p:nvSpPr>
          <p:spPr bwMode="auto">
            <a:xfrm>
              <a:off x="7997825" y="4952668"/>
              <a:ext cx="66675" cy="52412"/>
            </a:xfrm>
            <a:custGeom>
              <a:avLst/>
              <a:gdLst>
                <a:gd name="T0" fmla="*/ 0 w 42"/>
                <a:gd name="T1" fmla="*/ 0 h 33"/>
                <a:gd name="T2" fmla="*/ 4 w 42"/>
                <a:gd name="T3" fmla="*/ 0 h 33"/>
                <a:gd name="T4" fmla="*/ 13 w 42"/>
                <a:gd name="T5" fmla="*/ 6 h 33"/>
                <a:gd name="T6" fmla="*/ 19 w 42"/>
                <a:gd name="T7" fmla="*/ 10 h 33"/>
                <a:gd name="T8" fmla="*/ 23 w 42"/>
                <a:gd name="T9" fmla="*/ 15 h 33"/>
                <a:gd name="T10" fmla="*/ 34 w 42"/>
                <a:gd name="T11" fmla="*/ 23 h 33"/>
                <a:gd name="T12" fmla="*/ 42 w 42"/>
                <a:gd name="T13" fmla="*/ 29 h 33"/>
                <a:gd name="T14" fmla="*/ 36 w 42"/>
                <a:gd name="T15" fmla="*/ 33 h 33"/>
                <a:gd name="T16" fmla="*/ 30 w 42"/>
                <a:gd name="T17" fmla="*/ 29 h 33"/>
                <a:gd name="T18" fmla="*/ 19 w 42"/>
                <a:gd name="T19" fmla="*/ 23 h 33"/>
                <a:gd name="T20" fmla="*/ 11 w 42"/>
                <a:gd name="T21" fmla="*/ 15 h 33"/>
                <a:gd name="T22" fmla="*/ 2 w 42"/>
                <a:gd name="T23" fmla="*/ 6 h 33"/>
                <a:gd name="T24" fmla="*/ 0 w 42"/>
                <a:gd name="T2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33">
                  <a:moveTo>
                    <a:pt x="0" y="0"/>
                  </a:moveTo>
                  <a:lnTo>
                    <a:pt x="4" y="0"/>
                  </a:lnTo>
                  <a:lnTo>
                    <a:pt x="13" y="6"/>
                  </a:lnTo>
                  <a:lnTo>
                    <a:pt x="19" y="10"/>
                  </a:lnTo>
                  <a:lnTo>
                    <a:pt x="23" y="15"/>
                  </a:lnTo>
                  <a:lnTo>
                    <a:pt x="34" y="23"/>
                  </a:lnTo>
                  <a:lnTo>
                    <a:pt x="42" y="29"/>
                  </a:lnTo>
                  <a:lnTo>
                    <a:pt x="36" y="33"/>
                  </a:lnTo>
                  <a:lnTo>
                    <a:pt x="30" y="29"/>
                  </a:lnTo>
                  <a:lnTo>
                    <a:pt x="19" y="23"/>
                  </a:lnTo>
                  <a:lnTo>
                    <a:pt x="11" y="15"/>
                  </a:lnTo>
                  <a:lnTo>
                    <a:pt x="2" y="6"/>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1">
              <a:extLst>
                <a:ext uri="{FF2B5EF4-FFF2-40B4-BE49-F238E27FC236}">
                  <a16:creationId xmlns:a16="http://schemas.microsoft.com/office/drawing/2014/main" id="{AD8B6016-B835-426F-8C95-20FDF7487ED4}"/>
                </a:ext>
              </a:extLst>
            </p:cNvPr>
            <p:cNvSpPr>
              <a:spLocks/>
            </p:cNvSpPr>
            <p:nvPr/>
          </p:nvSpPr>
          <p:spPr bwMode="auto">
            <a:xfrm>
              <a:off x="8289925" y="4889139"/>
              <a:ext cx="30163" cy="20647"/>
            </a:xfrm>
            <a:custGeom>
              <a:avLst/>
              <a:gdLst>
                <a:gd name="T0" fmla="*/ 13 w 19"/>
                <a:gd name="T1" fmla="*/ 0 h 13"/>
                <a:gd name="T2" fmla="*/ 19 w 19"/>
                <a:gd name="T3" fmla="*/ 4 h 13"/>
                <a:gd name="T4" fmla="*/ 17 w 19"/>
                <a:gd name="T5" fmla="*/ 11 h 13"/>
                <a:gd name="T6" fmla="*/ 10 w 19"/>
                <a:gd name="T7" fmla="*/ 13 h 13"/>
                <a:gd name="T8" fmla="*/ 0 w 19"/>
                <a:gd name="T9" fmla="*/ 11 h 13"/>
                <a:gd name="T10" fmla="*/ 0 w 19"/>
                <a:gd name="T11" fmla="*/ 5 h 13"/>
                <a:gd name="T12" fmla="*/ 4 w 19"/>
                <a:gd name="T13" fmla="*/ 2 h 13"/>
                <a:gd name="T14" fmla="*/ 11 w 19"/>
                <a:gd name="T15" fmla="*/ 4 h 13"/>
                <a:gd name="T16" fmla="*/ 13 w 19"/>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3">
                  <a:moveTo>
                    <a:pt x="13" y="0"/>
                  </a:moveTo>
                  <a:lnTo>
                    <a:pt x="19" y="4"/>
                  </a:lnTo>
                  <a:lnTo>
                    <a:pt x="17" y="11"/>
                  </a:lnTo>
                  <a:lnTo>
                    <a:pt x="10" y="13"/>
                  </a:lnTo>
                  <a:lnTo>
                    <a:pt x="0" y="11"/>
                  </a:lnTo>
                  <a:lnTo>
                    <a:pt x="0" y="5"/>
                  </a:lnTo>
                  <a:lnTo>
                    <a:pt x="4" y="2"/>
                  </a:lnTo>
                  <a:lnTo>
                    <a:pt x="11" y="4"/>
                  </a:lnTo>
                  <a:lnTo>
                    <a:pt x="1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3">
              <a:extLst>
                <a:ext uri="{FF2B5EF4-FFF2-40B4-BE49-F238E27FC236}">
                  <a16:creationId xmlns:a16="http://schemas.microsoft.com/office/drawing/2014/main" id="{CCE699DB-94F8-4DFE-896B-D499DB72C99E}"/>
                </a:ext>
              </a:extLst>
            </p:cNvPr>
            <p:cNvSpPr>
              <a:spLocks/>
            </p:cNvSpPr>
            <p:nvPr/>
          </p:nvSpPr>
          <p:spPr bwMode="auto">
            <a:xfrm>
              <a:off x="8316912" y="4860551"/>
              <a:ext cx="36513" cy="22235"/>
            </a:xfrm>
            <a:custGeom>
              <a:avLst/>
              <a:gdLst>
                <a:gd name="T0" fmla="*/ 23 w 23"/>
                <a:gd name="T1" fmla="*/ 0 h 14"/>
                <a:gd name="T2" fmla="*/ 21 w 23"/>
                <a:gd name="T3" fmla="*/ 8 h 14"/>
                <a:gd name="T4" fmla="*/ 12 w 23"/>
                <a:gd name="T5" fmla="*/ 10 h 14"/>
                <a:gd name="T6" fmla="*/ 2 w 23"/>
                <a:gd name="T7" fmla="*/ 14 h 14"/>
                <a:gd name="T8" fmla="*/ 0 w 23"/>
                <a:gd name="T9" fmla="*/ 8 h 14"/>
                <a:gd name="T10" fmla="*/ 8 w 23"/>
                <a:gd name="T11" fmla="*/ 6 h 14"/>
                <a:gd name="T12" fmla="*/ 12 w 23"/>
                <a:gd name="T13" fmla="*/ 4 h 14"/>
                <a:gd name="T14" fmla="*/ 21 w 23"/>
                <a:gd name="T15" fmla="*/ 0 h 14"/>
                <a:gd name="T16" fmla="*/ 23 w 23"/>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4">
                  <a:moveTo>
                    <a:pt x="23" y="0"/>
                  </a:moveTo>
                  <a:lnTo>
                    <a:pt x="21" y="8"/>
                  </a:lnTo>
                  <a:lnTo>
                    <a:pt x="12" y="10"/>
                  </a:lnTo>
                  <a:lnTo>
                    <a:pt x="2" y="14"/>
                  </a:lnTo>
                  <a:lnTo>
                    <a:pt x="0" y="8"/>
                  </a:lnTo>
                  <a:lnTo>
                    <a:pt x="8" y="6"/>
                  </a:lnTo>
                  <a:lnTo>
                    <a:pt x="12" y="4"/>
                  </a:lnTo>
                  <a:lnTo>
                    <a:pt x="21" y="0"/>
                  </a:lnTo>
                  <a:lnTo>
                    <a:pt x="2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5">
              <a:extLst>
                <a:ext uri="{FF2B5EF4-FFF2-40B4-BE49-F238E27FC236}">
                  <a16:creationId xmlns:a16="http://schemas.microsoft.com/office/drawing/2014/main" id="{8A2C392D-B6C4-4E2A-8333-B8459082A89D}"/>
                </a:ext>
              </a:extLst>
            </p:cNvPr>
            <p:cNvSpPr>
              <a:spLocks/>
            </p:cNvSpPr>
            <p:nvPr/>
          </p:nvSpPr>
          <p:spPr bwMode="auto">
            <a:xfrm>
              <a:off x="8064500" y="4857375"/>
              <a:ext cx="15875" cy="15882"/>
            </a:xfrm>
            <a:custGeom>
              <a:avLst/>
              <a:gdLst>
                <a:gd name="T0" fmla="*/ 0 w 10"/>
                <a:gd name="T1" fmla="*/ 0 h 10"/>
                <a:gd name="T2" fmla="*/ 10 w 10"/>
                <a:gd name="T3" fmla="*/ 8 h 10"/>
                <a:gd name="T4" fmla="*/ 6 w 10"/>
                <a:gd name="T5" fmla="*/ 10 h 10"/>
                <a:gd name="T6" fmla="*/ 0 w 10"/>
                <a:gd name="T7" fmla="*/ 2 h 10"/>
                <a:gd name="T8" fmla="*/ 0 w 10"/>
                <a:gd name="T9" fmla="*/ 0 h 10"/>
              </a:gdLst>
              <a:ahLst/>
              <a:cxnLst>
                <a:cxn ang="0">
                  <a:pos x="T0" y="T1"/>
                </a:cxn>
                <a:cxn ang="0">
                  <a:pos x="T2" y="T3"/>
                </a:cxn>
                <a:cxn ang="0">
                  <a:pos x="T4" y="T5"/>
                </a:cxn>
                <a:cxn ang="0">
                  <a:pos x="T6" y="T7"/>
                </a:cxn>
                <a:cxn ang="0">
                  <a:pos x="T8" y="T9"/>
                </a:cxn>
              </a:cxnLst>
              <a:rect l="0" t="0" r="r" b="b"/>
              <a:pathLst>
                <a:path w="10" h="10">
                  <a:moveTo>
                    <a:pt x="0" y="0"/>
                  </a:moveTo>
                  <a:lnTo>
                    <a:pt x="10" y="8"/>
                  </a:lnTo>
                  <a:lnTo>
                    <a:pt x="6" y="10"/>
                  </a:lnTo>
                  <a:lnTo>
                    <a:pt x="0" y="2"/>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7">
              <a:extLst>
                <a:ext uri="{FF2B5EF4-FFF2-40B4-BE49-F238E27FC236}">
                  <a16:creationId xmlns:a16="http://schemas.microsoft.com/office/drawing/2014/main" id="{5D3D3563-941C-4937-9AFA-047BA3ABBDE4}"/>
                </a:ext>
              </a:extLst>
            </p:cNvPr>
            <p:cNvSpPr>
              <a:spLocks/>
            </p:cNvSpPr>
            <p:nvPr/>
          </p:nvSpPr>
          <p:spPr bwMode="auto">
            <a:xfrm>
              <a:off x="8054975" y="4827199"/>
              <a:ext cx="12700" cy="28588"/>
            </a:xfrm>
            <a:custGeom>
              <a:avLst/>
              <a:gdLst>
                <a:gd name="T0" fmla="*/ 0 w 8"/>
                <a:gd name="T1" fmla="*/ 0 h 18"/>
                <a:gd name="T2" fmla="*/ 6 w 8"/>
                <a:gd name="T3" fmla="*/ 4 h 18"/>
                <a:gd name="T4" fmla="*/ 8 w 8"/>
                <a:gd name="T5" fmla="*/ 18 h 18"/>
                <a:gd name="T6" fmla="*/ 6 w 8"/>
                <a:gd name="T7" fmla="*/ 16 h 18"/>
                <a:gd name="T8" fmla="*/ 2 w 8"/>
                <a:gd name="T9" fmla="*/ 16 h 18"/>
                <a:gd name="T10" fmla="*/ 0 w 8"/>
                <a:gd name="T11" fmla="*/ 12 h 18"/>
                <a:gd name="T12" fmla="*/ 0 w 8"/>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0" y="0"/>
                  </a:moveTo>
                  <a:lnTo>
                    <a:pt x="6" y="4"/>
                  </a:lnTo>
                  <a:lnTo>
                    <a:pt x="8" y="18"/>
                  </a:lnTo>
                  <a:lnTo>
                    <a:pt x="6" y="16"/>
                  </a:lnTo>
                  <a:lnTo>
                    <a:pt x="2" y="16"/>
                  </a:lnTo>
                  <a:lnTo>
                    <a:pt x="0" y="12"/>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9">
              <a:extLst>
                <a:ext uri="{FF2B5EF4-FFF2-40B4-BE49-F238E27FC236}">
                  <a16:creationId xmlns:a16="http://schemas.microsoft.com/office/drawing/2014/main" id="{047E89A7-B979-45AE-8528-DF3D7B883873}"/>
                </a:ext>
              </a:extLst>
            </p:cNvPr>
            <p:cNvSpPr>
              <a:spLocks/>
            </p:cNvSpPr>
            <p:nvPr/>
          </p:nvSpPr>
          <p:spPr bwMode="auto">
            <a:xfrm>
              <a:off x="5326063" y="4770023"/>
              <a:ext cx="158750" cy="311291"/>
            </a:xfrm>
            <a:custGeom>
              <a:avLst/>
              <a:gdLst>
                <a:gd name="T0" fmla="*/ 82 w 100"/>
                <a:gd name="T1" fmla="*/ 0 h 196"/>
                <a:gd name="T2" fmla="*/ 86 w 100"/>
                <a:gd name="T3" fmla="*/ 6 h 196"/>
                <a:gd name="T4" fmla="*/ 92 w 100"/>
                <a:gd name="T5" fmla="*/ 11 h 196"/>
                <a:gd name="T6" fmla="*/ 94 w 100"/>
                <a:gd name="T7" fmla="*/ 21 h 196"/>
                <a:gd name="T8" fmla="*/ 96 w 100"/>
                <a:gd name="T9" fmla="*/ 38 h 196"/>
                <a:gd name="T10" fmla="*/ 100 w 100"/>
                <a:gd name="T11" fmla="*/ 44 h 196"/>
                <a:gd name="T12" fmla="*/ 98 w 100"/>
                <a:gd name="T13" fmla="*/ 52 h 196"/>
                <a:gd name="T14" fmla="*/ 96 w 100"/>
                <a:gd name="T15" fmla="*/ 57 h 196"/>
                <a:gd name="T16" fmla="*/ 92 w 100"/>
                <a:gd name="T17" fmla="*/ 48 h 196"/>
                <a:gd name="T18" fmla="*/ 88 w 100"/>
                <a:gd name="T19" fmla="*/ 52 h 196"/>
                <a:gd name="T20" fmla="*/ 92 w 100"/>
                <a:gd name="T21" fmla="*/ 63 h 196"/>
                <a:gd name="T22" fmla="*/ 90 w 100"/>
                <a:gd name="T23" fmla="*/ 67 h 196"/>
                <a:gd name="T24" fmla="*/ 86 w 100"/>
                <a:gd name="T25" fmla="*/ 71 h 196"/>
                <a:gd name="T26" fmla="*/ 84 w 100"/>
                <a:gd name="T27" fmla="*/ 84 h 196"/>
                <a:gd name="T28" fmla="*/ 81 w 100"/>
                <a:gd name="T29" fmla="*/ 102 h 196"/>
                <a:gd name="T30" fmla="*/ 73 w 100"/>
                <a:gd name="T31" fmla="*/ 121 h 196"/>
                <a:gd name="T32" fmla="*/ 63 w 100"/>
                <a:gd name="T33" fmla="*/ 148 h 196"/>
                <a:gd name="T34" fmla="*/ 59 w 100"/>
                <a:gd name="T35" fmla="*/ 169 h 196"/>
                <a:gd name="T36" fmla="*/ 54 w 100"/>
                <a:gd name="T37" fmla="*/ 184 h 196"/>
                <a:gd name="T38" fmla="*/ 40 w 100"/>
                <a:gd name="T39" fmla="*/ 190 h 196"/>
                <a:gd name="T40" fmla="*/ 29 w 100"/>
                <a:gd name="T41" fmla="*/ 196 h 196"/>
                <a:gd name="T42" fmla="*/ 21 w 100"/>
                <a:gd name="T43" fmla="*/ 192 h 196"/>
                <a:gd name="T44" fmla="*/ 11 w 100"/>
                <a:gd name="T45" fmla="*/ 186 h 196"/>
                <a:gd name="T46" fmla="*/ 6 w 100"/>
                <a:gd name="T47" fmla="*/ 178 h 196"/>
                <a:gd name="T48" fmla="*/ 6 w 100"/>
                <a:gd name="T49" fmla="*/ 165 h 196"/>
                <a:gd name="T50" fmla="*/ 0 w 100"/>
                <a:gd name="T51" fmla="*/ 153 h 196"/>
                <a:gd name="T52" fmla="*/ 0 w 100"/>
                <a:gd name="T53" fmla="*/ 142 h 196"/>
                <a:gd name="T54" fmla="*/ 0 w 100"/>
                <a:gd name="T55" fmla="*/ 132 h 196"/>
                <a:gd name="T56" fmla="*/ 8 w 100"/>
                <a:gd name="T57" fmla="*/ 130 h 196"/>
                <a:gd name="T58" fmla="*/ 8 w 100"/>
                <a:gd name="T59" fmla="*/ 128 h 196"/>
                <a:gd name="T60" fmla="*/ 8 w 100"/>
                <a:gd name="T61" fmla="*/ 125 h 196"/>
                <a:gd name="T62" fmla="*/ 15 w 100"/>
                <a:gd name="T63" fmla="*/ 115 h 196"/>
                <a:gd name="T64" fmla="*/ 15 w 100"/>
                <a:gd name="T65" fmla="*/ 103 h 196"/>
                <a:gd name="T66" fmla="*/ 13 w 100"/>
                <a:gd name="T67" fmla="*/ 98 h 196"/>
                <a:gd name="T68" fmla="*/ 11 w 100"/>
                <a:gd name="T69" fmla="*/ 90 h 196"/>
                <a:gd name="T70" fmla="*/ 10 w 100"/>
                <a:gd name="T71" fmla="*/ 77 h 196"/>
                <a:gd name="T72" fmla="*/ 15 w 100"/>
                <a:gd name="T73" fmla="*/ 67 h 196"/>
                <a:gd name="T74" fmla="*/ 15 w 100"/>
                <a:gd name="T75" fmla="*/ 59 h 196"/>
                <a:gd name="T76" fmla="*/ 23 w 100"/>
                <a:gd name="T77" fmla="*/ 57 h 196"/>
                <a:gd name="T78" fmla="*/ 31 w 100"/>
                <a:gd name="T79" fmla="*/ 57 h 196"/>
                <a:gd name="T80" fmla="*/ 36 w 100"/>
                <a:gd name="T81" fmla="*/ 54 h 196"/>
                <a:gd name="T82" fmla="*/ 40 w 100"/>
                <a:gd name="T83" fmla="*/ 54 h 196"/>
                <a:gd name="T84" fmla="*/ 50 w 100"/>
                <a:gd name="T85" fmla="*/ 44 h 196"/>
                <a:gd name="T86" fmla="*/ 61 w 100"/>
                <a:gd name="T87" fmla="*/ 36 h 196"/>
                <a:gd name="T88" fmla="*/ 65 w 100"/>
                <a:gd name="T89" fmla="*/ 29 h 196"/>
                <a:gd name="T90" fmla="*/ 63 w 100"/>
                <a:gd name="T91" fmla="*/ 23 h 196"/>
                <a:gd name="T92" fmla="*/ 69 w 100"/>
                <a:gd name="T93" fmla="*/ 25 h 196"/>
                <a:gd name="T94" fmla="*/ 79 w 100"/>
                <a:gd name="T95" fmla="*/ 15 h 196"/>
                <a:gd name="T96" fmla="*/ 79 w 100"/>
                <a:gd name="T97" fmla="*/ 6 h 196"/>
                <a:gd name="T98" fmla="*/ 82 w 100"/>
                <a:gd name="T9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 h="196">
                  <a:moveTo>
                    <a:pt x="82" y="0"/>
                  </a:moveTo>
                  <a:lnTo>
                    <a:pt x="86" y="6"/>
                  </a:lnTo>
                  <a:lnTo>
                    <a:pt x="92" y="11"/>
                  </a:lnTo>
                  <a:lnTo>
                    <a:pt x="94" y="21"/>
                  </a:lnTo>
                  <a:lnTo>
                    <a:pt x="96" y="38"/>
                  </a:lnTo>
                  <a:lnTo>
                    <a:pt x="100" y="44"/>
                  </a:lnTo>
                  <a:lnTo>
                    <a:pt x="98" y="52"/>
                  </a:lnTo>
                  <a:lnTo>
                    <a:pt x="96" y="57"/>
                  </a:lnTo>
                  <a:lnTo>
                    <a:pt x="92" y="48"/>
                  </a:lnTo>
                  <a:lnTo>
                    <a:pt x="88" y="52"/>
                  </a:lnTo>
                  <a:lnTo>
                    <a:pt x="92" y="63"/>
                  </a:lnTo>
                  <a:lnTo>
                    <a:pt x="90" y="67"/>
                  </a:lnTo>
                  <a:lnTo>
                    <a:pt x="86" y="71"/>
                  </a:lnTo>
                  <a:lnTo>
                    <a:pt x="84" y="84"/>
                  </a:lnTo>
                  <a:lnTo>
                    <a:pt x="81" y="102"/>
                  </a:lnTo>
                  <a:lnTo>
                    <a:pt x="73" y="121"/>
                  </a:lnTo>
                  <a:lnTo>
                    <a:pt x="63" y="148"/>
                  </a:lnTo>
                  <a:lnTo>
                    <a:pt x="59" y="169"/>
                  </a:lnTo>
                  <a:lnTo>
                    <a:pt x="54" y="184"/>
                  </a:lnTo>
                  <a:lnTo>
                    <a:pt x="40" y="190"/>
                  </a:lnTo>
                  <a:lnTo>
                    <a:pt x="29" y="196"/>
                  </a:lnTo>
                  <a:lnTo>
                    <a:pt x="21" y="192"/>
                  </a:lnTo>
                  <a:lnTo>
                    <a:pt x="11" y="186"/>
                  </a:lnTo>
                  <a:lnTo>
                    <a:pt x="6" y="178"/>
                  </a:lnTo>
                  <a:lnTo>
                    <a:pt x="6" y="165"/>
                  </a:lnTo>
                  <a:lnTo>
                    <a:pt x="0" y="153"/>
                  </a:lnTo>
                  <a:lnTo>
                    <a:pt x="0" y="142"/>
                  </a:lnTo>
                  <a:lnTo>
                    <a:pt x="0" y="132"/>
                  </a:lnTo>
                  <a:lnTo>
                    <a:pt x="8" y="130"/>
                  </a:lnTo>
                  <a:lnTo>
                    <a:pt x="8" y="128"/>
                  </a:lnTo>
                  <a:lnTo>
                    <a:pt x="8" y="125"/>
                  </a:lnTo>
                  <a:lnTo>
                    <a:pt x="15" y="115"/>
                  </a:lnTo>
                  <a:lnTo>
                    <a:pt x="15" y="103"/>
                  </a:lnTo>
                  <a:lnTo>
                    <a:pt x="13" y="98"/>
                  </a:lnTo>
                  <a:lnTo>
                    <a:pt x="11" y="90"/>
                  </a:lnTo>
                  <a:lnTo>
                    <a:pt x="10" y="77"/>
                  </a:lnTo>
                  <a:lnTo>
                    <a:pt x="15" y="67"/>
                  </a:lnTo>
                  <a:lnTo>
                    <a:pt x="15" y="59"/>
                  </a:lnTo>
                  <a:lnTo>
                    <a:pt x="23" y="57"/>
                  </a:lnTo>
                  <a:lnTo>
                    <a:pt x="31" y="57"/>
                  </a:lnTo>
                  <a:lnTo>
                    <a:pt x="36" y="54"/>
                  </a:lnTo>
                  <a:lnTo>
                    <a:pt x="40" y="54"/>
                  </a:lnTo>
                  <a:lnTo>
                    <a:pt x="50" y="44"/>
                  </a:lnTo>
                  <a:lnTo>
                    <a:pt x="61" y="36"/>
                  </a:lnTo>
                  <a:lnTo>
                    <a:pt x="65" y="29"/>
                  </a:lnTo>
                  <a:lnTo>
                    <a:pt x="63" y="23"/>
                  </a:lnTo>
                  <a:lnTo>
                    <a:pt x="69" y="25"/>
                  </a:lnTo>
                  <a:lnTo>
                    <a:pt x="79" y="15"/>
                  </a:lnTo>
                  <a:lnTo>
                    <a:pt x="79" y="6"/>
                  </a:lnTo>
                  <a:lnTo>
                    <a:pt x="8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31">
              <a:extLst>
                <a:ext uri="{FF2B5EF4-FFF2-40B4-BE49-F238E27FC236}">
                  <a16:creationId xmlns:a16="http://schemas.microsoft.com/office/drawing/2014/main" id="{DE6112E0-3BB9-4042-8317-0B4FF84E8B09}"/>
                </a:ext>
              </a:extLst>
            </p:cNvPr>
            <p:cNvSpPr>
              <a:spLocks/>
            </p:cNvSpPr>
            <p:nvPr/>
          </p:nvSpPr>
          <p:spPr bwMode="auto">
            <a:xfrm>
              <a:off x="6873875" y="4739847"/>
              <a:ext cx="892175" cy="673404"/>
            </a:xfrm>
            <a:custGeom>
              <a:avLst/>
              <a:gdLst>
                <a:gd name="T0" fmla="*/ 416 w 562"/>
                <a:gd name="T1" fmla="*/ 17 h 424"/>
                <a:gd name="T2" fmla="*/ 420 w 562"/>
                <a:gd name="T3" fmla="*/ 44 h 424"/>
                <a:gd name="T4" fmla="*/ 447 w 562"/>
                <a:gd name="T5" fmla="*/ 59 h 424"/>
                <a:gd name="T6" fmla="*/ 454 w 562"/>
                <a:gd name="T7" fmla="*/ 88 h 424"/>
                <a:gd name="T8" fmla="*/ 476 w 562"/>
                <a:gd name="T9" fmla="*/ 124 h 424"/>
                <a:gd name="T10" fmla="*/ 502 w 562"/>
                <a:gd name="T11" fmla="*/ 151 h 424"/>
                <a:gd name="T12" fmla="*/ 522 w 562"/>
                <a:gd name="T13" fmla="*/ 167 h 424"/>
                <a:gd name="T14" fmla="*/ 552 w 562"/>
                <a:gd name="T15" fmla="*/ 209 h 424"/>
                <a:gd name="T16" fmla="*/ 562 w 562"/>
                <a:gd name="T17" fmla="*/ 253 h 424"/>
                <a:gd name="T18" fmla="*/ 554 w 562"/>
                <a:gd name="T19" fmla="*/ 293 h 424"/>
                <a:gd name="T20" fmla="*/ 531 w 562"/>
                <a:gd name="T21" fmla="*/ 339 h 424"/>
                <a:gd name="T22" fmla="*/ 512 w 562"/>
                <a:gd name="T23" fmla="*/ 382 h 424"/>
                <a:gd name="T24" fmla="*/ 489 w 562"/>
                <a:gd name="T25" fmla="*/ 403 h 424"/>
                <a:gd name="T26" fmla="*/ 449 w 562"/>
                <a:gd name="T27" fmla="*/ 416 h 424"/>
                <a:gd name="T28" fmla="*/ 422 w 562"/>
                <a:gd name="T29" fmla="*/ 420 h 424"/>
                <a:gd name="T30" fmla="*/ 380 w 562"/>
                <a:gd name="T31" fmla="*/ 406 h 424"/>
                <a:gd name="T32" fmla="*/ 359 w 562"/>
                <a:gd name="T33" fmla="*/ 368 h 424"/>
                <a:gd name="T34" fmla="*/ 341 w 562"/>
                <a:gd name="T35" fmla="*/ 360 h 424"/>
                <a:gd name="T36" fmla="*/ 341 w 562"/>
                <a:gd name="T37" fmla="*/ 335 h 424"/>
                <a:gd name="T38" fmla="*/ 314 w 562"/>
                <a:gd name="T39" fmla="*/ 357 h 424"/>
                <a:gd name="T40" fmla="*/ 289 w 562"/>
                <a:gd name="T41" fmla="*/ 324 h 424"/>
                <a:gd name="T42" fmla="*/ 251 w 562"/>
                <a:gd name="T43" fmla="*/ 303 h 424"/>
                <a:gd name="T44" fmla="*/ 180 w 562"/>
                <a:gd name="T45" fmla="*/ 314 h 424"/>
                <a:gd name="T46" fmla="*/ 144 w 562"/>
                <a:gd name="T47" fmla="*/ 341 h 424"/>
                <a:gd name="T48" fmla="*/ 101 w 562"/>
                <a:gd name="T49" fmla="*/ 341 h 424"/>
                <a:gd name="T50" fmla="*/ 73 w 562"/>
                <a:gd name="T51" fmla="*/ 355 h 424"/>
                <a:gd name="T52" fmla="*/ 30 w 562"/>
                <a:gd name="T53" fmla="*/ 347 h 424"/>
                <a:gd name="T54" fmla="*/ 34 w 562"/>
                <a:gd name="T55" fmla="*/ 332 h 424"/>
                <a:gd name="T56" fmla="*/ 27 w 562"/>
                <a:gd name="T57" fmla="*/ 289 h 424"/>
                <a:gd name="T58" fmla="*/ 19 w 562"/>
                <a:gd name="T59" fmla="*/ 257 h 424"/>
                <a:gd name="T60" fmla="*/ 0 w 562"/>
                <a:gd name="T61" fmla="*/ 222 h 424"/>
                <a:gd name="T62" fmla="*/ 13 w 562"/>
                <a:gd name="T63" fmla="*/ 226 h 424"/>
                <a:gd name="T64" fmla="*/ 0 w 562"/>
                <a:gd name="T65" fmla="*/ 197 h 424"/>
                <a:gd name="T66" fmla="*/ 5 w 562"/>
                <a:gd name="T67" fmla="*/ 169 h 424"/>
                <a:gd name="T68" fmla="*/ 30 w 562"/>
                <a:gd name="T69" fmla="*/ 153 h 424"/>
                <a:gd name="T70" fmla="*/ 57 w 562"/>
                <a:gd name="T71" fmla="*/ 144 h 424"/>
                <a:gd name="T72" fmla="*/ 82 w 562"/>
                <a:gd name="T73" fmla="*/ 132 h 424"/>
                <a:gd name="T74" fmla="*/ 117 w 562"/>
                <a:gd name="T75" fmla="*/ 113 h 424"/>
                <a:gd name="T76" fmla="*/ 134 w 562"/>
                <a:gd name="T77" fmla="*/ 80 h 424"/>
                <a:gd name="T78" fmla="*/ 146 w 562"/>
                <a:gd name="T79" fmla="*/ 76 h 424"/>
                <a:gd name="T80" fmla="*/ 165 w 562"/>
                <a:gd name="T81" fmla="*/ 57 h 424"/>
                <a:gd name="T82" fmla="*/ 178 w 562"/>
                <a:gd name="T83" fmla="*/ 48 h 424"/>
                <a:gd name="T84" fmla="*/ 209 w 562"/>
                <a:gd name="T85" fmla="*/ 57 h 424"/>
                <a:gd name="T86" fmla="*/ 232 w 562"/>
                <a:gd name="T87" fmla="*/ 42 h 424"/>
                <a:gd name="T88" fmla="*/ 249 w 562"/>
                <a:gd name="T89" fmla="*/ 19 h 424"/>
                <a:gd name="T90" fmla="*/ 259 w 562"/>
                <a:gd name="T91" fmla="*/ 9 h 424"/>
                <a:gd name="T92" fmla="*/ 293 w 562"/>
                <a:gd name="T93" fmla="*/ 19 h 424"/>
                <a:gd name="T94" fmla="*/ 320 w 562"/>
                <a:gd name="T95" fmla="*/ 19 h 424"/>
                <a:gd name="T96" fmla="*/ 320 w 562"/>
                <a:gd name="T97" fmla="*/ 36 h 424"/>
                <a:gd name="T98" fmla="*/ 309 w 562"/>
                <a:gd name="T99" fmla="*/ 57 h 424"/>
                <a:gd name="T100" fmla="*/ 339 w 562"/>
                <a:gd name="T101" fmla="*/ 78 h 424"/>
                <a:gd name="T102" fmla="*/ 362 w 562"/>
                <a:gd name="T103" fmla="*/ 96 h 424"/>
                <a:gd name="T104" fmla="*/ 387 w 562"/>
                <a:gd name="T105" fmla="*/ 80 h 424"/>
                <a:gd name="T106" fmla="*/ 393 w 562"/>
                <a:gd name="T107" fmla="*/ 50 h 424"/>
                <a:gd name="T108" fmla="*/ 395 w 562"/>
                <a:gd name="T109" fmla="*/ 23 h 424"/>
                <a:gd name="T110" fmla="*/ 406 w 562"/>
                <a:gd name="T111" fmla="*/ 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2" h="424">
                  <a:moveTo>
                    <a:pt x="406" y="0"/>
                  </a:moveTo>
                  <a:lnTo>
                    <a:pt x="410" y="7"/>
                  </a:lnTo>
                  <a:lnTo>
                    <a:pt x="412" y="15"/>
                  </a:lnTo>
                  <a:lnTo>
                    <a:pt x="416" y="17"/>
                  </a:lnTo>
                  <a:lnTo>
                    <a:pt x="416" y="23"/>
                  </a:lnTo>
                  <a:lnTo>
                    <a:pt x="420" y="30"/>
                  </a:lnTo>
                  <a:lnTo>
                    <a:pt x="422" y="38"/>
                  </a:lnTo>
                  <a:lnTo>
                    <a:pt x="420" y="44"/>
                  </a:lnTo>
                  <a:lnTo>
                    <a:pt x="426" y="53"/>
                  </a:lnTo>
                  <a:lnTo>
                    <a:pt x="435" y="48"/>
                  </a:lnTo>
                  <a:lnTo>
                    <a:pt x="441" y="55"/>
                  </a:lnTo>
                  <a:lnTo>
                    <a:pt x="447" y="59"/>
                  </a:lnTo>
                  <a:lnTo>
                    <a:pt x="445" y="67"/>
                  </a:lnTo>
                  <a:lnTo>
                    <a:pt x="449" y="78"/>
                  </a:lnTo>
                  <a:lnTo>
                    <a:pt x="451" y="86"/>
                  </a:lnTo>
                  <a:lnTo>
                    <a:pt x="454" y="88"/>
                  </a:lnTo>
                  <a:lnTo>
                    <a:pt x="456" y="99"/>
                  </a:lnTo>
                  <a:lnTo>
                    <a:pt x="454" y="107"/>
                  </a:lnTo>
                  <a:lnTo>
                    <a:pt x="460" y="117"/>
                  </a:lnTo>
                  <a:lnTo>
                    <a:pt x="476" y="124"/>
                  </a:lnTo>
                  <a:lnTo>
                    <a:pt x="487" y="132"/>
                  </a:lnTo>
                  <a:lnTo>
                    <a:pt x="497" y="140"/>
                  </a:lnTo>
                  <a:lnTo>
                    <a:pt x="493" y="142"/>
                  </a:lnTo>
                  <a:lnTo>
                    <a:pt x="502" y="151"/>
                  </a:lnTo>
                  <a:lnTo>
                    <a:pt x="506" y="167"/>
                  </a:lnTo>
                  <a:lnTo>
                    <a:pt x="512" y="163"/>
                  </a:lnTo>
                  <a:lnTo>
                    <a:pt x="518" y="169"/>
                  </a:lnTo>
                  <a:lnTo>
                    <a:pt x="522" y="167"/>
                  </a:lnTo>
                  <a:lnTo>
                    <a:pt x="525" y="182"/>
                  </a:lnTo>
                  <a:lnTo>
                    <a:pt x="533" y="192"/>
                  </a:lnTo>
                  <a:lnTo>
                    <a:pt x="541" y="197"/>
                  </a:lnTo>
                  <a:lnTo>
                    <a:pt x="552" y="209"/>
                  </a:lnTo>
                  <a:lnTo>
                    <a:pt x="554" y="222"/>
                  </a:lnTo>
                  <a:lnTo>
                    <a:pt x="554" y="230"/>
                  </a:lnTo>
                  <a:lnTo>
                    <a:pt x="554" y="240"/>
                  </a:lnTo>
                  <a:lnTo>
                    <a:pt x="562" y="253"/>
                  </a:lnTo>
                  <a:lnTo>
                    <a:pt x="560" y="264"/>
                  </a:lnTo>
                  <a:lnTo>
                    <a:pt x="558" y="272"/>
                  </a:lnTo>
                  <a:lnTo>
                    <a:pt x="554" y="286"/>
                  </a:lnTo>
                  <a:lnTo>
                    <a:pt x="554" y="293"/>
                  </a:lnTo>
                  <a:lnTo>
                    <a:pt x="552" y="305"/>
                  </a:lnTo>
                  <a:lnTo>
                    <a:pt x="545" y="320"/>
                  </a:lnTo>
                  <a:lnTo>
                    <a:pt x="535" y="328"/>
                  </a:lnTo>
                  <a:lnTo>
                    <a:pt x="531" y="339"/>
                  </a:lnTo>
                  <a:lnTo>
                    <a:pt x="527" y="347"/>
                  </a:lnTo>
                  <a:lnTo>
                    <a:pt x="522" y="360"/>
                  </a:lnTo>
                  <a:lnTo>
                    <a:pt x="516" y="368"/>
                  </a:lnTo>
                  <a:lnTo>
                    <a:pt x="512" y="382"/>
                  </a:lnTo>
                  <a:lnTo>
                    <a:pt x="512" y="391"/>
                  </a:lnTo>
                  <a:lnTo>
                    <a:pt x="512" y="397"/>
                  </a:lnTo>
                  <a:lnTo>
                    <a:pt x="502" y="403"/>
                  </a:lnTo>
                  <a:lnTo>
                    <a:pt x="489" y="403"/>
                  </a:lnTo>
                  <a:lnTo>
                    <a:pt x="474" y="408"/>
                  </a:lnTo>
                  <a:lnTo>
                    <a:pt x="468" y="416"/>
                  </a:lnTo>
                  <a:lnTo>
                    <a:pt x="458" y="424"/>
                  </a:lnTo>
                  <a:lnTo>
                    <a:pt x="449" y="416"/>
                  </a:lnTo>
                  <a:lnTo>
                    <a:pt x="439" y="412"/>
                  </a:lnTo>
                  <a:lnTo>
                    <a:pt x="443" y="405"/>
                  </a:lnTo>
                  <a:lnTo>
                    <a:pt x="433" y="406"/>
                  </a:lnTo>
                  <a:lnTo>
                    <a:pt x="422" y="420"/>
                  </a:lnTo>
                  <a:lnTo>
                    <a:pt x="410" y="414"/>
                  </a:lnTo>
                  <a:lnTo>
                    <a:pt x="403" y="412"/>
                  </a:lnTo>
                  <a:lnTo>
                    <a:pt x="393" y="410"/>
                  </a:lnTo>
                  <a:lnTo>
                    <a:pt x="380" y="406"/>
                  </a:lnTo>
                  <a:lnTo>
                    <a:pt x="372" y="397"/>
                  </a:lnTo>
                  <a:lnTo>
                    <a:pt x="368" y="385"/>
                  </a:lnTo>
                  <a:lnTo>
                    <a:pt x="366" y="376"/>
                  </a:lnTo>
                  <a:lnTo>
                    <a:pt x="359" y="368"/>
                  </a:lnTo>
                  <a:lnTo>
                    <a:pt x="345" y="368"/>
                  </a:lnTo>
                  <a:lnTo>
                    <a:pt x="351" y="360"/>
                  </a:lnTo>
                  <a:lnTo>
                    <a:pt x="347" y="347"/>
                  </a:lnTo>
                  <a:lnTo>
                    <a:pt x="341" y="360"/>
                  </a:lnTo>
                  <a:lnTo>
                    <a:pt x="326" y="362"/>
                  </a:lnTo>
                  <a:lnTo>
                    <a:pt x="335" y="353"/>
                  </a:lnTo>
                  <a:lnTo>
                    <a:pt x="337" y="345"/>
                  </a:lnTo>
                  <a:lnTo>
                    <a:pt x="341" y="335"/>
                  </a:lnTo>
                  <a:lnTo>
                    <a:pt x="341" y="326"/>
                  </a:lnTo>
                  <a:lnTo>
                    <a:pt x="330" y="339"/>
                  </a:lnTo>
                  <a:lnTo>
                    <a:pt x="322" y="345"/>
                  </a:lnTo>
                  <a:lnTo>
                    <a:pt x="314" y="357"/>
                  </a:lnTo>
                  <a:lnTo>
                    <a:pt x="305" y="349"/>
                  </a:lnTo>
                  <a:lnTo>
                    <a:pt x="305" y="341"/>
                  </a:lnTo>
                  <a:lnTo>
                    <a:pt x="297" y="332"/>
                  </a:lnTo>
                  <a:lnTo>
                    <a:pt x="289" y="324"/>
                  </a:lnTo>
                  <a:lnTo>
                    <a:pt x="291" y="322"/>
                  </a:lnTo>
                  <a:lnTo>
                    <a:pt x="274" y="311"/>
                  </a:lnTo>
                  <a:lnTo>
                    <a:pt x="264" y="311"/>
                  </a:lnTo>
                  <a:lnTo>
                    <a:pt x="251" y="303"/>
                  </a:lnTo>
                  <a:lnTo>
                    <a:pt x="226" y="303"/>
                  </a:lnTo>
                  <a:lnTo>
                    <a:pt x="207" y="311"/>
                  </a:lnTo>
                  <a:lnTo>
                    <a:pt x="192" y="316"/>
                  </a:lnTo>
                  <a:lnTo>
                    <a:pt x="180" y="314"/>
                  </a:lnTo>
                  <a:lnTo>
                    <a:pt x="165" y="322"/>
                  </a:lnTo>
                  <a:lnTo>
                    <a:pt x="151" y="326"/>
                  </a:lnTo>
                  <a:lnTo>
                    <a:pt x="149" y="334"/>
                  </a:lnTo>
                  <a:lnTo>
                    <a:pt x="144" y="341"/>
                  </a:lnTo>
                  <a:lnTo>
                    <a:pt x="132" y="341"/>
                  </a:lnTo>
                  <a:lnTo>
                    <a:pt x="124" y="343"/>
                  </a:lnTo>
                  <a:lnTo>
                    <a:pt x="111" y="339"/>
                  </a:lnTo>
                  <a:lnTo>
                    <a:pt x="101" y="341"/>
                  </a:lnTo>
                  <a:lnTo>
                    <a:pt x="92" y="343"/>
                  </a:lnTo>
                  <a:lnTo>
                    <a:pt x="84" y="351"/>
                  </a:lnTo>
                  <a:lnTo>
                    <a:pt x="78" y="349"/>
                  </a:lnTo>
                  <a:lnTo>
                    <a:pt x="73" y="355"/>
                  </a:lnTo>
                  <a:lnTo>
                    <a:pt x="65" y="360"/>
                  </a:lnTo>
                  <a:lnTo>
                    <a:pt x="55" y="359"/>
                  </a:lnTo>
                  <a:lnTo>
                    <a:pt x="46" y="359"/>
                  </a:lnTo>
                  <a:lnTo>
                    <a:pt x="30" y="347"/>
                  </a:lnTo>
                  <a:lnTo>
                    <a:pt x="25" y="345"/>
                  </a:lnTo>
                  <a:lnTo>
                    <a:pt x="25" y="335"/>
                  </a:lnTo>
                  <a:lnTo>
                    <a:pt x="30" y="334"/>
                  </a:lnTo>
                  <a:lnTo>
                    <a:pt x="34" y="332"/>
                  </a:lnTo>
                  <a:lnTo>
                    <a:pt x="32" y="326"/>
                  </a:lnTo>
                  <a:lnTo>
                    <a:pt x="34" y="314"/>
                  </a:lnTo>
                  <a:lnTo>
                    <a:pt x="32" y="305"/>
                  </a:lnTo>
                  <a:lnTo>
                    <a:pt x="27" y="289"/>
                  </a:lnTo>
                  <a:lnTo>
                    <a:pt x="25" y="282"/>
                  </a:lnTo>
                  <a:lnTo>
                    <a:pt x="25" y="272"/>
                  </a:lnTo>
                  <a:lnTo>
                    <a:pt x="19" y="263"/>
                  </a:lnTo>
                  <a:lnTo>
                    <a:pt x="19" y="257"/>
                  </a:lnTo>
                  <a:lnTo>
                    <a:pt x="13" y="253"/>
                  </a:lnTo>
                  <a:lnTo>
                    <a:pt x="11" y="241"/>
                  </a:lnTo>
                  <a:lnTo>
                    <a:pt x="2" y="228"/>
                  </a:lnTo>
                  <a:lnTo>
                    <a:pt x="0" y="222"/>
                  </a:lnTo>
                  <a:lnTo>
                    <a:pt x="7" y="228"/>
                  </a:lnTo>
                  <a:lnTo>
                    <a:pt x="2" y="216"/>
                  </a:lnTo>
                  <a:lnTo>
                    <a:pt x="9" y="218"/>
                  </a:lnTo>
                  <a:lnTo>
                    <a:pt x="13" y="226"/>
                  </a:lnTo>
                  <a:lnTo>
                    <a:pt x="13" y="218"/>
                  </a:lnTo>
                  <a:lnTo>
                    <a:pt x="5" y="205"/>
                  </a:lnTo>
                  <a:lnTo>
                    <a:pt x="4" y="201"/>
                  </a:lnTo>
                  <a:lnTo>
                    <a:pt x="0" y="197"/>
                  </a:lnTo>
                  <a:lnTo>
                    <a:pt x="2" y="188"/>
                  </a:lnTo>
                  <a:lnTo>
                    <a:pt x="5" y="184"/>
                  </a:lnTo>
                  <a:lnTo>
                    <a:pt x="7" y="178"/>
                  </a:lnTo>
                  <a:lnTo>
                    <a:pt x="5" y="169"/>
                  </a:lnTo>
                  <a:lnTo>
                    <a:pt x="13" y="159"/>
                  </a:lnTo>
                  <a:lnTo>
                    <a:pt x="13" y="169"/>
                  </a:lnTo>
                  <a:lnTo>
                    <a:pt x="19" y="159"/>
                  </a:lnTo>
                  <a:lnTo>
                    <a:pt x="30" y="153"/>
                  </a:lnTo>
                  <a:lnTo>
                    <a:pt x="36" y="149"/>
                  </a:lnTo>
                  <a:lnTo>
                    <a:pt x="48" y="142"/>
                  </a:lnTo>
                  <a:lnTo>
                    <a:pt x="55" y="142"/>
                  </a:lnTo>
                  <a:lnTo>
                    <a:pt x="57" y="144"/>
                  </a:lnTo>
                  <a:lnTo>
                    <a:pt x="69" y="138"/>
                  </a:lnTo>
                  <a:lnTo>
                    <a:pt x="76" y="138"/>
                  </a:lnTo>
                  <a:lnTo>
                    <a:pt x="78" y="134"/>
                  </a:lnTo>
                  <a:lnTo>
                    <a:pt x="82" y="132"/>
                  </a:lnTo>
                  <a:lnTo>
                    <a:pt x="92" y="132"/>
                  </a:lnTo>
                  <a:lnTo>
                    <a:pt x="103" y="128"/>
                  </a:lnTo>
                  <a:lnTo>
                    <a:pt x="113" y="122"/>
                  </a:lnTo>
                  <a:lnTo>
                    <a:pt x="117" y="113"/>
                  </a:lnTo>
                  <a:lnTo>
                    <a:pt x="124" y="107"/>
                  </a:lnTo>
                  <a:lnTo>
                    <a:pt x="124" y="99"/>
                  </a:lnTo>
                  <a:lnTo>
                    <a:pt x="126" y="94"/>
                  </a:lnTo>
                  <a:lnTo>
                    <a:pt x="134" y="80"/>
                  </a:lnTo>
                  <a:lnTo>
                    <a:pt x="142" y="94"/>
                  </a:lnTo>
                  <a:lnTo>
                    <a:pt x="146" y="90"/>
                  </a:lnTo>
                  <a:lnTo>
                    <a:pt x="142" y="84"/>
                  </a:lnTo>
                  <a:lnTo>
                    <a:pt x="146" y="76"/>
                  </a:lnTo>
                  <a:lnTo>
                    <a:pt x="153" y="80"/>
                  </a:lnTo>
                  <a:lnTo>
                    <a:pt x="155" y="69"/>
                  </a:lnTo>
                  <a:lnTo>
                    <a:pt x="161" y="61"/>
                  </a:lnTo>
                  <a:lnTo>
                    <a:pt x="165" y="57"/>
                  </a:lnTo>
                  <a:lnTo>
                    <a:pt x="172" y="53"/>
                  </a:lnTo>
                  <a:lnTo>
                    <a:pt x="172" y="50"/>
                  </a:lnTo>
                  <a:lnTo>
                    <a:pt x="178" y="51"/>
                  </a:lnTo>
                  <a:lnTo>
                    <a:pt x="178" y="48"/>
                  </a:lnTo>
                  <a:lnTo>
                    <a:pt x="184" y="46"/>
                  </a:lnTo>
                  <a:lnTo>
                    <a:pt x="192" y="44"/>
                  </a:lnTo>
                  <a:lnTo>
                    <a:pt x="201" y="50"/>
                  </a:lnTo>
                  <a:lnTo>
                    <a:pt x="209" y="57"/>
                  </a:lnTo>
                  <a:lnTo>
                    <a:pt x="218" y="57"/>
                  </a:lnTo>
                  <a:lnTo>
                    <a:pt x="226" y="59"/>
                  </a:lnTo>
                  <a:lnTo>
                    <a:pt x="224" y="51"/>
                  </a:lnTo>
                  <a:lnTo>
                    <a:pt x="232" y="42"/>
                  </a:lnTo>
                  <a:lnTo>
                    <a:pt x="236" y="36"/>
                  </a:lnTo>
                  <a:lnTo>
                    <a:pt x="236" y="34"/>
                  </a:lnTo>
                  <a:lnTo>
                    <a:pt x="241" y="25"/>
                  </a:lnTo>
                  <a:lnTo>
                    <a:pt x="249" y="19"/>
                  </a:lnTo>
                  <a:lnTo>
                    <a:pt x="257" y="21"/>
                  </a:lnTo>
                  <a:lnTo>
                    <a:pt x="268" y="19"/>
                  </a:lnTo>
                  <a:lnTo>
                    <a:pt x="268" y="13"/>
                  </a:lnTo>
                  <a:lnTo>
                    <a:pt x="259" y="9"/>
                  </a:lnTo>
                  <a:lnTo>
                    <a:pt x="264" y="7"/>
                  </a:lnTo>
                  <a:lnTo>
                    <a:pt x="274" y="9"/>
                  </a:lnTo>
                  <a:lnTo>
                    <a:pt x="282" y="15"/>
                  </a:lnTo>
                  <a:lnTo>
                    <a:pt x="293" y="19"/>
                  </a:lnTo>
                  <a:lnTo>
                    <a:pt x="299" y="17"/>
                  </a:lnTo>
                  <a:lnTo>
                    <a:pt x="307" y="21"/>
                  </a:lnTo>
                  <a:lnTo>
                    <a:pt x="314" y="19"/>
                  </a:lnTo>
                  <a:lnTo>
                    <a:pt x="320" y="19"/>
                  </a:lnTo>
                  <a:lnTo>
                    <a:pt x="324" y="17"/>
                  </a:lnTo>
                  <a:lnTo>
                    <a:pt x="328" y="23"/>
                  </a:lnTo>
                  <a:lnTo>
                    <a:pt x="324" y="30"/>
                  </a:lnTo>
                  <a:lnTo>
                    <a:pt x="320" y="36"/>
                  </a:lnTo>
                  <a:lnTo>
                    <a:pt x="314" y="36"/>
                  </a:lnTo>
                  <a:lnTo>
                    <a:pt x="316" y="42"/>
                  </a:lnTo>
                  <a:lnTo>
                    <a:pt x="312" y="50"/>
                  </a:lnTo>
                  <a:lnTo>
                    <a:pt x="309" y="57"/>
                  </a:lnTo>
                  <a:lnTo>
                    <a:pt x="309" y="59"/>
                  </a:lnTo>
                  <a:lnTo>
                    <a:pt x="320" y="69"/>
                  </a:lnTo>
                  <a:lnTo>
                    <a:pt x="330" y="74"/>
                  </a:lnTo>
                  <a:lnTo>
                    <a:pt x="339" y="78"/>
                  </a:lnTo>
                  <a:lnTo>
                    <a:pt x="349" y="86"/>
                  </a:lnTo>
                  <a:lnTo>
                    <a:pt x="351" y="86"/>
                  </a:lnTo>
                  <a:lnTo>
                    <a:pt x="359" y="90"/>
                  </a:lnTo>
                  <a:lnTo>
                    <a:pt x="362" y="96"/>
                  </a:lnTo>
                  <a:lnTo>
                    <a:pt x="376" y="99"/>
                  </a:lnTo>
                  <a:lnTo>
                    <a:pt x="383" y="96"/>
                  </a:lnTo>
                  <a:lnTo>
                    <a:pt x="387" y="86"/>
                  </a:lnTo>
                  <a:lnTo>
                    <a:pt x="387" y="80"/>
                  </a:lnTo>
                  <a:lnTo>
                    <a:pt x="389" y="73"/>
                  </a:lnTo>
                  <a:lnTo>
                    <a:pt x="395" y="61"/>
                  </a:lnTo>
                  <a:lnTo>
                    <a:pt x="393" y="55"/>
                  </a:lnTo>
                  <a:lnTo>
                    <a:pt x="393" y="50"/>
                  </a:lnTo>
                  <a:lnTo>
                    <a:pt x="391" y="42"/>
                  </a:lnTo>
                  <a:lnTo>
                    <a:pt x="395" y="32"/>
                  </a:lnTo>
                  <a:lnTo>
                    <a:pt x="397" y="28"/>
                  </a:lnTo>
                  <a:lnTo>
                    <a:pt x="395" y="23"/>
                  </a:lnTo>
                  <a:lnTo>
                    <a:pt x="399" y="17"/>
                  </a:lnTo>
                  <a:lnTo>
                    <a:pt x="401" y="9"/>
                  </a:lnTo>
                  <a:lnTo>
                    <a:pt x="403" y="5"/>
                  </a:lnTo>
                  <a:lnTo>
                    <a:pt x="40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33">
              <a:extLst>
                <a:ext uri="{FF2B5EF4-FFF2-40B4-BE49-F238E27FC236}">
                  <a16:creationId xmlns:a16="http://schemas.microsoft.com/office/drawing/2014/main" id="{B5D95480-AEA7-42E8-9FDD-4349B62A4D0D}"/>
                </a:ext>
              </a:extLst>
            </p:cNvPr>
            <p:cNvSpPr>
              <a:spLocks/>
            </p:cNvSpPr>
            <p:nvPr/>
          </p:nvSpPr>
          <p:spPr bwMode="auto">
            <a:xfrm>
              <a:off x="7935912" y="4730317"/>
              <a:ext cx="22225" cy="12706"/>
            </a:xfrm>
            <a:custGeom>
              <a:avLst/>
              <a:gdLst>
                <a:gd name="T0" fmla="*/ 0 w 14"/>
                <a:gd name="T1" fmla="*/ 0 h 8"/>
                <a:gd name="T2" fmla="*/ 8 w 14"/>
                <a:gd name="T3" fmla="*/ 2 h 8"/>
                <a:gd name="T4" fmla="*/ 12 w 14"/>
                <a:gd name="T5" fmla="*/ 2 h 8"/>
                <a:gd name="T6" fmla="*/ 14 w 14"/>
                <a:gd name="T7" fmla="*/ 8 h 8"/>
                <a:gd name="T8" fmla="*/ 4 w 14"/>
                <a:gd name="T9" fmla="*/ 8 h 8"/>
                <a:gd name="T10" fmla="*/ 0 w 14"/>
                <a:gd name="T11" fmla="*/ 0 h 8"/>
              </a:gdLst>
              <a:ahLst/>
              <a:cxnLst>
                <a:cxn ang="0">
                  <a:pos x="T0" y="T1"/>
                </a:cxn>
                <a:cxn ang="0">
                  <a:pos x="T2" y="T3"/>
                </a:cxn>
                <a:cxn ang="0">
                  <a:pos x="T4" y="T5"/>
                </a:cxn>
                <a:cxn ang="0">
                  <a:pos x="T6" y="T7"/>
                </a:cxn>
                <a:cxn ang="0">
                  <a:pos x="T8" y="T9"/>
                </a:cxn>
                <a:cxn ang="0">
                  <a:pos x="T10" y="T11"/>
                </a:cxn>
              </a:cxnLst>
              <a:rect l="0" t="0" r="r" b="b"/>
              <a:pathLst>
                <a:path w="14" h="8">
                  <a:moveTo>
                    <a:pt x="0" y="0"/>
                  </a:moveTo>
                  <a:lnTo>
                    <a:pt x="8" y="2"/>
                  </a:lnTo>
                  <a:lnTo>
                    <a:pt x="12" y="2"/>
                  </a:lnTo>
                  <a:lnTo>
                    <a:pt x="14" y="8"/>
                  </a:lnTo>
                  <a:lnTo>
                    <a:pt x="4" y="8"/>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35">
              <a:extLst>
                <a:ext uri="{FF2B5EF4-FFF2-40B4-BE49-F238E27FC236}">
                  <a16:creationId xmlns:a16="http://schemas.microsoft.com/office/drawing/2014/main" id="{F9BBA758-2106-4A29-8EF9-4118AA105766}"/>
                </a:ext>
              </a:extLst>
            </p:cNvPr>
            <p:cNvSpPr>
              <a:spLocks/>
            </p:cNvSpPr>
            <p:nvPr/>
          </p:nvSpPr>
          <p:spPr bwMode="auto">
            <a:xfrm>
              <a:off x="6997700" y="4708082"/>
              <a:ext cx="39688" cy="22235"/>
            </a:xfrm>
            <a:custGeom>
              <a:avLst/>
              <a:gdLst>
                <a:gd name="T0" fmla="*/ 16 w 25"/>
                <a:gd name="T1" fmla="*/ 0 h 14"/>
                <a:gd name="T2" fmla="*/ 21 w 25"/>
                <a:gd name="T3" fmla="*/ 4 h 14"/>
                <a:gd name="T4" fmla="*/ 25 w 25"/>
                <a:gd name="T5" fmla="*/ 10 h 14"/>
                <a:gd name="T6" fmla="*/ 25 w 25"/>
                <a:gd name="T7" fmla="*/ 14 h 14"/>
                <a:gd name="T8" fmla="*/ 20 w 25"/>
                <a:gd name="T9" fmla="*/ 14 h 14"/>
                <a:gd name="T10" fmla="*/ 0 w 25"/>
                <a:gd name="T11" fmla="*/ 2 h 14"/>
                <a:gd name="T12" fmla="*/ 16 w 25"/>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16" y="0"/>
                  </a:moveTo>
                  <a:lnTo>
                    <a:pt x="21" y="4"/>
                  </a:lnTo>
                  <a:lnTo>
                    <a:pt x="25" y="10"/>
                  </a:lnTo>
                  <a:lnTo>
                    <a:pt x="25" y="14"/>
                  </a:lnTo>
                  <a:lnTo>
                    <a:pt x="20" y="14"/>
                  </a:lnTo>
                  <a:lnTo>
                    <a:pt x="0" y="2"/>
                  </a:lnTo>
                  <a:lnTo>
                    <a:pt x="1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37">
              <a:extLst>
                <a:ext uri="{FF2B5EF4-FFF2-40B4-BE49-F238E27FC236}">
                  <a16:creationId xmlns:a16="http://schemas.microsoft.com/office/drawing/2014/main" id="{16572115-98E6-4E70-BE7F-F23209ABAB32}"/>
                </a:ext>
              </a:extLst>
            </p:cNvPr>
            <p:cNvSpPr>
              <a:spLocks/>
            </p:cNvSpPr>
            <p:nvPr/>
          </p:nvSpPr>
          <p:spPr bwMode="auto">
            <a:xfrm>
              <a:off x="7896225" y="4708082"/>
              <a:ext cx="28575" cy="12706"/>
            </a:xfrm>
            <a:custGeom>
              <a:avLst/>
              <a:gdLst>
                <a:gd name="T0" fmla="*/ 2 w 18"/>
                <a:gd name="T1" fmla="*/ 0 h 8"/>
                <a:gd name="T2" fmla="*/ 12 w 18"/>
                <a:gd name="T3" fmla="*/ 0 h 8"/>
                <a:gd name="T4" fmla="*/ 16 w 18"/>
                <a:gd name="T5" fmla="*/ 4 h 8"/>
                <a:gd name="T6" fmla="*/ 18 w 18"/>
                <a:gd name="T7" fmla="*/ 8 h 8"/>
                <a:gd name="T8" fmla="*/ 12 w 18"/>
                <a:gd name="T9" fmla="*/ 8 h 8"/>
                <a:gd name="T10" fmla="*/ 4 w 18"/>
                <a:gd name="T11" fmla="*/ 6 h 8"/>
                <a:gd name="T12" fmla="*/ 0 w 18"/>
                <a:gd name="T13" fmla="*/ 4 h 8"/>
                <a:gd name="T14" fmla="*/ 2 w 18"/>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8">
                  <a:moveTo>
                    <a:pt x="2" y="0"/>
                  </a:moveTo>
                  <a:lnTo>
                    <a:pt x="12" y="0"/>
                  </a:lnTo>
                  <a:lnTo>
                    <a:pt x="16" y="4"/>
                  </a:lnTo>
                  <a:lnTo>
                    <a:pt x="18" y="8"/>
                  </a:lnTo>
                  <a:lnTo>
                    <a:pt x="12" y="8"/>
                  </a:lnTo>
                  <a:lnTo>
                    <a:pt x="4" y="6"/>
                  </a:lnTo>
                  <a:lnTo>
                    <a:pt x="0" y="4"/>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39">
              <a:extLst>
                <a:ext uri="{FF2B5EF4-FFF2-40B4-BE49-F238E27FC236}">
                  <a16:creationId xmlns:a16="http://schemas.microsoft.com/office/drawing/2014/main" id="{5BD9F178-A790-4BAA-BA28-21031EF2EBAE}"/>
                </a:ext>
              </a:extLst>
            </p:cNvPr>
            <p:cNvSpPr>
              <a:spLocks/>
            </p:cNvSpPr>
            <p:nvPr/>
          </p:nvSpPr>
          <p:spPr bwMode="auto">
            <a:xfrm>
              <a:off x="7918450" y="4687436"/>
              <a:ext cx="23813" cy="30177"/>
            </a:xfrm>
            <a:custGeom>
              <a:avLst/>
              <a:gdLst>
                <a:gd name="T0" fmla="*/ 0 w 15"/>
                <a:gd name="T1" fmla="*/ 0 h 19"/>
                <a:gd name="T2" fmla="*/ 6 w 15"/>
                <a:gd name="T3" fmla="*/ 0 h 19"/>
                <a:gd name="T4" fmla="*/ 11 w 15"/>
                <a:gd name="T5" fmla="*/ 12 h 19"/>
                <a:gd name="T6" fmla="*/ 15 w 15"/>
                <a:gd name="T7" fmla="*/ 17 h 19"/>
                <a:gd name="T8" fmla="*/ 15 w 15"/>
                <a:gd name="T9" fmla="*/ 19 h 19"/>
                <a:gd name="T10" fmla="*/ 4 w 15"/>
                <a:gd name="T11" fmla="*/ 8 h 19"/>
                <a:gd name="T12" fmla="*/ 0 w 1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5" h="19">
                  <a:moveTo>
                    <a:pt x="0" y="0"/>
                  </a:moveTo>
                  <a:lnTo>
                    <a:pt x="6" y="0"/>
                  </a:lnTo>
                  <a:lnTo>
                    <a:pt x="11" y="12"/>
                  </a:lnTo>
                  <a:lnTo>
                    <a:pt x="15" y="17"/>
                  </a:lnTo>
                  <a:lnTo>
                    <a:pt x="15" y="19"/>
                  </a:lnTo>
                  <a:lnTo>
                    <a:pt x="4" y="8"/>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41">
              <a:extLst>
                <a:ext uri="{FF2B5EF4-FFF2-40B4-BE49-F238E27FC236}">
                  <a16:creationId xmlns:a16="http://schemas.microsoft.com/office/drawing/2014/main" id="{2BFBE1FB-D277-4380-9039-8306B20EC4AA}"/>
                </a:ext>
              </a:extLst>
            </p:cNvPr>
            <p:cNvSpPr>
              <a:spLocks/>
            </p:cNvSpPr>
            <p:nvPr/>
          </p:nvSpPr>
          <p:spPr bwMode="auto">
            <a:xfrm>
              <a:off x="7099300" y="4687436"/>
              <a:ext cx="84138" cy="46059"/>
            </a:xfrm>
            <a:custGeom>
              <a:avLst/>
              <a:gdLst>
                <a:gd name="T0" fmla="*/ 48 w 53"/>
                <a:gd name="T1" fmla="*/ 0 h 29"/>
                <a:gd name="T2" fmla="*/ 53 w 53"/>
                <a:gd name="T3" fmla="*/ 2 h 29"/>
                <a:gd name="T4" fmla="*/ 48 w 53"/>
                <a:gd name="T5" fmla="*/ 4 h 29"/>
                <a:gd name="T6" fmla="*/ 34 w 53"/>
                <a:gd name="T7" fmla="*/ 12 h 29"/>
                <a:gd name="T8" fmla="*/ 23 w 53"/>
                <a:gd name="T9" fmla="*/ 13 h 29"/>
                <a:gd name="T10" fmla="*/ 23 w 53"/>
                <a:gd name="T11" fmla="*/ 10 h 29"/>
                <a:gd name="T12" fmla="*/ 21 w 53"/>
                <a:gd name="T13" fmla="*/ 10 h 29"/>
                <a:gd name="T14" fmla="*/ 23 w 53"/>
                <a:gd name="T15" fmla="*/ 10 h 29"/>
                <a:gd name="T16" fmla="*/ 23 w 53"/>
                <a:gd name="T17" fmla="*/ 13 h 29"/>
                <a:gd name="T18" fmla="*/ 13 w 53"/>
                <a:gd name="T19" fmla="*/ 25 h 29"/>
                <a:gd name="T20" fmla="*/ 0 w 53"/>
                <a:gd name="T21" fmla="*/ 29 h 29"/>
                <a:gd name="T22" fmla="*/ 0 w 53"/>
                <a:gd name="T23" fmla="*/ 27 h 29"/>
                <a:gd name="T24" fmla="*/ 0 w 53"/>
                <a:gd name="T25" fmla="*/ 21 h 29"/>
                <a:gd name="T26" fmla="*/ 5 w 53"/>
                <a:gd name="T27" fmla="*/ 13 h 29"/>
                <a:gd name="T28" fmla="*/ 21 w 53"/>
                <a:gd name="T29" fmla="*/ 8 h 29"/>
                <a:gd name="T30" fmla="*/ 23 w 53"/>
                <a:gd name="T31" fmla="*/ 4 h 29"/>
                <a:gd name="T32" fmla="*/ 34 w 53"/>
                <a:gd name="T33" fmla="*/ 2 h 29"/>
                <a:gd name="T34" fmla="*/ 44 w 53"/>
                <a:gd name="T35" fmla="*/ 2 h 29"/>
                <a:gd name="T36" fmla="*/ 48 w 53"/>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29">
                  <a:moveTo>
                    <a:pt x="48" y="0"/>
                  </a:moveTo>
                  <a:lnTo>
                    <a:pt x="53" y="2"/>
                  </a:lnTo>
                  <a:lnTo>
                    <a:pt x="48" y="4"/>
                  </a:lnTo>
                  <a:lnTo>
                    <a:pt x="34" y="12"/>
                  </a:lnTo>
                  <a:lnTo>
                    <a:pt x="23" y="13"/>
                  </a:lnTo>
                  <a:lnTo>
                    <a:pt x="23" y="10"/>
                  </a:lnTo>
                  <a:lnTo>
                    <a:pt x="21" y="10"/>
                  </a:lnTo>
                  <a:lnTo>
                    <a:pt x="23" y="10"/>
                  </a:lnTo>
                  <a:lnTo>
                    <a:pt x="23" y="13"/>
                  </a:lnTo>
                  <a:lnTo>
                    <a:pt x="13" y="25"/>
                  </a:lnTo>
                  <a:lnTo>
                    <a:pt x="0" y="29"/>
                  </a:lnTo>
                  <a:lnTo>
                    <a:pt x="0" y="27"/>
                  </a:lnTo>
                  <a:lnTo>
                    <a:pt x="0" y="21"/>
                  </a:lnTo>
                  <a:lnTo>
                    <a:pt x="5" y="13"/>
                  </a:lnTo>
                  <a:lnTo>
                    <a:pt x="21" y="8"/>
                  </a:lnTo>
                  <a:lnTo>
                    <a:pt x="23" y="4"/>
                  </a:lnTo>
                  <a:lnTo>
                    <a:pt x="34" y="2"/>
                  </a:lnTo>
                  <a:lnTo>
                    <a:pt x="44" y="2"/>
                  </a:lnTo>
                  <a:lnTo>
                    <a:pt x="48"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43">
              <a:extLst>
                <a:ext uri="{FF2B5EF4-FFF2-40B4-BE49-F238E27FC236}">
                  <a16:creationId xmlns:a16="http://schemas.microsoft.com/office/drawing/2014/main" id="{011F907C-A9D5-4313-AF9E-E89959759D70}"/>
                </a:ext>
              </a:extLst>
            </p:cNvPr>
            <p:cNvSpPr>
              <a:spLocks/>
            </p:cNvSpPr>
            <p:nvPr/>
          </p:nvSpPr>
          <p:spPr bwMode="auto">
            <a:xfrm>
              <a:off x="6950075" y="4681083"/>
              <a:ext cx="50800" cy="22235"/>
            </a:xfrm>
            <a:custGeom>
              <a:avLst/>
              <a:gdLst>
                <a:gd name="T0" fmla="*/ 17 w 32"/>
                <a:gd name="T1" fmla="*/ 0 h 14"/>
                <a:gd name="T2" fmla="*/ 21 w 32"/>
                <a:gd name="T3" fmla="*/ 4 h 14"/>
                <a:gd name="T4" fmla="*/ 28 w 32"/>
                <a:gd name="T5" fmla="*/ 4 h 14"/>
                <a:gd name="T6" fmla="*/ 32 w 32"/>
                <a:gd name="T7" fmla="*/ 8 h 14"/>
                <a:gd name="T8" fmla="*/ 17 w 32"/>
                <a:gd name="T9" fmla="*/ 12 h 14"/>
                <a:gd name="T10" fmla="*/ 7 w 32"/>
                <a:gd name="T11" fmla="*/ 14 h 14"/>
                <a:gd name="T12" fmla="*/ 0 w 32"/>
                <a:gd name="T13" fmla="*/ 14 h 14"/>
                <a:gd name="T14" fmla="*/ 5 w 32"/>
                <a:gd name="T15" fmla="*/ 6 h 14"/>
                <a:gd name="T16" fmla="*/ 13 w 32"/>
                <a:gd name="T17" fmla="*/ 6 h 14"/>
                <a:gd name="T18" fmla="*/ 17 w 32"/>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4">
                  <a:moveTo>
                    <a:pt x="17" y="0"/>
                  </a:moveTo>
                  <a:lnTo>
                    <a:pt x="21" y="4"/>
                  </a:lnTo>
                  <a:lnTo>
                    <a:pt x="28" y="4"/>
                  </a:lnTo>
                  <a:lnTo>
                    <a:pt x="32" y="8"/>
                  </a:lnTo>
                  <a:lnTo>
                    <a:pt x="17" y="12"/>
                  </a:lnTo>
                  <a:lnTo>
                    <a:pt x="7" y="14"/>
                  </a:lnTo>
                  <a:lnTo>
                    <a:pt x="0" y="14"/>
                  </a:lnTo>
                  <a:lnTo>
                    <a:pt x="5" y="6"/>
                  </a:lnTo>
                  <a:lnTo>
                    <a:pt x="13" y="6"/>
                  </a:lnTo>
                  <a:lnTo>
                    <a:pt x="1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45">
              <a:extLst>
                <a:ext uri="{FF2B5EF4-FFF2-40B4-BE49-F238E27FC236}">
                  <a16:creationId xmlns:a16="http://schemas.microsoft.com/office/drawing/2014/main" id="{32962D00-D3E6-4F09-92F7-807851371136}"/>
                </a:ext>
              </a:extLst>
            </p:cNvPr>
            <p:cNvSpPr>
              <a:spLocks/>
            </p:cNvSpPr>
            <p:nvPr/>
          </p:nvSpPr>
          <p:spPr bwMode="auto">
            <a:xfrm>
              <a:off x="7023100" y="4681083"/>
              <a:ext cx="63500" cy="19059"/>
            </a:xfrm>
            <a:custGeom>
              <a:avLst/>
              <a:gdLst>
                <a:gd name="T0" fmla="*/ 40 w 40"/>
                <a:gd name="T1" fmla="*/ 0 h 12"/>
                <a:gd name="T2" fmla="*/ 38 w 40"/>
                <a:gd name="T3" fmla="*/ 8 h 12"/>
                <a:gd name="T4" fmla="*/ 17 w 40"/>
                <a:gd name="T5" fmla="*/ 12 h 12"/>
                <a:gd name="T6" fmla="*/ 0 w 40"/>
                <a:gd name="T7" fmla="*/ 10 h 12"/>
                <a:gd name="T8" fmla="*/ 0 w 40"/>
                <a:gd name="T9" fmla="*/ 6 h 12"/>
                <a:gd name="T10" fmla="*/ 9 w 40"/>
                <a:gd name="T11" fmla="*/ 2 h 12"/>
                <a:gd name="T12" fmla="*/ 19 w 40"/>
                <a:gd name="T13" fmla="*/ 8 h 12"/>
                <a:gd name="T14" fmla="*/ 27 w 40"/>
                <a:gd name="T15" fmla="*/ 6 h 12"/>
                <a:gd name="T16" fmla="*/ 40 w 4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2">
                  <a:moveTo>
                    <a:pt x="40" y="0"/>
                  </a:moveTo>
                  <a:lnTo>
                    <a:pt x="38" y="8"/>
                  </a:lnTo>
                  <a:lnTo>
                    <a:pt x="17" y="12"/>
                  </a:lnTo>
                  <a:lnTo>
                    <a:pt x="0" y="10"/>
                  </a:lnTo>
                  <a:lnTo>
                    <a:pt x="0" y="6"/>
                  </a:lnTo>
                  <a:lnTo>
                    <a:pt x="9" y="2"/>
                  </a:lnTo>
                  <a:lnTo>
                    <a:pt x="19" y="8"/>
                  </a:lnTo>
                  <a:lnTo>
                    <a:pt x="27" y="6"/>
                  </a:lnTo>
                  <a:lnTo>
                    <a:pt x="4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47">
              <a:extLst>
                <a:ext uri="{FF2B5EF4-FFF2-40B4-BE49-F238E27FC236}">
                  <a16:creationId xmlns:a16="http://schemas.microsoft.com/office/drawing/2014/main" id="{6BD87D53-7DF6-4D4A-A546-62A0C63C01EE}"/>
                </a:ext>
              </a:extLst>
            </p:cNvPr>
            <p:cNvSpPr>
              <a:spLocks/>
            </p:cNvSpPr>
            <p:nvPr/>
          </p:nvSpPr>
          <p:spPr bwMode="auto">
            <a:xfrm>
              <a:off x="7866062" y="4666789"/>
              <a:ext cx="39688" cy="27000"/>
            </a:xfrm>
            <a:custGeom>
              <a:avLst/>
              <a:gdLst>
                <a:gd name="T0" fmla="*/ 4 w 25"/>
                <a:gd name="T1" fmla="*/ 0 h 17"/>
                <a:gd name="T2" fmla="*/ 10 w 25"/>
                <a:gd name="T3" fmla="*/ 1 h 17"/>
                <a:gd name="T4" fmla="*/ 19 w 25"/>
                <a:gd name="T5" fmla="*/ 7 h 17"/>
                <a:gd name="T6" fmla="*/ 23 w 25"/>
                <a:gd name="T7" fmla="*/ 13 h 17"/>
                <a:gd name="T8" fmla="*/ 25 w 25"/>
                <a:gd name="T9" fmla="*/ 17 h 17"/>
                <a:gd name="T10" fmla="*/ 14 w 25"/>
                <a:gd name="T11" fmla="*/ 9 h 17"/>
                <a:gd name="T12" fmla="*/ 8 w 25"/>
                <a:gd name="T13" fmla="*/ 3 h 17"/>
                <a:gd name="T14" fmla="*/ 0 w 25"/>
                <a:gd name="T15" fmla="*/ 0 h 17"/>
                <a:gd name="T16" fmla="*/ 4 w 25"/>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17">
                  <a:moveTo>
                    <a:pt x="4" y="0"/>
                  </a:moveTo>
                  <a:lnTo>
                    <a:pt x="10" y="1"/>
                  </a:lnTo>
                  <a:lnTo>
                    <a:pt x="19" y="7"/>
                  </a:lnTo>
                  <a:lnTo>
                    <a:pt x="23" y="13"/>
                  </a:lnTo>
                  <a:lnTo>
                    <a:pt x="25" y="17"/>
                  </a:lnTo>
                  <a:lnTo>
                    <a:pt x="14" y="9"/>
                  </a:lnTo>
                  <a:lnTo>
                    <a:pt x="8" y="3"/>
                  </a:lnTo>
                  <a:lnTo>
                    <a:pt x="0" y="0"/>
                  </a:lnTo>
                  <a:lnTo>
                    <a:pt x="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49">
              <a:extLst>
                <a:ext uri="{FF2B5EF4-FFF2-40B4-BE49-F238E27FC236}">
                  <a16:creationId xmlns:a16="http://schemas.microsoft.com/office/drawing/2014/main" id="{8CD0383E-0898-45B8-9AA3-4B966D5090CB}"/>
                </a:ext>
              </a:extLst>
            </p:cNvPr>
            <p:cNvSpPr>
              <a:spLocks/>
            </p:cNvSpPr>
            <p:nvPr/>
          </p:nvSpPr>
          <p:spPr bwMode="auto">
            <a:xfrm>
              <a:off x="7829550" y="4650906"/>
              <a:ext cx="25400" cy="15882"/>
            </a:xfrm>
            <a:custGeom>
              <a:avLst/>
              <a:gdLst>
                <a:gd name="T0" fmla="*/ 2 w 16"/>
                <a:gd name="T1" fmla="*/ 0 h 10"/>
                <a:gd name="T2" fmla="*/ 10 w 16"/>
                <a:gd name="T3" fmla="*/ 4 h 10"/>
                <a:gd name="T4" fmla="*/ 16 w 16"/>
                <a:gd name="T5" fmla="*/ 10 h 10"/>
                <a:gd name="T6" fmla="*/ 12 w 16"/>
                <a:gd name="T7" fmla="*/ 10 h 10"/>
                <a:gd name="T8" fmla="*/ 6 w 16"/>
                <a:gd name="T9" fmla="*/ 6 h 10"/>
                <a:gd name="T10" fmla="*/ 0 w 16"/>
                <a:gd name="T11" fmla="*/ 0 h 10"/>
                <a:gd name="T12" fmla="*/ 2 w 1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6" h="10">
                  <a:moveTo>
                    <a:pt x="2" y="0"/>
                  </a:moveTo>
                  <a:lnTo>
                    <a:pt x="10" y="4"/>
                  </a:lnTo>
                  <a:lnTo>
                    <a:pt x="16" y="10"/>
                  </a:lnTo>
                  <a:lnTo>
                    <a:pt x="12" y="10"/>
                  </a:lnTo>
                  <a:lnTo>
                    <a:pt x="6" y="6"/>
                  </a:lnTo>
                  <a:lnTo>
                    <a:pt x="0" y="0"/>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51">
              <a:extLst>
                <a:ext uri="{FF2B5EF4-FFF2-40B4-BE49-F238E27FC236}">
                  <a16:creationId xmlns:a16="http://schemas.microsoft.com/office/drawing/2014/main" id="{707F5954-C2A4-4B72-AF7F-BB7E7CAB8ADC}"/>
                </a:ext>
              </a:extLst>
            </p:cNvPr>
            <p:cNvSpPr>
              <a:spLocks/>
            </p:cNvSpPr>
            <p:nvPr/>
          </p:nvSpPr>
          <p:spPr bwMode="auto">
            <a:xfrm>
              <a:off x="6699250" y="4635024"/>
              <a:ext cx="228600" cy="61941"/>
            </a:xfrm>
            <a:custGeom>
              <a:avLst/>
              <a:gdLst>
                <a:gd name="T0" fmla="*/ 8 w 144"/>
                <a:gd name="T1" fmla="*/ 0 h 39"/>
                <a:gd name="T2" fmla="*/ 25 w 144"/>
                <a:gd name="T3" fmla="*/ 0 h 39"/>
                <a:gd name="T4" fmla="*/ 37 w 144"/>
                <a:gd name="T5" fmla="*/ 4 h 39"/>
                <a:gd name="T6" fmla="*/ 43 w 144"/>
                <a:gd name="T7" fmla="*/ 6 h 39"/>
                <a:gd name="T8" fmla="*/ 44 w 144"/>
                <a:gd name="T9" fmla="*/ 10 h 39"/>
                <a:gd name="T10" fmla="*/ 71 w 144"/>
                <a:gd name="T11" fmla="*/ 12 h 39"/>
                <a:gd name="T12" fmla="*/ 73 w 144"/>
                <a:gd name="T13" fmla="*/ 6 h 39"/>
                <a:gd name="T14" fmla="*/ 100 w 144"/>
                <a:gd name="T15" fmla="*/ 12 h 39"/>
                <a:gd name="T16" fmla="*/ 106 w 144"/>
                <a:gd name="T17" fmla="*/ 21 h 39"/>
                <a:gd name="T18" fmla="*/ 125 w 144"/>
                <a:gd name="T19" fmla="*/ 23 h 39"/>
                <a:gd name="T20" fmla="*/ 144 w 144"/>
                <a:gd name="T21" fmla="*/ 33 h 39"/>
                <a:gd name="T22" fmla="*/ 127 w 144"/>
                <a:gd name="T23" fmla="*/ 39 h 39"/>
                <a:gd name="T24" fmla="*/ 112 w 144"/>
                <a:gd name="T25" fmla="*/ 33 h 39"/>
                <a:gd name="T26" fmla="*/ 100 w 144"/>
                <a:gd name="T27" fmla="*/ 33 h 39"/>
                <a:gd name="T28" fmla="*/ 85 w 144"/>
                <a:gd name="T29" fmla="*/ 33 h 39"/>
                <a:gd name="T30" fmla="*/ 71 w 144"/>
                <a:gd name="T31" fmla="*/ 29 h 39"/>
                <a:gd name="T32" fmla="*/ 56 w 144"/>
                <a:gd name="T33" fmla="*/ 23 h 39"/>
                <a:gd name="T34" fmla="*/ 44 w 144"/>
                <a:gd name="T35" fmla="*/ 21 h 39"/>
                <a:gd name="T36" fmla="*/ 41 w 144"/>
                <a:gd name="T37" fmla="*/ 23 h 39"/>
                <a:gd name="T38" fmla="*/ 16 w 144"/>
                <a:gd name="T39" fmla="*/ 20 h 39"/>
                <a:gd name="T40" fmla="*/ 12 w 144"/>
                <a:gd name="T41" fmla="*/ 12 h 39"/>
                <a:gd name="T42" fmla="*/ 0 w 144"/>
                <a:gd name="T43" fmla="*/ 12 h 39"/>
                <a:gd name="T44" fmla="*/ 8 w 144"/>
                <a:gd name="T4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4" h="39">
                  <a:moveTo>
                    <a:pt x="8" y="0"/>
                  </a:moveTo>
                  <a:lnTo>
                    <a:pt x="25" y="0"/>
                  </a:lnTo>
                  <a:lnTo>
                    <a:pt x="37" y="4"/>
                  </a:lnTo>
                  <a:lnTo>
                    <a:pt x="43" y="6"/>
                  </a:lnTo>
                  <a:lnTo>
                    <a:pt x="44" y="10"/>
                  </a:lnTo>
                  <a:lnTo>
                    <a:pt x="71" y="12"/>
                  </a:lnTo>
                  <a:lnTo>
                    <a:pt x="73" y="6"/>
                  </a:lnTo>
                  <a:lnTo>
                    <a:pt x="100" y="12"/>
                  </a:lnTo>
                  <a:lnTo>
                    <a:pt x="106" y="21"/>
                  </a:lnTo>
                  <a:lnTo>
                    <a:pt x="125" y="23"/>
                  </a:lnTo>
                  <a:lnTo>
                    <a:pt x="144" y="33"/>
                  </a:lnTo>
                  <a:lnTo>
                    <a:pt x="127" y="39"/>
                  </a:lnTo>
                  <a:lnTo>
                    <a:pt x="112" y="33"/>
                  </a:lnTo>
                  <a:lnTo>
                    <a:pt x="100" y="33"/>
                  </a:lnTo>
                  <a:lnTo>
                    <a:pt x="85" y="33"/>
                  </a:lnTo>
                  <a:lnTo>
                    <a:pt x="71" y="29"/>
                  </a:lnTo>
                  <a:lnTo>
                    <a:pt x="56" y="23"/>
                  </a:lnTo>
                  <a:lnTo>
                    <a:pt x="44" y="21"/>
                  </a:lnTo>
                  <a:lnTo>
                    <a:pt x="41" y="23"/>
                  </a:lnTo>
                  <a:lnTo>
                    <a:pt x="16" y="20"/>
                  </a:lnTo>
                  <a:lnTo>
                    <a:pt x="12" y="12"/>
                  </a:lnTo>
                  <a:lnTo>
                    <a:pt x="0" y="12"/>
                  </a:lnTo>
                  <a:lnTo>
                    <a:pt x="8"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53">
              <a:extLst>
                <a:ext uri="{FF2B5EF4-FFF2-40B4-BE49-F238E27FC236}">
                  <a16:creationId xmlns:a16="http://schemas.microsoft.com/office/drawing/2014/main" id="{10C14BA0-0465-4C3C-9AD8-AB5C37985A91}"/>
                </a:ext>
              </a:extLst>
            </p:cNvPr>
            <p:cNvSpPr>
              <a:spLocks/>
            </p:cNvSpPr>
            <p:nvPr/>
          </p:nvSpPr>
          <p:spPr bwMode="auto">
            <a:xfrm>
              <a:off x="7332662" y="4623907"/>
              <a:ext cx="15875" cy="30177"/>
            </a:xfrm>
            <a:custGeom>
              <a:avLst/>
              <a:gdLst>
                <a:gd name="T0" fmla="*/ 6 w 10"/>
                <a:gd name="T1" fmla="*/ 0 h 19"/>
                <a:gd name="T2" fmla="*/ 10 w 10"/>
                <a:gd name="T3" fmla="*/ 4 h 19"/>
                <a:gd name="T4" fmla="*/ 10 w 10"/>
                <a:gd name="T5" fmla="*/ 7 h 19"/>
                <a:gd name="T6" fmla="*/ 10 w 10"/>
                <a:gd name="T7" fmla="*/ 9 h 19"/>
                <a:gd name="T8" fmla="*/ 2 w 10"/>
                <a:gd name="T9" fmla="*/ 19 h 19"/>
                <a:gd name="T10" fmla="*/ 0 w 10"/>
                <a:gd name="T11" fmla="*/ 9 h 19"/>
                <a:gd name="T12" fmla="*/ 2 w 10"/>
                <a:gd name="T13" fmla="*/ 5 h 19"/>
                <a:gd name="T14" fmla="*/ 6 w 10"/>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9">
                  <a:moveTo>
                    <a:pt x="6" y="0"/>
                  </a:moveTo>
                  <a:lnTo>
                    <a:pt x="10" y="4"/>
                  </a:lnTo>
                  <a:lnTo>
                    <a:pt x="10" y="7"/>
                  </a:lnTo>
                  <a:lnTo>
                    <a:pt x="10" y="9"/>
                  </a:lnTo>
                  <a:lnTo>
                    <a:pt x="2" y="19"/>
                  </a:lnTo>
                  <a:lnTo>
                    <a:pt x="0" y="9"/>
                  </a:lnTo>
                  <a:lnTo>
                    <a:pt x="2" y="5"/>
                  </a:lnTo>
                  <a:lnTo>
                    <a:pt x="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55">
              <a:extLst>
                <a:ext uri="{FF2B5EF4-FFF2-40B4-BE49-F238E27FC236}">
                  <a16:creationId xmlns:a16="http://schemas.microsoft.com/office/drawing/2014/main" id="{E615170D-A957-4CBA-84AF-6ABF00539783}"/>
                </a:ext>
              </a:extLst>
            </p:cNvPr>
            <p:cNvSpPr>
              <a:spLocks/>
            </p:cNvSpPr>
            <p:nvPr/>
          </p:nvSpPr>
          <p:spPr bwMode="auto">
            <a:xfrm>
              <a:off x="7786687" y="4614378"/>
              <a:ext cx="31750" cy="39706"/>
            </a:xfrm>
            <a:custGeom>
              <a:avLst/>
              <a:gdLst>
                <a:gd name="T0" fmla="*/ 2 w 20"/>
                <a:gd name="T1" fmla="*/ 0 h 25"/>
                <a:gd name="T2" fmla="*/ 4 w 20"/>
                <a:gd name="T3" fmla="*/ 4 h 25"/>
                <a:gd name="T4" fmla="*/ 6 w 20"/>
                <a:gd name="T5" fmla="*/ 8 h 25"/>
                <a:gd name="T6" fmla="*/ 14 w 20"/>
                <a:gd name="T7" fmla="*/ 15 h 25"/>
                <a:gd name="T8" fmla="*/ 20 w 20"/>
                <a:gd name="T9" fmla="*/ 21 h 25"/>
                <a:gd name="T10" fmla="*/ 20 w 20"/>
                <a:gd name="T11" fmla="*/ 23 h 25"/>
                <a:gd name="T12" fmla="*/ 16 w 20"/>
                <a:gd name="T13" fmla="*/ 25 h 25"/>
                <a:gd name="T14" fmla="*/ 8 w 20"/>
                <a:gd name="T15" fmla="*/ 21 h 25"/>
                <a:gd name="T16" fmla="*/ 2 w 20"/>
                <a:gd name="T17" fmla="*/ 13 h 25"/>
                <a:gd name="T18" fmla="*/ 0 w 20"/>
                <a:gd name="T19" fmla="*/ 0 h 25"/>
                <a:gd name="T20" fmla="*/ 2 w 20"/>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 y="0"/>
                  </a:moveTo>
                  <a:lnTo>
                    <a:pt x="4" y="4"/>
                  </a:lnTo>
                  <a:lnTo>
                    <a:pt x="6" y="8"/>
                  </a:lnTo>
                  <a:lnTo>
                    <a:pt x="14" y="15"/>
                  </a:lnTo>
                  <a:lnTo>
                    <a:pt x="20" y="21"/>
                  </a:lnTo>
                  <a:lnTo>
                    <a:pt x="20" y="23"/>
                  </a:lnTo>
                  <a:lnTo>
                    <a:pt x="16" y="25"/>
                  </a:lnTo>
                  <a:lnTo>
                    <a:pt x="8" y="21"/>
                  </a:lnTo>
                  <a:lnTo>
                    <a:pt x="2" y="13"/>
                  </a:lnTo>
                  <a:lnTo>
                    <a:pt x="0" y="0"/>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57">
              <a:extLst>
                <a:ext uri="{FF2B5EF4-FFF2-40B4-BE49-F238E27FC236}">
                  <a16:creationId xmlns:a16="http://schemas.microsoft.com/office/drawing/2014/main" id="{EAA504D4-75B3-4E13-B7F3-A8D2BAAA6C9E}"/>
                </a:ext>
              </a:extLst>
            </p:cNvPr>
            <p:cNvSpPr>
              <a:spLocks/>
            </p:cNvSpPr>
            <p:nvPr/>
          </p:nvSpPr>
          <p:spPr bwMode="auto">
            <a:xfrm>
              <a:off x="7650162" y="4593731"/>
              <a:ext cx="88900" cy="47647"/>
            </a:xfrm>
            <a:custGeom>
              <a:avLst/>
              <a:gdLst>
                <a:gd name="T0" fmla="*/ 52 w 56"/>
                <a:gd name="T1" fmla="*/ 0 h 30"/>
                <a:gd name="T2" fmla="*/ 56 w 56"/>
                <a:gd name="T3" fmla="*/ 1 h 30"/>
                <a:gd name="T4" fmla="*/ 54 w 56"/>
                <a:gd name="T5" fmla="*/ 9 h 30"/>
                <a:gd name="T6" fmla="*/ 52 w 56"/>
                <a:gd name="T7" fmla="*/ 19 h 30"/>
                <a:gd name="T8" fmla="*/ 42 w 56"/>
                <a:gd name="T9" fmla="*/ 21 h 30"/>
                <a:gd name="T10" fmla="*/ 42 w 56"/>
                <a:gd name="T11" fmla="*/ 24 h 30"/>
                <a:gd name="T12" fmla="*/ 33 w 56"/>
                <a:gd name="T13" fmla="*/ 26 h 30"/>
                <a:gd name="T14" fmla="*/ 25 w 56"/>
                <a:gd name="T15" fmla="*/ 30 h 30"/>
                <a:gd name="T16" fmla="*/ 19 w 56"/>
                <a:gd name="T17" fmla="*/ 30 h 30"/>
                <a:gd name="T18" fmla="*/ 8 w 56"/>
                <a:gd name="T19" fmla="*/ 26 h 30"/>
                <a:gd name="T20" fmla="*/ 0 w 56"/>
                <a:gd name="T21" fmla="*/ 23 h 30"/>
                <a:gd name="T22" fmla="*/ 2 w 56"/>
                <a:gd name="T23" fmla="*/ 19 h 30"/>
                <a:gd name="T24" fmla="*/ 13 w 56"/>
                <a:gd name="T25" fmla="*/ 21 h 30"/>
                <a:gd name="T26" fmla="*/ 21 w 56"/>
                <a:gd name="T27" fmla="*/ 19 h 30"/>
                <a:gd name="T28" fmla="*/ 23 w 56"/>
                <a:gd name="T29" fmla="*/ 11 h 30"/>
                <a:gd name="T30" fmla="*/ 23 w 56"/>
                <a:gd name="T31" fmla="*/ 11 h 30"/>
                <a:gd name="T32" fmla="*/ 25 w 56"/>
                <a:gd name="T33" fmla="*/ 21 h 30"/>
                <a:gd name="T34" fmla="*/ 35 w 56"/>
                <a:gd name="T35" fmla="*/ 19 h 30"/>
                <a:gd name="T36" fmla="*/ 38 w 56"/>
                <a:gd name="T37" fmla="*/ 13 h 30"/>
                <a:gd name="T38" fmla="*/ 46 w 56"/>
                <a:gd name="T39" fmla="*/ 7 h 30"/>
                <a:gd name="T40" fmla="*/ 44 w 56"/>
                <a:gd name="T41" fmla="*/ 0 h 30"/>
                <a:gd name="T42" fmla="*/ 52 w 56"/>
                <a:gd name="T4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30">
                  <a:moveTo>
                    <a:pt x="52" y="0"/>
                  </a:moveTo>
                  <a:lnTo>
                    <a:pt x="56" y="1"/>
                  </a:lnTo>
                  <a:lnTo>
                    <a:pt x="54" y="9"/>
                  </a:lnTo>
                  <a:lnTo>
                    <a:pt x="52" y="19"/>
                  </a:lnTo>
                  <a:lnTo>
                    <a:pt x="42" y="21"/>
                  </a:lnTo>
                  <a:lnTo>
                    <a:pt x="42" y="24"/>
                  </a:lnTo>
                  <a:lnTo>
                    <a:pt x="33" y="26"/>
                  </a:lnTo>
                  <a:lnTo>
                    <a:pt x="25" y="30"/>
                  </a:lnTo>
                  <a:lnTo>
                    <a:pt x="19" y="30"/>
                  </a:lnTo>
                  <a:lnTo>
                    <a:pt x="8" y="26"/>
                  </a:lnTo>
                  <a:lnTo>
                    <a:pt x="0" y="23"/>
                  </a:lnTo>
                  <a:lnTo>
                    <a:pt x="2" y="19"/>
                  </a:lnTo>
                  <a:lnTo>
                    <a:pt x="13" y="21"/>
                  </a:lnTo>
                  <a:lnTo>
                    <a:pt x="21" y="19"/>
                  </a:lnTo>
                  <a:lnTo>
                    <a:pt x="23" y="11"/>
                  </a:lnTo>
                  <a:lnTo>
                    <a:pt x="23" y="11"/>
                  </a:lnTo>
                  <a:lnTo>
                    <a:pt x="25" y="21"/>
                  </a:lnTo>
                  <a:lnTo>
                    <a:pt x="35" y="19"/>
                  </a:lnTo>
                  <a:lnTo>
                    <a:pt x="38" y="13"/>
                  </a:lnTo>
                  <a:lnTo>
                    <a:pt x="46" y="7"/>
                  </a:lnTo>
                  <a:lnTo>
                    <a:pt x="44" y="0"/>
                  </a:lnTo>
                  <a:lnTo>
                    <a:pt x="5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59">
              <a:extLst>
                <a:ext uri="{FF2B5EF4-FFF2-40B4-BE49-F238E27FC236}">
                  <a16:creationId xmlns:a16="http://schemas.microsoft.com/office/drawing/2014/main" id="{5B38A8E1-2C70-4916-805B-1A9D447B789D}"/>
                </a:ext>
              </a:extLst>
            </p:cNvPr>
            <p:cNvSpPr>
              <a:spLocks/>
            </p:cNvSpPr>
            <p:nvPr/>
          </p:nvSpPr>
          <p:spPr bwMode="auto">
            <a:xfrm>
              <a:off x="7153275" y="4571495"/>
              <a:ext cx="30163" cy="15882"/>
            </a:xfrm>
            <a:custGeom>
              <a:avLst/>
              <a:gdLst>
                <a:gd name="T0" fmla="*/ 16 w 19"/>
                <a:gd name="T1" fmla="*/ 0 h 10"/>
                <a:gd name="T2" fmla="*/ 19 w 19"/>
                <a:gd name="T3" fmla="*/ 4 h 10"/>
                <a:gd name="T4" fmla="*/ 14 w 19"/>
                <a:gd name="T5" fmla="*/ 10 h 10"/>
                <a:gd name="T6" fmla="*/ 4 w 19"/>
                <a:gd name="T7" fmla="*/ 8 h 10"/>
                <a:gd name="T8" fmla="*/ 0 w 19"/>
                <a:gd name="T9" fmla="*/ 0 h 10"/>
                <a:gd name="T10" fmla="*/ 16 w 19"/>
                <a:gd name="T11" fmla="*/ 0 h 10"/>
              </a:gdLst>
              <a:ahLst/>
              <a:cxnLst>
                <a:cxn ang="0">
                  <a:pos x="T0" y="T1"/>
                </a:cxn>
                <a:cxn ang="0">
                  <a:pos x="T2" y="T3"/>
                </a:cxn>
                <a:cxn ang="0">
                  <a:pos x="T4" y="T5"/>
                </a:cxn>
                <a:cxn ang="0">
                  <a:pos x="T6" y="T7"/>
                </a:cxn>
                <a:cxn ang="0">
                  <a:pos x="T8" y="T9"/>
                </a:cxn>
                <a:cxn ang="0">
                  <a:pos x="T10" y="T11"/>
                </a:cxn>
              </a:cxnLst>
              <a:rect l="0" t="0" r="r" b="b"/>
              <a:pathLst>
                <a:path w="19" h="10">
                  <a:moveTo>
                    <a:pt x="16" y="0"/>
                  </a:moveTo>
                  <a:lnTo>
                    <a:pt x="19" y="4"/>
                  </a:lnTo>
                  <a:lnTo>
                    <a:pt x="14" y="10"/>
                  </a:lnTo>
                  <a:lnTo>
                    <a:pt x="4" y="8"/>
                  </a:lnTo>
                  <a:lnTo>
                    <a:pt x="0" y="0"/>
                  </a:lnTo>
                  <a:lnTo>
                    <a:pt x="1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61">
              <a:extLst>
                <a:ext uri="{FF2B5EF4-FFF2-40B4-BE49-F238E27FC236}">
                  <a16:creationId xmlns:a16="http://schemas.microsoft.com/office/drawing/2014/main" id="{37BE8EA5-57C5-453C-B581-B2F733266920}"/>
                </a:ext>
              </a:extLst>
            </p:cNvPr>
            <p:cNvSpPr>
              <a:spLocks/>
            </p:cNvSpPr>
            <p:nvPr/>
          </p:nvSpPr>
          <p:spPr bwMode="auto">
            <a:xfrm>
              <a:off x="7196137" y="4565143"/>
              <a:ext cx="66675" cy="25411"/>
            </a:xfrm>
            <a:custGeom>
              <a:avLst/>
              <a:gdLst>
                <a:gd name="T0" fmla="*/ 19 w 42"/>
                <a:gd name="T1" fmla="*/ 0 h 16"/>
                <a:gd name="T2" fmla="*/ 37 w 42"/>
                <a:gd name="T3" fmla="*/ 2 h 16"/>
                <a:gd name="T4" fmla="*/ 42 w 42"/>
                <a:gd name="T5" fmla="*/ 16 h 16"/>
                <a:gd name="T6" fmla="*/ 31 w 42"/>
                <a:gd name="T7" fmla="*/ 8 h 16"/>
                <a:gd name="T8" fmla="*/ 17 w 42"/>
                <a:gd name="T9" fmla="*/ 8 h 16"/>
                <a:gd name="T10" fmla="*/ 10 w 42"/>
                <a:gd name="T11" fmla="*/ 8 h 16"/>
                <a:gd name="T12" fmla="*/ 0 w 42"/>
                <a:gd name="T13" fmla="*/ 8 h 16"/>
                <a:gd name="T14" fmla="*/ 4 w 42"/>
                <a:gd name="T15" fmla="*/ 0 h 16"/>
                <a:gd name="T16" fmla="*/ 19 w 42"/>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6">
                  <a:moveTo>
                    <a:pt x="19" y="0"/>
                  </a:moveTo>
                  <a:lnTo>
                    <a:pt x="37" y="2"/>
                  </a:lnTo>
                  <a:lnTo>
                    <a:pt x="42" y="16"/>
                  </a:lnTo>
                  <a:lnTo>
                    <a:pt x="31" y="8"/>
                  </a:lnTo>
                  <a:lnTo>
                    <a:pt x="17" y="8"/>
                  </a:lnTo>
                  <a:lnTo>
                    <a:pt x="10" y="8"/>
                  </a:lnTo>
                  <a:lnTo>
                    <a:pt x="0" y="8"/>
                  </a:lnTo>
                  <a:lnTo>
                    <a:pt x="4" y="0"/>
                  </a:lnTo>
                  <a:lnTo>
                    <a:pt x="1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63">
              <a:extLst>
                <a:ext uri="{FF2B5EF4-FFF2-40B4-BE49-F238E27FC236}">
                  <a16:creationId xmlns:a16="http://schemas.microsoft.com/office/drawing/2014/main" id="{5677B113-22BF-4FB5-BFCF-D222101DEB38}"/>
                </a:ext>
              </a:extLst>
            </p:cNvPr>
            <p:cNvSpPr>
              <a:spLocks/>
            </p:cNvSpPr>
            <p:nvPr/>
          </p:nvSpPr>
          <p:spPr bwMode="auto">
            <a:xfrm>
              <a:off x="7702550" y="4555613"/>
              <a:ext cx="50800" cy="49235"/>
            </a:xfrm>
            <a:custGeom>
              <a:avLst/>
              <a:gdLst>
                <a:gd name="T0" fmla="*/ 3 w 32"/>
                <a:gd name="T1" fmla="*/ 0 h 31"/>
                <a:gd name="T2" fmla="*/ 9 w 32"/>
                <a:gd name="T3" fmla="*/ 6 h 31"/>
                <a:gd name="T4" fmla="*/ 15 w 32"/>
                <a:gd name="T5" fmla="*/ 8 h 31"/>
                <a:gd name="T6" fmla="*/ 21 w 32"/>
                <a:gd name="T7" fmla="*/ 12 h 31"/>
                <a:gd name="T8" fmla="*/ 26 w 32"/>
                <a:gd name="T9" fmla="*/ 18 h 31"/>
                <a:gd name="T10" fmla="*/ 30 w 32"/>
                <a:gd name="T11" fmla="*/ 22 h 31"/>
                <a:gd name="T12" fmla="*/ 32 w 32"/>
                <a:gd name="T13" fmla="*/ 29 h 31"/>
                <a:gd name="T14" fmla="*/ 30 w 32"/>
                <a:gd name="T15" fmla="*/ 31 h 31"/>
                <a:gd name="T16" fmla="*/ 26 w 32"/>
                <a:gd name="T17" fmla="*/ 24 h 31"/>
                <a:gd name="T18" fmla="*/ 23 w 32"/>
                <a:gd name="T19" fmla="*/ 20 h 31"/>
                <a:gd name="T20" fmla="*/ 17 w 32"/>
                <a:gd name="T21" fmla="*/ 14 h 31"/>
                <a:gd name="T22" fmla="*/ 9 w 32"/>
                <a:gd name="T23" fmla="*/ 8 h 31"/>
                <a:gd name="T24" fmla="*/ 0 w 32"/>
                <a:gd name="T25" fmla="*/ 4 h 31"/>
                <a:gd name="T26" fmla="*/ 3 w 32"/>
                <a:gd name="T2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1">
                  <a:moveTo>
                    <a:pt x="3" y="0"/>
                  </a:moveTo>
                  <a:lnTo>
                    <a:pt x="9" y="6"/>
                  </a:lnTo>
                  <a:lnTo>
                    <a:pt x="15" y="8"/>
                  </a:lnTo>
                  <a:lnTo>
                    <a:pt x="21" y="12"/>
                  </a:lnTo>
                  <a:lnTo>
                    <a:pt x="26" y="18"/>
                  </a:lnTo>
                  <a:lnTo>
                    <a:pt x="30" y="22"/>
                  </a:lnTo>
                  <a:lnTo>
                    <a:pt x="32" y="29"/>
                  </a:lnTo>
                  <a:lnTo>
                    <a:pt x="30" y="31"/>
                  </a:lnTo>
                  <a:lnTo>
                    <a:pt x="26" y="24"/>
                  </a:lnTo>
                  <a:lnTo>
                    <a:pt x="23" y="20"/>
                  </a:lnTo>
                  <a:lnTo>
                    <a:pt x="17" y="14"/>
                  </a:lnTo>
                  <a:lnTo>
                    <a:pt x="9" y="8"/>
                  </a:lnTo>
                  <a:lnTo>
                    <a:pt x="0" y="4"/>
                  </a:lnTo>
                  <a:lnTo>
                    <a:pt x="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65">
              <a:extLst>
                <a:ext uri="{FF2B5EF4-FFF2-40B4-BE49-F238E27FC236}">
                  <a16:creationId xmlns:a16="http://schemas.microsoft.com/office/drawing/2014/main" id="{B3EDBF1B-6E46-4C1A-AC46-2BF448393672}"/>
                </a:ext>
              </a:extLst>
            </p:cNvPr>
            <p:cNvSpPr>
              <a:spLocks/>
            </p:cNvSpPr>
            <p:nvPr/>
          </p:nvSpPr>
          <p:spPr bwMode="auto">
            <a:xfrm>
              <a:off x="7254875" y="4511143"/>
              <a:ext cx="450850" cy="228703"/>
            </a:xfrm>
            <a:custGeom>
              <a:avLst/>
              <a:gdLst>
                <a:gd name="T0" fmla="*/ 48 w 284"/>
                <a:gd name="T1" fmla="*/ 5 h 144"/>
                <a:gd name="T2" fmla="*/ 53 w 284"/>
                <a:gd name="T3" fmla="*/ 34 h 144"/>
                <a:gd name="T4" fmla="*/ 80 w 284"/>
                <a:gd name="T5" fmla="*/ 27 h 144"/>
                <a:gd name="T6" fmla="*/ 109 w 284"/>
                <a:gd name="T7" fmla="*/ 19 h 144"/>
                <a:gd name="T8" fmla="*/ 130 w 284"/>
                <a:gd name="T9" fmla="*/ 28 h 144"/>
                <a:gd name="T10" fmla="*/ 170 w 284"/>
                <a:gd name="T11" fmla="*/ 40 h 144"/>
                <a:gd name="T12" fmla="*/ 205 w 284"/>
                <a:gd name="T13" fmla="*/ 55 h 144"/>
                <a:gd name="T14" fmla="*/ 214 w 284"/>
                <a:gd name="T15" fmla="*/ 71 h 144"/>
                <a:gd name="T16" fmla="*/ 243 w 284"/>
                <a:gd name="T17" fmla="*/ 88 h 144"/>
                <a:gd name="T18" fmla="*/ 234 w 284"/>
                <a:gd name="T19" fmla="*/ 98 h 144"/>
                <a:gd name="T20" fmla="*/ 255 w 284"/>
                <a:gd name="T21" fmla="*/ 123 h 144"/>
                <a:gd name="T22" fmla="*/ 262 w 284"/>
                <a:gd name="T23" fmla="*/ 126 h 144"/>
                <a:gd name="T24" fmla="*/ 268 w 284"/>
                <a:gd name="T25" fmla="*/ 132 h 144"/>
                <a:gd name="T26" fmla="*/ 282 w 284"/>
                <a:gd name="T27" fmla="*/ 142 h 144"/>
                <a:gd name="T28" fmla="*/ 268 w 284"/>
                <a:gd name="T29" fmla="*/ 140 h 144"/>
                <a:gd name="T30" fmla="*/ 243 w 284"/>
                <a:gd name="T31" fmla="*/ 136 h 144"/>
                <a:gd name="T32" fmla="*/ 224 w 284"/>
                <a:gd name="T33" fmla="*/ 119 h 144"/>
                <a:gd name="T34" fmla="*/ 197 w 284"/>
                <a:gd name="T35" fmla="*/ 99 h 144"/>
                <a:gd name="T36" fmla="*/ 176 w 284"/>
                <a:gd name="T37" fmla="*/ 109 h 144"/>
                <a:gd name="T38" fmla="*/ 168 w 284"/>
                <a:gd name="T39" fmla="*/ 124 h 144"/>
                <a:gd name="T40" fmla="*/ 145 w 284"/>
                <a:gd name="T41" fmla="*/ 123 h 144"/>
                <a:gd name="T42" fmla="*/ 120 w 284"/>
                <a:gd name="T43" fmla="*/ 107 h 144"/>
                <a:gd name="T44" fmla="*/ 99 w 284"/>
                <a:gd name="T45" fmla="*/ 113 h 144"/>
                <a:gd name="T46" fmla="*/ 113 w 284"/>
                <a:gd name="T47" fmla="*/ 98 h 144"/>
                <a:gd name="T48" fmla="*/ 103 w 284"/>
                <a:gd name="T49" fmla="*/ 69 h 144"/>
                <a:gd name="T50" fmla="*/ 65 w 284"/>
                <a:gd name="T51" fmla="*/ 57 h 144"/>
                <a:gd name="T52" fmla="*/ 40 w 284"/>
                <a:gd name="T53" fmla="*/ 50 h 144"/>
                <a:gd name="T54" fmla="*/ 32 w 284"/>
                <a:gd name="T55" fmla="*/ 48 h 144"/>
                <a:gd name="T56" fmla="*/ 32 w 284"/>
                <a:gd name="T57" fmla="*/ 40 h 144"/>
                <a:gd name="T58" fmla="*/ 34 w 284"/>
                <a:gd name="T59" fmla="*/ 28 h 144"/>
                <a:gd name="T60" fmla="*/ 44 w 284"/>
                <a:gd name="T61" fmla="*/ 25 h 144"/>
                <a:gd name="T62" fmla="*/ 19 w 284"/>
                <a:gd name="T63" fmla="*/ 17 h 144"/>
                <a:gd name="T64" fmla="*/ 0 w 284"/>
                <a:gd name="T65" fmla="*/ 7 h 144"/>
                <a:gd name="T66" fmla="*/ 24 w 284"/>
                <a:gd name="T6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4" h="144">
                  <a:moveTo>
                    <a:pt x="24" y="0"/>
                  </a:moveTo>
                  <a:lnTo>
                    <a:pt x="48" y="5"/>
                  </a:lnTo>
                  <a:lnTo>
                    <a:pt x="49" y="11"/>
                  </a:lnTo>
                  <a:lnTo>
                    <a:pt x="53" y="34"/>
                  </a:lnTo>
                  <a:lnTo>
                    <a:pt x="69" y="42"/>
                  </a:lnTo>
                  <a:lnTo>
                    <a:pt x="80" y="27"/>
                  </a:lnTo>
                  <a:lnTo>
                    <a:pt x="97" y="19"/>
                  </a:lnTo>
                  <a:lnTo>
                    <a:pt x="109" y="19"/>
                  </a:lnTo>
                  <a:lnTo>
                    <a:pt x="120" y="23"/>
                  </a:lnTo>
                  <a:lnTo>
                    <a:pt x="130" y="28"/>
                  </a:lnTo>
                  <a:lnTo>
                    <a:pt x="145" y="30"/>
                  </a:lnTo>
                  <a:lnTo>
                    <a:pt x="170" y="40"/>
                  </a:lnTo>
                  <a:lnTo>
                    <a:pt x="195" y="50"/>
                  </a:lnTo>
                  <a:lnTo>
                    <a:pt x="205" y="55"/>
                  </a:lnTo>
                  <a:lnTo>
                    <a:pt x="213" y="61"/>
                  </a:lnTo>
                  <a:lnTo>
                    <a:pt x="214" y="71"/>
                  </a:lnTo>
                  <a:lnTo>
                    <a:pt x="239" y="78"/>
                  </a:lnTo>
                  <a:lnTo>
                    <a:pt x="243" y="88"/>
                  </a:lnTo>
                  <a:lnTo>
                    <a:pt x="230" y="88"/>
                  </a:lnTo>
                  <a:lnTo>
                    <a:pt x="234" y="98"/>
                  </a:lnTo>
                  <a:lnTo>
                    <a:pt x="245" y="107"/>
                  </a:lnTo>
                  <a:lnTo>
                    <a:pt x="255" y="123"/>
                  </a:lnTo>
                  <a:lnTo>
                    <a:pt x="262" y="121"/>
                  </a:lnTo>
                  <a:lnTo>
                    <a:pt x="262" y="126"/>
                  </a:lnTo>
                  <a:lnTo>
                    <a:pt x="272" y="128"/>
                  </a:lnTo>
                  <a:lnTo>
                    <a:pt x="268" y="132"/>
                  </a:lnTo>
                  <a:lnTo>
                    <a:pt x="284" y="140"/>
                  </a:lnTo>
                  <a:lnTo>
                    <a:pt x="282" y="142"/>
                  </a:lnTo>
                  <a:lnTo>
                    <a:pt x="272" y="144"/>
                  </a:lnTo>
                  <a:lnTo>
                    <a:pt x="268" y="140"/>
                  </a:lnTo>
                  <a:lnTo>
                    <a:pt x="257" y="138"/>
                  </a:lnTo>
                  <a:lnTo>
                    <a:pt x="243" y="136"/>
                  </a:lnTo>
                  <a:lnTo>
                    <a:pt x="230" y="126"/>
                  </a:lnTo>
                  <a:lnTo>
                    <a:pt x="224" y="119"/>
                  </a:lnTo>
                  <a:lnTo>
                    <a:pt x="214" y="107"/>
                  </a:lnTo>
                  <a:lnTo>
                    <a:pt x="197" y="99"/>
                  </a:lnTo>
                  <a:lnTo>
                    <a:pt x="186" y="105"/>
                  </a:lnTo>
                  <a:lnTo>
                    <a:pt x="176" y="109"/>
                  </a:lnTo>
                  <a:lnTo>
                    <a:pt x="178" y="121"/>
                  </a:lnTo>
                  <a:lnTo>
                    <a:pt x="168" y="124"/>
                  </a:lnTo>
                  <a:lnTo>
                    <a:pt x="161" y="123"/>
                  </a:lnTo>
                  <a:lnTo>
                    <a:pt x="145" y="123"/>
                  </a:lnTo>
                  <a:lnTo>
                    <a:pt x="134" y="111"/>
                  </a:lnTo>
                  <a:lnTo>
                    <a:pt x="120" y="107"/>
                  </a:lnTo>
                  <a:lnTo>
                    <a:pt x="117" y="111"/>
                  </a:lnTo>
                  <a:lnTo>
                    <a:pt x="99" y="113"/>
                  </a:lnTo>
                  <a:lnTo>
                    <a:pt x="105" y="99"/>
                  </a:lnTo>
                  <a:lnTo>
                    <a:pt x="113" y="98"/>
                  </a:lnTo>
                  <a:lnTo>
                    <a:pt x="111" y="80"/>
                  </a:lnTo>
                  <a:lnTo>
                    <a:pt x="103" y="69"/>
                  </a:lnTo>
                  <a:lnTo>
                    <a:pt x="74" y="57"/>
                  </a:lnTo>
                  <a:lnTo>
                    <a:pt x="65" y="57"/>
                  </a:lnTo>
                  <a:lnTo>
                    <a:pt x="44" y="44"/>
                  </a:lnTo>
                  <a:lnTo>
                    <a:pt x="40" y="50"/>
                  </a:lnTo>
                  <a:lnTo>
                    <a:pt x="34" y="52"/>
                  </a:lnTo>
                  <a:lnTo>
                    <a:pt x="32" y="48"/>
                  </a:lnTo>
                  <a:lnTo>
                    <a:pt x="32" y="44"/>
                  </a:lnTo>
                  <a:lnTo>
                    <a:pt x="32" y="40"/>
                  </a:lnTo>
                  <a:lnTo>
                    <a:pt x="21" y="34"/>
                  </a:lnTo>
                  <a:lnTo>
                    <a:pt x="34" y="28"/>
                  </a:lnTo>
                  <a:lnTo>
                    <a:pt x="44" y="28"/>
                  </a:lnTo>
                  <a:lnTo>
                    <a:pt x="44" y="25"/>
                  </a:lnTo>
                  <a:lnTo>
                    <a:pt x="23" y="25"/>
                  </a:lnTo>
                  <a:lnTo>
                    <a:pt x="19" y="17"/>
                  </a:lnTo>
                  <a:lnTo>
                    <a:pt x="5" y="13"/>
                  </a:lnTo>
                  <a:lnTo>
                    <a:pt x="0" y="7"/>
                  </a:lnTo>
                  <a:lnTo>
                    <a:pt x="19" y="4"/>
                  </a:lnTo>
                  <a:lnTo>
                    <a:pt x="2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67">
              <a:extLst>
                <a:ext uri="{FF2B5EF4-FFF2-40B4-BE49-F238E27FC236}">
                  <a16:creationId xmlns:a16="http://schemas.microsoft.com/office/drawing/2014/main" id="{2C39FEC3-144F-480F-A926-6738B8852030}"/>
                </a:ext>
              </a:extLst>
            </p:cNvPr>
            <p:cNvSpPr>
              <a:spLocks/>
            </p:cNvSpPr>
            <p:nvPr/>
          </p:nvSpPr>
          <p:spPr bwMode="auto">
            <a:xfrm>
              <a:off x="6994525" y="4468262"/>
              <a:ext cx="144463" cy="161998"/>
            </a:xfrm>
            <a:custGeom>
              <a:avLst/>
              <a:gdLst>
                <a:gd name="T0" fmla="*/ 89 w 91"/>
                <a:gd name="T1" fmla="*/ 0 h 102"/>
                <a:gd name="T2" fmla="*/ 91 w 91"/>
                <a:gd name="T3" fmla="*/ 2 h 102"/>
                <a:gd name="T4" fmla="*/ 79 w 91"/>
                <a:gd name="T5" fmla="*/ 15 h 102"/>
                <a:gd name="T6" fmla="*/ 68 w 91"/>
                <a:gd name="T7" fmla="*/ 19 h 102"/>
                <a:gd name="T8" fmla="*/ 56 w 91"/>
                <a:gd name="T9" fmla="*/ 15 h 102"/>
                <a:gd name="T10" fmla="*/ 31 w 91"/>
                <a:gd name="T11" fmla="*/ 15 h 102"/>
                <a:gd name="T12" fmla="*/ 20 w 91"/>
                <a:gd name="T13" fmla="*/ 19 h 102"/>
                <a:gd name="T14" fmla="*/ 18 w 91"/>
                <a:gd name="T15" fmla="*/ 29 h 102"/>
                <a:gd name="T16" fmla="*/ 29 w 91"/>
                <a:gd name="T17" fmla="*/ 40 h 102"/>
                <a:gd name="T18" fmla="*/ 39 w 91"/>
                <a:gd name="T19" fmla="*/ 36 h 102"/>
                <a:gd name="T20" fmla="*/ 64 w 91"/>
                <a:gd name="T21" fmla="*/ 31 h 102"/>
                <a:gd name="T22" fmla="*/ 62 w 91"/>
                <a:gd name="T23" fmla="*/ 38 h 102"/>
                <a:gd name="T24" fmla="*/ 56 w 91"/>
                <a:gd name="T25" fmla="*/ 34 h 102"/>
                <a:gd name="T26" fmla="*/ 50 w 91"/>
                <a:gd name="T27" fmla="*/ 42 h 102"/>
                <a:gd name="T28" fmla="*/ 39 w 91"/>
                <a:gd name="T29" fmla="*/ 48 h 102"/>
                <a:gd name="T30" fmla="*/ 52 w 91"/>
                <a:gd name="T31" fmla="*/ 65 h 102"/>
                <a:gd name="T32" fmla="*/ 48 w 91"/>
                <a:gd name="T33" fmla="*/ 71 h 102"/>
                <a:gd name="T34" fmla="*/ 62 w 91"/>
                <a:gd name="T35" fmla="*/ 86 h 102"/>
                <a:gd name="T36" fmla="*/ 62 w 91"/>
                <a:gd name="T37" fmla="*/ 90 h 102"/>
                <a:gd name="T38" fmla="*/ 62 w 91"/>
                <a:gd name="T39" fmla="*/ 96 h 102"/>
                <a:gd name="T40" fmla="*/ 54 w 91"/>
                <a:gd name="T41" fmla="*/ 100 h 102"/>
                <a:gd name="T42" fmla="*/ 48 w 91"/>
                <a:gd name="T43" fmla="*/ 96 h 102"/>
                <a:gd name="T44" fmla="*/ 56 w 91"/>
                <a:gd name="T45" fmla="*/ 84 h 102"/>
                <a:gd name="T46" fmla="*/ 43 w 91"/>
                <a:gd name="T47" fmla="*/ 88 h 102"/>
                <a:gd name="T48" fmla="*/ 39 w 91"/>
                <a:gd name="T49" fmla="*/ 86 h 102"/>
                <a:gd name="T50" fmla="*/ 41 w 91"/>
                <a:gd name="T51" fmla="*/ 79 h 102"/>
                <a:gd name="T52" fmla="*/ 29 w 91"/>
                <a:gd name="T53" fmla="*/ 73 h 102"/>
                <a:gd name="T54" fmla="*/ 29 w 91"/>
                <a:gd name="T55" fmla="*/ 57 h 102"/>
                <a:gd name="T56" fmla="*/ 22 w 91"/>
                <a:gd name="T57" fmla="*/ 63 h 102"/>
                <a:gd name="T58" fmla="*/ 23 w 91"/>
                <a:gd name="T59" fmla="*/ 79 h 102"/>
                <a:gd name="T60" fmla="*/ 23 w 91"/>
                <a:gd name="T61" fmla="*/ 100 h 102"/>
                <a:gd name="T62" fmla="*/ 16 w 91"/>
                <a:gd name="T63" fmla="*/ 102 h 102"/>
                <a:gd name="T64" fmla="*/ 8 w 91"/>
                <a:gd name="T65" fmla="*/ 96 h 102"/>
                <a:gd name="T66" fmla="*/ 12 w 91"/>
                <a:gd name="T67" fmla="*/ 84 h 102"/>
                <a:gd name="T68" fmla="*/ 10 w 91"/>
                <a:gd name="T69" fmla="*/ 71 h 102"/>
                <a:gd name="T70" fmla="*/ 4 w 91"/>
                <a:gd name="T71" fmla="*/ 71 h 102"/>
                <a:gd name="T72" fmla="*/ 0 w 91"/>
                <a:gd name="T73" fmla="*/ 61 h 102"/>
                <a:gd name="T74" fmla="*/ 6 w 91"/>
                <a:gd name="T75" fmla="*/ 50 h 102"/>
                <a:gd name="T76" fmla="*/ 8 w 91"/>
                <a:gd name="T77" fmla="*/ 40 h 102"/>
                <a:gd name="T78" fmla="*/ 16 w 91"/>
                <a:gd name="T79" fmla="*/ 19 h 102"/>
                <a:gd name="T80" fmla="*/ 18 w 91"/>
                <a:gd name="T81" fmla="*/ 13 h 102"/>
                <a:gd name="T82" fmla="*/ 29 w 91"/>
                <a:gd name="T83" fmla="*/ 4 h 102"/>
                <a:gd name="T84" fmla="*/ 41 w 91"/>
                <a:gd name="T85" fmla="*/ 7 h 102"/>
                <a:gd name="T86" fmla="*/ 58 w 91"/>
                <a:gd name="T87" fmla="*/ 9 h 102"/>
                <a:gd name="T88" fmla="*/ 73 w 91"/>
                <a:gd name="T89" fmla="*/ 9 h 102"/>
                <a:gd name="T90" fmla="*/ 89 w 91"/>
                <a:gd name="T91"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 h="102">
                  <a:moveTo>
                    <a:pt x="89" y="0"/>
                  </a:moveTo>
                  <a:lnTo>
                    <a:pt x="91" y="2"/>
                  </a:lnTo>
                  <a:lnTo>
                    <a:pt x="79" y="15"/>
                  </a:lnTo>
                  <a:lnTo>
                    <a:pt x="68" y="19"/>
                  </a:lnTo>
                  <a:lnTo>
                    <a:pt x="56" y="15"/>
                  </a:lnTo>
                  <a:lnTo>
                    <a:pt x="31" y="15"/>
                  </a:lnTo>
                  <a:lnTo>
                    <a:pt x="20" y="19"/>
                  </a:lnTo>
                  <a:lnTo>
                    <a:pt x="18" y="29"/>
                  </a:lnTo>
                  <a:lnTo>
                    <a:pt x="29" y="40"/>
                  </a:lnTo>
                  <a:lnTo>
                    <a:pt x="39" y="36"/>
                  </a:lnTo>
                  <a:lnTo>
                    <a:pt x="64" y="31"/>
                  </a:lnTo>
                  <a:lnTo>
                    <a:pt x="62" y="38"/>
                  </a:lnTo>
                  <a:lnTo>
                    <a:pt x="56" y="34"/>
                  </a:lnTo>
                  <a:lnTo>
                    <a:pt x="50" y="42"/>
                  </a:lnTo>
                  <a:lnTo>
                    <a:pt x="39" y="48"/>
                  </a:lnTo>
                  <a:lnTo>
                    <a:pt x="52" y="65"/>
                  </a:lnTo>
                  <a:lnTo>
                    <a:pt x="48" y="71"/>
                  </a:lnTo>
                  <a:lnTo>
                    <a:pt x="62" y="86"/>
                  </a:lnTo>
                  <a:lnTo>
                    <a:pt x="62" y="90"/>
                  </a:lnTo>
                  <a:lnTo>
                    <a:pt x="62" y="96"/>
                  </a:lnTo>
                  <a:lnTo>
                    <a:pt x="54" y="100"/>
                  </a:lnTo>
                  <a:lnTo>
                    <a:pt x="48" y="96"/>
                  </a:lnTo>
                  <a:lnTo>
                    <a:pt x="56" y="84"/>
                  </a:lnTo>
                  <a:lnTo>
                    <a:pt x="43" y="88"/>
                  </a:lnTo>
                  <a:lnTo>
                    <a:pt x="39" y="86"/>
                  </a:lnTo>
                  <a:lnTo>
                    <a:pt x="41" y="79"/>
                  </a:lnTo>
                  <a:lnTo>
                    <a:pt x="29" y="73"/>
                  </a:lnTo>
                  <a:lnTo>
                    <a:pt x="29" y="57"/>
                  </a:lnTo>
                  <a:lnTo>
                    <a:pt x="22" y="63"/>
                  </a:lnTo>
                  <a:lnTo>
                    <a:pt x="23" y="79"/>
                  </a:lnTo>
                  <a:lnTo>
                    <a:pt x="23" y="100"/>
                  </a:lnTo>
                  <a:lnTo>
                    <a:pt x="16" y="102"/>
                  </a:lnTo>
                  <a:lnTo>
                    <a:pt x="8" y="96"/>
                  </a:lnTo>
                  <a:lnTo>
                    <a:pt x="12" y="84"/>
                  </a:lnTo>
                  <a:lnTo>
                    <a:pt x="10" y="71"/>
                  </a:lnTo>
                  <a:lnTo>
                    <a:pt x="4" y="71"/>
                  </a:lnTo>
                  <a:lnTo>
                    <a:pt x="0" y="61"/>
                  </a:lnTo>
                  <a:lnTo>
                    <a:pt x="6" y="50"/>
                  </a:lnTo>
                  <a:lnTo>
                    <a:pt x="8" y="40"/>
                  </a:lnTo>
                  <a:lnTo>
                    <a:pt x="16" y="19"/>
                  </a:lnTo>
                  <a:lnTo>
                    <a:pt x="18" y="13"/>
                  </a:lnTo>
                  <a:lnTo>
                    <a:pt x="29" y="4"/>
                  </a:lnTo>
                  <a:lnTo>
                    <a:pt x="41" y="7"/>
                  </a:lnTo>
                  <a:lnTo>
                    <a:pt x="58" y="9"/>
                  </a:lnTo>
                  <a:lnTo>
                    <a:pt x="73" y="9"/>
                  </a:lnTo>
                  <a:lnTo>
                    <a:pt x="8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9">
              <a:extLst>
                <a:ext uri="{FF2B5EF4-FFF2-40B4-BE49-F238E27FC236}">
                  <a16:creationId xmlns:a16="http://schemas.microsoft.com/office/drawing/2014/main" id="{1F2951DA-B0A6-47DF-BA0D-93F8B5D5A766}"/>
                </a:ext>
              </a:extLst>
            </p:cNvPr>
            <p:cNvSpPr>
              <a:spLocks/>
            </p:cNvSpPr>
            <p:nvPr/>
          </p:nvSpPr>
          <p:spPr bwMode="auto">
            <a:xfrm>
              <a:off x="7186612" y="4452380"/>
              <a:ext cx="28575" cy="69882"/>
            </a:xfrm>
            <a:custGeom>
              <a:avLst/>
              <a:gdLst>
                <a:gd name="T0" fmla="*/ 6 w 18"/>
                <a:gd name="T1" fmla="*/ 0 h 44"/>
                <a:gd name="T2" fmla="*/ 8 w 18"/>
                <a:gd name="T3" fmla="*/ 10 h 44"/>
                <a:gd name="T4" fmla="*/ 16 w 18"/>
                <a:gd name="T5" fmla="*/ 12 h 44"/>
                <a:gd name="T6" fmla="*/ 18 w 18"/>
                <a:gd name="T7" fmla="*/ 16 h 44"/>
                <a:gd name="T8" fmla="*/ 16 w 18"/>
                <a:gd name="T9" fmla="*/ 27 h 44"/>
                <a:gd name="T10" fmla="*/ 10 w 18"/>
                <a:gd name="T11" fmla="*/ 27 h 44"/>
                <a:gd name="T12" fmla="*/ 8 w 18"/>
                <a:gd name="T13" fmla="*/ 35 h 44"/>
                <a:gd name="T14" fmla="*/ 12 w 18"/>
                <a:gd name="T15" fmla="*/ 42 h 44"/>
                <a:gd name="T16" fmla="*/ 10 w 18"/>
                <a:gd name="T17" fmla="*/ 44 h 44"/>
                <a:gd name="T18" fmla="*/ 2 w 18"/>
                <a:gd name="T19" fmla="*/ 35 h 44"/>
                <a:gd name="T20" fmla="*/ 0 w 18"/>
                <a:gd name="T21" fmla="*/ 17 h 44"/>
                <a:gd name="T22" fmla="*/ 2 w 18"/>
                <a:gd name="T23" fmla="*/ 6 h 44"/>
                <a:gd name="T24" fmla="*/ 6 w 18"/>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44">
                  <a:moveTo>
                    <a:pt x="6" y="0"/>
                  </a:moveTo>
                  <a:lnTo>
                    <a:pt x="8" y="10"/>
                  </a:lnTo>
                  <a:lnTo>
                    <a:pt x="16" y="12"/>
                  </a:lnTo>
                  <a:lnTo>
                    <a:pt x="18" y="16"/>
                  </a:lnTo>
                  <a:lnTo>
                    <a:pt x="16" y="27"/>
                  </a:lnTo>
                  <a:lnTo>
                    <a:pt x="10" y="27"/>
                  </a:lnTo>
                  <a:lnTo>
                    <a:pt x="8" y="35"/>
                  </a:lnTo>
                  <a:lnTo>
                    <a:pt x="12" y="42"/>
                  </a:lnTo>
                  <a:lnTo>
                    <a:pt x="10" y="44"/>
                  </a:lnTo>
                  <a:lnTo>
                    <a:pt x="2" y="35"/>
                  </a:lnTo>
                  <a:lnTo>
                    <a:pt x="0" y="17"/>
                  </a:lnTo>
                  <a:lnTo>
                    <a:pt x="2" y="6"/>
                  </a:lnTo>
                  <a:lnTo>
                    <a:pt x="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1">
              <a:extLst>
                <a:ext uri="{FF2B5EF4-FFF2-40B4-BE49-F238E27FC236}">
                  <a16:creationId xmlns:a16="http://schemas.microsoft.com/office/drawing/2014/main" id="{D62BAE07-54A6-4D12-81FA-4537B6ECD9AB}"/>
                </a:ext>
              </a:extLst>
            </p:cNvPr>
            <p:cNvSpPr>
              <a:spLocks/>
            </p:cNvSpPr>
            <p:nvPr/>
          </p:nvSpPr>
          <p:spPr bwMode="auto">
            <a:xfrm>
              <a:off x="6477001" y="4379322"/>
              <a:ext cx="238125" cy="252527"/>
            </a:xfrm>
            <a:custGeom>
              <a:avLst/>
              <a:gdLst>
                <a:gd name="T0" fmla="*/ 0 w 150"/>
                <a:gd name="T1" fmla="*/ 0 h 159"/>
                <a:gd name="T2" fmla="*/ 8 w 150"/>
                <a:gd name="T3" fmla="*/ 0 h 159"/>
                <a:gd name="T4" fmla="*/ 31 w 150"/>
                <a:gd name="T5" fmla="*/ 4 h 159"/>
                <a:gd name="T6" fmla="*/ 41 w 150"/>
                <a:gd name="T7" fmla="*/ 17 h 159"/>
                <a:gd name="T8" fmla="*/ 54 w 150"/>
                <a:gd name="T9" fmla="*/ 29 h 159"/>
                <a:gd name="T10" fmla="*/ 60 w 150"/>
                <a:gd name="T11" fmla="*/ 33 h 159"/>
                <a:gd name="T12" fmla="*/ 73 w 150"/>
                <a:gd name="T13" fmla="*/ 48 h 159"/>
                <a:gd name="T14" fmla="*/ 89 w 150"/>
                <a:gd name="T15" fmla="*/ 48 h 159"/>
                <a:gd name="T16" fmla="*/ 100 w 150"/>
                <a:gd name="T17" fmla="*/ 58 h 159"/>
                <a:gd name="T18" fmla="*/ 108 w 150"/>
                <a:gd name="T19" fmla="*/ 69 h 159"/>
                <a:gd name="T20" fmla="*/ 119 w 150"/>
                <a:gd name="T21" fmla="*/ 77 h 159"/>
                <a:gd name="T22" fmla="*/ 112 w 150"/>
                <a:gd name="T23" fmla="*/ 87 h 159"/>
                <a:gd name="T24" fmla="*/ 121 w 150"/>
                <a:gd name="T25" fmla="*/ 92 h 159"/>
                <a:gd name="T26" fmla="*/ 125 w 150"/>
                <a:gd name="T27" fmla="*/ 94 h 159"/>
                <a:gd name="T28" fmla="*/ 129 w 150"/>
                <a:gd name="T29" fmla="*/ 102 h 159"/>
                <a:gd name="T30" fmla="*/ 135 w 150"/>
                <a:gd name="T31" fmla="*/ 110 h 159"/>
                <a:gd name="T32" fmla="*/ 144 w 150"/>
                <a:gd name="T33" fmla="*/ 111 h 159"/>
                <a:gd name="T34" fmla="*/ 150 w 150"/>
                <a:gd name="T35" fmla="*/ 119 h 159"/>
                <a:gd name="T36" fmla="*/ 146 w 150"/>
                <a:gd name="T37" fmla="*/ 136 h 159"/>
                <a:gd name="T38" fmla="*/ 144 w 150"/>
                <a:gd name="T39" fmla="*/ 159 h 159"/>
                <a:gd name="T40" fmla="*/ 131 w 150"/>
                <a:gd name="T41" fmla="*/ 159 h 159"/>
                <a:gd name="T42" fmla="*/ 119 w 150"/>
                <a:gd name="T43" fmla="*/ 148 h 159"/>
                <a:gd name="T44" fmla="*/ 100 w 150"/>
                <a:gd name="T45" fmla="*/ 136 h 159"/>
                <a:gd name="T46" fmla="*/ 96 w 150"/>
                <a:gd name="T47" fmla="*/ 129 h 159"/>
                <a:gd name="T48" fmla="*/ 85 w 150"/>
                <a:gd name="T49" fmla="*/ 117 h 159"/>
                <a:gd name="T50" fmla="*/ 77 w 150"/>
                <a:gd name="T51" fmla="*/ 106 h 159"/>
                <a:gd name="T52" fmla="*/ 67 w 150"/>
                <a:gd name="T53" fmla="*/ 87 h 159"/>
                <a:gd name="T54" fmla="*/ 56 w 150"/>
                <a:gd name="T55" fmla="*/ 75 h 159"/>
                <a:gd name="T56" fmla="*/ 50 w 150"/>
                <a:gd name="T57" fmla="*/ 63 h 159"/>
                <a:gd name="T58" fmla="*/ 44 w 150"/>
                <a:gd name="T59" fmla="*/ 52 h 159"/>
                <a:gd name="T60" fmla="*/ 33 w 150"/>
                <a:gd name="T61" fmla="*/ 42 h 159"/>
                <a:gd name="T62" fmla="*/ 25 w 150"/>
                <a:gd name="T63" fmla="*/ 31 h 159"/>
                <a:gd name="T64" fmla="*/ 16 w 150"/>
                <a:gd name="T65" fmla="*/ 23 h 159"/>
                <a:gd name="T66" fmla="*/ 0 w 150"/>
                <a:gd name="T67" fmla="*/ 8 h 159"/>
                <a:gd name="T68" fmla="*/ 0 w 150"/>
                <a:gd name="T69"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0" h="159">
                  <a:moveTo>
                    <a:pt x="0" y="0"/>
                  </a:moveTo>
                  <a:lnTo>
                    <a:pt x="8" y="0"/>
                  </a:lnTo>
                  <a:lnTo>
                    <a:pt x="31" y="4"/>
                  </a:lnTo>
                  <a:lnTo>
                    <a:pt x="41" y="17"/>
                  </a:lnTo>
                  <a:lnTo>
                    <a:pt x="54" y="29"/>
                  </a:lnTo>
                  <a:lnTo>
                    <a:pt x="60" y="33"/>
                  </a:lnTo>
                  <a:lnTo>
                    <a:pt x="73" y="48"/>
                  </a:lnTo>
                  <a:lnTo>
                    <a:pt x="89" y="48"/>
                  </a:lnTo>
                  <a:lnTo>
                    <a:pt x="100" y="58"/>
                  </a:lnTo>
                  <a:lnTo>
                    <a:pt x="108" y="69"/>
                  </a:lnTo>
                  <a:lnTo>
                    <a:pt x="119" y="77"/>
                  </a:lnTo>
                  <a:lnTo>
                    <a:pt x="112" y="87"/>
                  </a:lnTo>
                  <a:lnTo>
                    <a:pt x="121" y="92"/>
                  </a:lnTo>
                  <a:lnTo>
                    <a:pt x="125" y="94"/>
                  </a:lnTo>
                  <a:lnTo>
                    <a:pt x="129" y="102"/>
                  </a:lnTo>
                  <a:lnTo>
                    <a:pt x="135" y="110"/>
                  </a:lnTo>
                  <a:lnTo>
                    <a:pt x="144" y="111"/>
                  </a:lnTo>
                  <a:lnTo>
                    <a:pt x="150" y="119"/>
                  </a:lnTo>
                  <a:lnTo>
                    <a:pt x="146" y="136"/>
                  </a:lnTo>
                  <a:lnTo>
                    <a:pt x="144" y="159"/>
                  </a:lnTo>
                  <a:lnTo>
                    <a:pt x="131" y="159"/>
                  </a:lnTo>
                  <a:lnTo>
                    <a:pt x="119" y="148"/>
                  </a:lnTo>
                  <a:lnTo>
                    <a:pt x="100" y="136"/>
                  </a:lnTo>
                  <a:lnTo>
                    <a:pt x="96" y="129"/>
                  </a:lnTo>
                  <a:lnTo>
                    <a:pt x="85" y="117"/>
                  </a:lnTo>
                  <a:lnTo>
                    <a:pt x="77" y="106"/>
                  </a:lnTo>
                  <a:lnTo>
                    <a:pt x="67" y="87"/>
                  </a:lnTo>
                  <a:lnTo>
                    <a:pt x="56" y="75"/>
                  </a:lnTo>
                  <a:lnTo>
                    <a:pt x="50" y="63"/>
                  </a:lnTo>
                  <a:lnTo>
                    <a:pt x="44" y="52"/>
                  </a:lnTo>
                  <a:lnTo>
                    <a:pt x="33" y="42"/>
                  </a:lnTo>
                  <a:lnTo>
                    <a:pt x="25" y="31"/>
                  </a:lnTo>
                  <a:lnTo>
                    <a:pt x="16" y="23"/>
                  </a:lnTo>
                  <a:lnTo>
                    <a:pt x="0" y="8"/>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73">
              <a:extLst>
                <a:ext uri="{FF2B5EF4-FFF2-40B4-BE49-F238E27FC236}">
                  <a16:creationId xmlns:a16="http://schemas.microsoft.com/office/drawing/2014/main" id="{4DBF453B-E711-49DF-B7AE-31A9BA85AE61}"/>
                </a:ext>
              </a:extLst>
            </p:cNvPr>
            <p:cNvSpPr>
              <a:spLocks/>
            </p:cNvSpPr>
            <p:nvPr/>
          </p:nvSpPr>
          <p:spPr bwMode="auto">
            <a:xfrm>
              <a:off x="6775450" y="4349145"/>
              <a:ext cx="228600" cy="244586"/>
            </a:xfrm>
            <a:custGeom>
              <a:avLst/>
              <a:gdLst>
                <a:gd name="T0" fmla="*/ 115 w 144"/>
                <a:gd name="T1" fmla="*/ 0 h 154"/>
                <a:gd name="T2" fmla="*/ 123 w 144"/>
                <a:gd name="T3" fmla="*/ 8 h 154"/>
                <a:gd name="T4" fmla="*/ 123 w 144"/>
                <a:gd name="T5" fmla="*/ 13 h 154"/>
                <a:gd name="T6" fmla="*/ 133 w 144"/>
                <a:gd name="T7" fmla="*/ 17 h 154"/>
                <a:gd name="T8" fmla="*/ 144 w 144"/>
                <a:gd name="T9" fmla="*/ 19 h 154"/>
                <a:gd name="T10" fmla="*/ 142 w 144"/>
                <a:gd name="T11" fmla="*/ 27 h 154"/>
                <a:gd name="T12" fmla="*/ 133 w 144"/>
                <a:gd name="T13" fmla="*/ 27 h 154"/>
                <a:gd name="T14" fmla="*/ 137 w 144"/>
                <a:gd name="T15" fmla="*/ 35 h 154"/>
                <a:gd name="T16" fmla="*/ 127 w 144"/>
                <a:gd name="T17" fmla="*/ 38 h 154"/>
                <a:gd name="T18" fmla="*/ 117 w 144"/>
                <a:gd name="T19" fmla="*/ 52 h 154"/>
                <a:gd name="T20" fmla="*/ 127 w 144"/>
                <a:gd name="T21" fmla="*/ 63 h 154"/>
                <a:gd name="T22" fmla="*/ 127 w 144"/>
                <a:gd name="T23" fmla="*/ 71 h 154"/>
                <a:gd name="T24" fmla="*/ 140 w 144"/>
                <a:gd name="T25" fmla="*/ 84 h 154"/>
                <a:gd name="T26" fmla="*/ 125 w 144"/>
                <a:gd name="T27" fmla="*/ 84 h 154"/>
                <a:gd name="T28" fmla="*/ 119 w 144"/>
                <a:gd name="T29" fmla="*/ 96 h 154"/>
                <a:gd name="T30" fmla="*/ 121 w 144"/>
                <a:gd name="T31" fmla="*/ 107 h 154"/>
                <a:gd name="T32" fmla="*/ 108 w 144"/>
                <a:gd name="T33" fmla="*/ 117 h 154"/>
                <a:gd name="T34" fmla="*/ 106 w 144"/>
                <a:gd name="T35" fmla="*/ 130 h 154"/>
                <a:gd name="T36" fmla="*/ 100 w 144"/>
                <a:gd name="T37" fmla="*/ 152 h 154"/>
                <a:gd name="T38" fmla="*/ 98 w 144"/>
                <a:gd name="T39" fmla="*/ 148 h 154"/>
                <a:gd name="T40" fmla="*/ 85 w 144"/>
                <a:gd name="T41" fmla="*/ 154 h 154"/>
                <a:gd name="T42" fmla="*/ 77 w 144"/>
                <a:gd name="T43" fmla="*/ 146 h 154"/>
                <a:gd name="T44" fmla="*/ 67 w 144"/>
                <a:gd name="T45" fmla="*/ 144 h 154"/>
                <a:gd name="T46" fmla="*/ 62 w 144"/>
                <a:gd name="T47" fmla="*/ 140 h 154"/>
                <a:gd name="T48" fmla="*/ 44 w 144"/>
                <a:gd name="T49" fmla="*/ 146 h 154"/>
                <a:gd name="T50" fmla="*/ 39 w 144"/>
                <a:gd name="T51" fmla="*/ 138 h 154"/>
                <a:gd name="T52" fmla="*/ 31 w 144"/>
                <a:gd name="T53" fmla="*/ 138 h 154"/>
                <a:gd name="T54" fmla="*/ 19 w 144"/>
                <a:gd name="T55" fmla="*/ 138 h 154"/>
                <a:gd name="T56" fmla="*/ 18 w 144"/>
                <a:gd name="T57" fmla="*/ 119 h 154"/>
                <a:gd name="T58" fmla="*/ 12 w 144"/>
                <a:gd name="T59" fmla="*/ 113 h 154"/>
                <a:gd name="T60" fmla="*/ 4 w 144"/>
                <a:gd name="T61" fmla="*/ 102 h 154"/>
                <a:gd name="T62" fmla="*/ 0 w 144"/>
                <a:gd name="T63" fmla="*/ 90 h 154"/>
                <a:gd name="T64" fmla="*/ 2 w 144"/>
                <a:gd name="T65" fmla="*/ 77 h 154"/>
                <a:gd name="T66" fmla="*/ 12 w 144"/>
                <a:gd name="T67" fmla="*/ 69 h 154"/>
                <a:gd name="T68" fmla="*/ 21 w 144"/>
                <a:gd name="T69" fmla="*/ 75 h 154"/>
                <a:gd name="T70" fmla="*/ 33 w 144"/>
                <a:gd name="T71" fmla="*/ 71 h 154"/>
                <a:gd name="T72" fmla="*/ 35 w 144"/>
                <a:gd name="T73" fmla="*/ 58 h 154"/>
                <a:gd name="T74" fmla="*/ 41 w 144"/>
                <a:gd name="T75" fmla="*/ 58 h 154"/>
                <a:gd name="T76" fmla="*/ 58 w 144"/>
                <a:gd name="T77" fmla="*/ 54 h 154"/>
                <a:gd name="T78" fmla="*/ 67 w 144"/>
                <a:gd name="T79" fmla="*/ 42 h 154"/>
                <a:gd name="T80" fmla="*/ 75 w 144"/>
                <a:gd name="T81" fmla="*/ 35 h 154"/>
                <a:gd name="T82" fmla="*/ 79 w 144"/>
                <a:gd name="T83" fmla="*/ 29 h 154"/>
                <a:gd name="T84" fmla="*/ 90 w 144"/>
                <a:gd name="T85" fmla="*/ 19 h 154"/>
                <a:gd name="T86" fmla="*/ 102 w 144"/>
                <a:gd name="T87" fmla="*/ 10 h 154"/>
                <a:gd name="T88" fmla="*/ 110 w 144"/>
                <a:gd name="T89" fmla="*/ 0 h 154"/>
                <a:gd name="T90" fmla="*/ 115 w 144"/>
                <a:gd name="T9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4" h="154">
                  <a:moveTo>
                    <a:pt x="115" y="0"/>
                  </a:moveTo>
                  <a:lnTo>
                    <a:pt x="123" y="8"/>
                  </a:lnTo>
                  <a:lnTo>
                    <a:pt x="123" y="13"/>
                  </a:lnTo>
                  <a:lnTo>
                    <a:pt x="133" y="17"/>
                  </a:lnTo>
                  <a:lnTo>
                    <a:pt x="144" y="19"/>
                  </a:lnTo>
                  <a:lnTo>
                    <a:pt x="142" y="27"/>
                  </a:lnTo>
                  <a:lnTo>
                    <a:pt x="133" y="27"/>
                  </a:lnTo>
                  <a:lnTo>
                    <a:pt x="137" y="35"/>
                  </a:lnTo>
                  <a:lnTo>
                    <a:pt x="127" y="38"/>
                  </a:lnTo>
                  <a:lnTo>
                    <a:pt x="117" y="52"/>
                  </a:lnTo>
                  <a:lnTo>
                    <a:pt x="127" y="63"/>
                  </a:lnTo>
                  <a:lnTo>
                    <a:pt x="127" y="71"/>
                  </a:lnTo>
                  <a:lnTo>
                    <a:pt x="140" y="84"/>
                  </a:lnTo>
                  <a:lnTo>
                    <a:pt x="125" y="84"/>
                  </a:lnTo>
                  <a:lnTo>
                    <a:pt x="119" y="96"/>
                  </a:lnTo>
                  <a:lnTo>
                    <a:pt x="121" y="107"/>
                  </a:lnTo>
                  <a:lnTo>
                    <a:pt x="108" y="117"/>
                  </a:lnTo>
                  <a:lnTo>
                    <a:pt x="106" y="130"/>
                  </a:lnTo>
                  <a:lnTo>
                    <a:pt x="100" y="152"/>
                  </a:lnTo>
                  <a:lnTo>
                    <a:pt x="98" y="148"/>
                  </a:lnTo>
                  <a:lnTo>
                    <a:pt x="85" y="154"/>
                  </a:lnTo>
                  <a:lnTo>
                    <a:pt x="77" y="146"/>
                  </a:lnTo>
                  <a:lnTo>
                    <a:pt x="67" y="144"/>
                  </a:lnTo>
                  <a:lnTo>
                    <a:pt x="62" y="140"/>
                  </a:lnTo>
                  <a:lnTo>
                    <a:pt x="44" y="146"/>
                  </a:lnTo>
                  <a:lnTo>
                    <a:pt x="39" y="138"/>
                  </a:lnTo>
                  <a:lnTo>
                    <a:pt x="31" y="138"/>
                  </a:lnTo>
                  <a:lnTo>
                    <a:pt x="19" y="138"/>
                  </a:lnTo>
                  <a:lnTo>
                    <a:pt x="18" y="119"/>
                  </a:lnTo>
                  <a:lnTo>
                    <a:pt x="12" y="113"/>
                  </a:lnTo>
                  <a:lnTo>
                    <a:pt x="4" y="102"/>
                  </a:lnTo>
                  <a:lnTo>
                    <a:pt x="0" y="90"/>
                  </a:lnTo>
                  <a:lnTo>
                    <a:pt x="2" y="77"/>
                  </a:lnTo>
                  <a:lnTo>
                    <a:pt x="12" y="69"/>
                  </a:lnTo>
                  <a:lnTo>
                    <a:pt x="21" y="75"/>
                  </a:lnTo>
                  <a:lnTo>
                    <a:pt x="33" y="71"/>
                  </a:lnTo>
                  <a:lnTo>
                    <a:pt x="35" y="58"/>
                  </a:lnTo>
                  <a:lnTo>
                    <a:pt x="41" y="58"/>
                  </a:lnTo>
                  <a:lnTo>
                    <a:pt x="58" y="54"/>
                  </a:lnTo>
                  <a:lnTo>
                    <a:pt x="67" y="42"/>
                  </a:lnTo>
                  <a:lnTo>
                    <a:pt x="75" y="35"/>
                  </a:lnTo>
                  <a:lnTo>
                    <a:pt x="79" y="29"/>
                  </a:lnTo>
                  <a:lnTo>
                    <a:pt x="90" y="19"/>
                  </a:lnTo>
                  <a:lnTo>
                    <a:pt x="102" y="10"/>
                  </a:lnTo>
                  <a:lnTo>
                    <a:pt x="110" y="0"/>
                  </a:lnTo>
                  <a:lnTo>
                    <a:pt x="11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75">
              <a:extLst>
                <a:ext uri="{FF2B5EF4-FFF2-40B4-BE49-F238E27FC236}">
                  <a16:creationId xmlns:a16="http://schemas.microsoft.com/office/drawing/2014/main" id="{A8DD320B-38E2-4D4B-8AE3-7DD463C59BB0}"/>
                </a:ext>
              </a:extLst>
            </p:cNvPr>
            <p:cNvSpPr>
              <a:spLocks/>
            </p:cNvSpPr>
            <p:nvPr/>
          </p:nvSpPr>
          <p:spPr bwMode="auto">
            <a:xfrm>
              <a:off x="7062787" y="4285616"/>
              <a:ext cx="103188" cy="93705"/>
            </a:xfrm>
            <a:custGeom>
              <a:avLst/>
              <a:gdLst>
                <a:gd name="T0" fmla="*/ 50 w 65"/>
                <a:gd name="T1" fmla="*/ 0 h 59"/>
                <a:gd name="T2" fmla="*/ 61 w 65"/>
                <a:gd name="T3" fmla="*/ 7 h 59"/>
                <a:gd name="T4" fmla="*/ 61 w 65"/>
                <a:gd name="T5" fmla="*/ 13 h 59"/>
                <a:gd name="T6" fmla="*/ 61 w 65"/>
                <a:gd name="T7" fmla="*/ 19 h 59"/>
                <a:gd name="T8" fmla="*/ 63 w 65"/>
                <a:gd name="T9" fmla="*/ 28 h 59"/>
                <a:gd name="T10" fmla="*/ 65 w 65"/>
                <a:gd name="T11" fmla="*/ 36 h 59"/>
                <a:gd name="T12" fmla="*/ 61 w 65"/>
                <a:gd name="T13" fmla="*/ 50 h 59"/>
                <a:gd name="T14" fmla="*/ 55 w 65"/>
                <a:gd name="T15" fmla="*/ 34 h 59"/>
                <a:gd name="T16" fmla="*/ 50 w 65"/>
                <a:gd name="T17" fmla="*/ 42 h 59"/>
                <a:gd name="T18" fmla="*/ 53 w 65"/>
                <a:gd name="T19" fmla="*/ 51 h 59"/>
                <a:gd name="T20" fmla="*/ 50 w 65"/>
                <a:gd name="T21" fmla="*/ 59 h 59"/>
                <a:gd name="T22" fmla="*/ 32 w 65"/>
                <a:gd name="T23" fmla="*/ 50 h 59"/>
                <a:gd name="T24" fmla="*/ 28 w 65"/>
                <a:gd name="T25" fmla="*/ 40 h 59"/>
                <a:gd name="T26" fmla="*/ 34 w 65"/>
                <a:gd name="T27" fmla="*/ 34 h 59"/>
                <a:gd name="T28" fmla="*/ 23 w 65"/>
                <a:gd name="T29" fmla="*/ 27 h 59"/>
                <a:gd name="T30" fmla="*/ 21 w 65"/>
                <a:gd name="T31" fmla="*/ 34 h 59"/>
                <a:gd name="T32" fmla="*/ 13 w 65"/>
                <a:gd name="T33" fmla="*/ 32 h 59"/>
                <a:gd name="T34" fmla="*/ 3 w 65"/>
                <a:gd name="T35" fmla="*/ 40 h 59"/>
                <a:gd name="T36" fmla="*/ 0 w 65"/>
                <a:gd name="T37" fmla="*/ 36 h 59"/>
                <a:gd name="T38" fmla="*/ 7 w 65"/>
                <a:gd name="T39" fmla="*/ 25 h 59"/>
                <a:gd name="T40" fmla="*/ 15 w 65"/>
                <a:gd name="T41" fmla="*/ 21 h 59"/>
                <a:gd name="T42" fmla="*/ 23 w 65"/>
                <a:gd name="T43" fmla="*/ 15 h 59"/>
                <a:gd name="T44" fmla="*/ 27 w 65"/>
                <a:gd name="T45" fmla="*/ 21 h 59"/>
                <a:gd name="T46" fmla="*/ 40 w 65"/>
                <a:gd name="T47" fmla="*/ 17 h 59"/>
                <a:gd name="T48" fmla="*/ 40 w 65"/>
                <a:gd name="T49" fmla="*/ 11 h 59"/>
                <a:gd name="T50" fmla="*/ 51 w 65"/>
                <a:gd name="T51" fmla="*/ 11 h 59"/>
                <a:gd name="T52" fmla="*/ 50 w 65"/>
                <a:gd name="T5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59">
                  <a:moveTo>
                    <a:pt x="50" y="0"/>
                  </a:moveTo>
                  <a:lnTo>
                    <a:pt x="61" y="7"/>
                  </a:lnTo>
                  <a:lnTo>
                    <a:pt x="61" y="13"/>
                  </a:lnTo>
                  <a:lnTo>
                    <a:pt x="61" y="19"/>
                  </a:lnTo>
                  <a:lnTo>
                    <a:pt x="63" y="28"/>
                  </a:lnTo>
                  <a:lnTo>
                    <a:pt x="65" y="36"/>
                  </a:lnTo>
                  <a:lnTo>
                    <a:pt x="61" y="50"/>
                  </a:lnTo>
                  <a:lnTo>
                    <a:pt x="55" y="34"/>
                  </a:lnTo>
                  <a:lnTo>
                    <a:pt x="50" y="42"/>
                  </a:lnTo>
                  <a:lnTo>
                    <a:pt x="53" y="51"/>
                  </a:lnTo>
                  <a:lnTo>
                    <a:pt x="50" y="59"/>
                  </a:lnTo>
                  <a:lnTo>
                    <a:pt x="32" y="50"/>
                  </a:lnTo>
                  <a:lnTo>
                    <a:pt x="28" y="40"/>
                  </a:lnTo>
                  <a:lnTo>
                    <a:pt x="34" y="34"/>
                  </a:lnTo>
                  <a:lnTo>
                    <a:pt x="23" y="27"/>
                  </a:lnTo>
                  <a:lnTo>
                    <a:pt x="21" y="34"/>
                  </a:lnTo>
                  <a:lnTo>
                    <a:pt x="13" y="32"/>
                  </a:lnTo>
                  <a:lnTo>
                    <a:pt x="3" y="40"/>
                  </a:lnTo>
                  <a:lnTo>
                    <a:pt x="0" y="36"/>
                  </a:lnTo>
                  <a:lnTo>
                    <a:pt x="7" y="25"/>
                  </a:lnTo>
                  <a:lnTo>
                    <a:pt x="15" y="21"/>
                  </a:lnTo>
                  <a:lnTo>
                    <a:pt x="23" y="15"/>
                  </a:lnTo>
                  <a:lnTo>
                    <a:pt x="27" y="21"/>
                  </a:lnTo>
                  <a:lnTo>
                    <a:pt x="40" y="17"/>
                  </a:lnTo>
                  <a:lnTo>
                    <a:pt x="40" y="11"/>
                  </a:lnTo>
                  <a:lnTo>
                    <a:pt x="51" y="11"/>
                  </a:lnTo>
                  <a:lnTo>
                    <a:pt x="5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77">
              <a:extLst>
                <a:ext uri="{FF2B5EF4-FFF2-40B4-BE49-F238E27FC236}">
                  <a16:creationId xmlns:a16="http://schemas.microsoft.com/office/drawing/2014/main" id="{58DFB1DD-226F-4472-AA6E-39D491442010}"/>
                </a:ext>
              </a:extLst>
            </p:cNvPr>
            <p:cNvSpPr>
              <a:spLocks/>
            </p:cNvSpPr>
            <p:nvPr/>
          </p:nvSpPr>
          <p:spPr bwMode="auto">
            <a:xfrm>
              <a:off x="6132513" y="4285616"/>
              <a:ext cx="46038" cy="84176"/>
            </a:xfrm>
            <a:custGeom>
              <a:avLst/>
              <a:gdLst>
                <a:gd name="T0" fmla="*/ 6 w 29"/>
                <a:gd name="T1" fmla="*/ 0 h 53"/>
                <a:gd name="T2" fmla="*/ 14 w 29"/>
                <a:gd name="T3" fmla="*/ 7 h 53"/>
                <a:gd name="T4" fmla="*/ 22 w 29"/>
                <a:gd name="T5" fmla="*/ 17 h 53"/>
                <a:gd name="T6" fmla="*/ 29 w 29"/>
                <a:gd name="T7" fmla="*/ 32 h 53"/>
                <a:gd name="T8" fmla="*/ 27 w 29"/>
                <a:gd name="T9" fmla="*/ 48 h 53"/>
                <a:gd name="T10" fmla="*/ 22 w 29"/>
                <a:gd name="T11" fmla="*/ 50 h 53"/>
                <a:gd name="T12" fmla="*/ 8 w 29"/>
                <a:gd name="T13" fmla="*/ 53 h 53"/>
                <a:gd name="T14" fmla="*/ 0 w 29"/>
                <a:gd name="T15" fmla="*/ 42 h 53"/>
                <a:gd name="T16" fmla="*/ 0 w 29"/>
                <a:gd name="T17" fmla="*/ 21 h 53"/>
                <a:gd name="T18" fmla="*/ 6 w 29"/>
                <a:gd name="T1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53">
                  <a:moveTo>
                    <a:pt x="6" y="0"/>
                  </a:moveTo>
                  <a:lnTo>
                    <a:pt x="14" y="7"/>
                  </a:lnTo>
                  <a:lnTo>
                    <a:pt x="22" y="17"/>
                  </a:lnTo>
                  <a:lnTo>
                    <a:pt x="29" y="32"/>
                  </a:lnTo>
                  <a:lnTo>
                    <a:pt x="27" y="48"/>
                  </a:lnTo>
                  <a:lnTo>
                    <a:pt x="22" y="50"/>
                  </a:lnTo>
                  <a:lnTo>
                    <a:pt x="8" y="53"/>
                  </a:lnTo>
                  <a:lnTo>
                    <a:pt x="0" y="42"/>
                  </a:lnTo>
                  <a:lnTo>
                    <a:pt x="0" y="21"/>
                  </a:lnTo>
                  <a:lnTo>
                    <a:pt x="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79">
              <a:extLst>
                <a:ext uri="{FF2B5EF4-FFF2-40B4-BE49-F238E27FC236}">
                  <a16:creationId xmlns:a16="http://schemas.microsoft.com/office/drawing/2014/main" id="{AF0CB3C7-D4E7-405F-BE13-70B64BCAACB3}"/>
                </a:ext>
              </a:extLst>
            </p:cNvPr>
            <p:cNvSpPr>
              <a:spLocks/>
            </p:cNvSpPr>
            <p:nvPr/>
          </p:nvSpPr>
          <p:spPr bwMode="auto">
            <a:xfrm>
              <a:off x="2998788" y="4260205"/>
              <a:ext cx="23813" cy="19059"/>
            </a:xfrm>
            <a:custGeom>
              <a:avLst/>
              <a:gdLst>
                <a:gd name="T0" fmla="*/ 11 w 15"/>
                <a:gd name="T1" fmla="*/ 0 h 12"/>
                <a:gd name="T2" fmla="*/ 15 w 15"/>
                <a:gd name="T3" fmla="*/ 0 h 12"/>
                <a:gd name="T4" fmla="*/ 15 w 15"/>
                <a:gd name="T5" fmla="*/ 10 h 12"/>
                <a:gd name="T6" fmla="*/ 2 w 15"/>
                <a:gd name="T7" fmla="*/ 12 h 12"/>
                <a:gd name="T8" fmla="*/ 0 w 15"/>
                <a:gd name="T9" fmla="*/ 10 h 12"/>
                <a:gd name="T10" fmla="*/ 4 w 15"/>
                <a:gd name="T11" fmla="*/ 8 h 12"/>
                <a:gd name="T12" fmla="*/ 2 w 15"/>
                <a:gd name="T13" fmla="*/ 2 h 12"/>
                <a:gd name="T14" fmla="*/ 11 w 15"/>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2">
                  <a:moveTo>
                    <a:pt x="11" y="0"/>
                  </a:moveTo>
                  <a:lnTo>
                    <a:pt x="15" y="0"/>
                  </a:lnTo>
                  <a:lnTo>
                    <a:pt x="15" y="10"/>
                  </a:lnTo>
                  <a:lnTo>
                    <a:pt x="2" y="12"/>
                  </a:lnTo>
                  <a:lnTo>
                    <a:pt x="0" y="10"/>
                  </a:lnTo>
                  <a:lnTo>
                    <a:pt x="4" y="8"/>
                  </a:lnTo>
                  <a:lnTo>
                    <a:pt x="2" y="2"/>
                  </a:lnTo>
                  <a:lnTo>
                    <a:pt x="1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81">
              <a:extLst>
                <a:ext uri="{FF2B5EF4-FFF2-40B4-BE49-F238E27FC236}">
                  <a16:creationId xmlns:a16="http://schemas.microsoft.com/office/drawing/2014/main" id="{2F20E7C3-E261-4C5E-B920-07576A03DFF6}"/>
                </a:ext>
              </a:extLst>
            </p:cNvPr>
            <p:cNvSpPr>
              <a:spLocks/>
            </p:cNvSpPr>
            <p:nvPr/>
          </p:nvSpPr>
          <p:spPr bwMode="auto">
            <a:xfrm>
              <a:off x="7073900" y="4253852"/>
              <a:ext cx="36513" cy="49235"/>
            </a:xfrm>
            <a:custGeom>
              <a:avLst/>
              <a:gdLst>
                <a:gd name="T0" fmla="*/ 23 w 23"/>
                <a:gd name="T1" fmla="*/ 0 h 31"/>
                <a:gd name="T2" fmla="*/ 23 w 23"/>
                <a:gd name="T3" fmla="*/ 14 h 31"/>
                <a:gd name="T4" fmla="*/ 18 w 23"/>
                <a:gd name="T5" fmla="*/ 16 h 31"/>
                <a:gd name="T6" fmla="*/ 14 w 23"/>
                <a:gd name="T7" fmla="*/ 27 h 31"/>
                <a:gd name="T8" fmla="*/ 8 w 23"/>
                <a:gd name="T9" fmla="*/ 31 h 31"/>
                <a:gd name="T10" fmla="*/ 0 w 23"/>
                <a:gd name="T11" fmla="*/ 20 h 31"/>
                <a:gd name="T12" fmla="*/ 4 w 23"/>
                <a:gd name="T13" fmla="*/ 16 h 31"/>
                <a:gd name="T14" fmla="*/ 6 w 23"/>
                <a:gd name="T15" fmla="*/ 14 h 31"/>
                <a:gd name="T16" fmla="*/ 8 w 23"/>
                <a:gd name="T17" fmla="*/ 4 h 31"/>
                <a:gd name="T18" fmla="*/ 16 w 23"/>
                <a:gd name="T19" fmla="*/ 4 h 31"/>
                <a:gd name="T20" fmla="*/ 14 w 23"/>
                <a:gd name="T21" fmla="*/ 14 h 31"/>
                <a:gd name="T22" fmla="*/ 23 w 2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1">
                  <a:moveTo>
                    <a:pt x="23" y="0"/>
                  </a:moveTo>
                  <a:lnTo>
                    <a:pt x="23" y="14"/>
                  </a:lnTo>
                  <a:lnTo>
                    <a:pt x="18" y="16"/>
                  </a:lnTo>
                  <a:lnTo>
                    <a:pt x="14" y="27"/>
                  </a:lnTo>
                  <a:lnTo>
                    <a:pt x="8" y="31"/>
                  </a:lnTo>
                  <a:lnTo>
                    <a:pt x="0" y="20"/>
                  </a:lnTo>
                  <a:lnTo>
                    <a:pt x="4" y="16"/>
                  </a:lnTo>
                  <a:lnTo>
                    <a:pt x="6" y="14"/>
                  </a:lnTo>
                  <a:lnTo>
                    <a:pt x="8" y="4"/>
                  </a:lnTo>
                  <a:lnTo>
                    <a:pt x="16" y="4"/>
                  </a:lnTo>
                  <a:lnTo>
                    <a:pt x="14" y="14"/>
                  </a:lnTo>
                  <a:lnTo>
                    <a:pt x="2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83">
              <a:extLst>
                <a:ext uri="{FF2B5EF4-FFF2-40B4-BE49-F238E27FC236}">
                  <a16:creationId xmlns:a16="http://schemas.microsoft.com/office/drawing/2014/main" id="{81E13550-0336-4FA2-BE56-5561A640855F}"/>
                </a:ext>
              </a:extLst>
            </p:cNvPr>
            <p:cNvSpPr>
              <a:spLocks/>
            </p:cNvSpPr>
            <p:nvPr/>
          </p:nvSpPr>
          <p:spPr bwMode="auto">
            <a:xfrm>
              <a:off x="6961187" y="4249088"/>
              <a:ext cx="55563" cy="69882"/>
            </a:xfrm>
            <a:custGeom>
              <a:avLst/>
              <a:gdLst>
                <a:gd name="T0" fmla="*/ 31 w 35"/>
                <a:gd name="T1" fmla="*/ 0 h 44"/>
                <a:gd name="T2" fmla="*/ 35 w 35"/>
                <a:gd name="T3" fmla="*/ 11 h 44"/>
                <a:gd name="T4" fmla="*/ 23 w 35"/>
                <a:gd name="T5" fmla="*/ 19 h 44"/>
                <a:gd name="T6" fmla="*/ 18 w 35"/>
                <a:gd name="T7" fmla="*/ 30 h 44"/>
                <a:gd name="T8" fmla="*/ 0 w 35"/>
                <a:gd name="T9" fmla="*/ 44 h 44"/>
                <a:gd name="T10" fmla="*/ 6 w 35"/>
                <a:gd name="T11" fmla="*/ 34 h 44"/>
                <a:gd name="T12" fmla="*/ 16 w 35"/>
                <a:gd name="T13" fmla="*/ 25 h 44"/>
                <a:gd name="T14" fmla="*/ 23 w 35"/>
                <a:gd name="T15" fmla="*/ 15 h 44"/>
                <a:gd name="T16" fmla="*/ 31 w 35"/>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4">
                  <a:moveTo>
                    <a:pt x="31" y="0"/>
                  </a:moveTo>
                  <a:lnTo>
                    <a:pt x="35" y="11"/>
                  </a:lnTo>
                  <a:lnTo>
                    <a:pt x="23" y="19"/>
                  </a:lnTo>
                  <a:lnTo>
                    <a:pt x="18" y="30"/>
                  </a:lnTo>
                  <a:lnTo>
                    <a:pt x="0" y="44"/>
                  </a:lnTo>
                  <a:lnTo>
                    <a:pt x="6" y="34"/>
                  </a:lnTo>
                  <a:lnTo>
                    <a:pt x="16" y="25"/>
                  </a:lnTo>
                  <a:lnTo>
                    <a:pt x="23" y="15"/>
                  </a:lnTo>
                  <a:lnTo>
                    <a:pt x="3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85">
              <a:extLst>
                <a:ext uri="{FF2B5EF4-FFF2-40B4-BE49-F238E27FC236}">
                  <a16:creationId xmlns:a16="http://schemas.microsoft.com/office/drawing/2014/main" id="{1A104419-620C-4A1D-8ED2-F87381420CC9}"/>
                </a:ext>
              </a:extLst>
            </p:cNvPr>
            <p:cNvSpPr>
              <a:spLocks/>
            </p:cNvSpPr>
            <p:nvPr/>
          </p:nvSpPr>
          <p:spPr bwMode="auto">
            <a:xfrm>
              <a:off x="7062787" y="4239558"/>
              <a:ext cx="26988" cy="30177"/>
            </a:xfrm>
            <a:custGeom>
              <a:avLst/>
              <a:gdLst>
                <a:gd name="T0" fmla="*/ 0 w 17"/>
                <a:gd name="T1" fmla="*/ 0 h 19"/>
                <a:gd name="T2" fmla="*/ 9 w 17"/>
                <a:gd name="T3" fmla="*/ 4 h 19"/>
                <a:gd name="T4" fmla="*/ 17 w 17"/>
                <a:gd name="T5" fmla="*/ 4 h 19"/>
                <a:gd name="T6" fmla="*/ 17 w 17"/>
                <a:gd name="T7" fmla="*/ 9 h 19"/>
                <a:gd name="T8" fmla="*/ 11 w 17"/>
                <a:gd name="T9" fmla="*/ 15 h 19"/>
                <a:gd name="T10" fmla="*/ 2 w 17"/>
                <a:gd name="T11" fmla="*/ 19 h 19"/>
                <a:gd name="T12" fmla="*/ 2 w 17"/>
                <a:gd name="T13" fmla="*/ 13 h 19"/>
                <a:gd name="T14" fmla="*/ 2 w 17"/>
                <a:gd name="T15" fmla="*/ 6 h 19"/>
                <a:gd name="T16" fmla="*/ 0 w 17"/>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9">
                  <a:moveTo>
                    <a:pt x="0" y="0"/>
                  </a:moveTo>
                  <a:lnTo>
                    <a:pt x="9" y="4"/>
                  </a:lnTo>
                  <a:lnTo>
                    <a:pt x="17" y="4"/>
                  </a:lnTo>
                  <a:lnTo>
                    <a:pt x="17" y="9"/>
                  </a:lnTo>
                  <a:lnTo>
                    <a:pt x="11" y="15"/>
                  </a:lnTo>
                  <a:lnTo>
                    <a:pt x="2" y="19"/>
                  </a:lnTo>
                  <a:lnTo>
                    <a:pt x="2" y="13"/>
                  </a:lnTo>
                  <a:lnTo>
                    <a:pt x="2" y="6"/>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87">
              <a:extLst>
                <a:ext uri="{FF2B5EF4-FFF2-40B4-BE49-F238E27FC236}">
                  <a16:creationId xmlns:a16="http://schemas.microsoft.com/office/drawing/2014/main" id="{F4E71827-AAD6-4C86-8D85-D9249F52CB5A}"/>
                </a:ext>
              </a:extLst>
            </p:cNvPr>
            <p:cNvSpPr>
              <a:spLocks/>
            </p:cNvSpPr>
            <p:nvPr/>
          </p:nvSpPr>
          <p:spPr bwMode="auto">
            <a:xfrm>
              <a:off x="7116762" y="4220500"/>
              <a:ext cx="30163" cy="55588"/>
            </a:xfrm>
            <a:custGeom>
              <a:avLst/>
              <a:gdLst>
                <a:gd name="T0" fmla="*/ 0 w 19"/>
                <a:gd name="T1" fmla="*/ 0 h 35"/>
                <a:gd name="T2" fmla="*/ 14 w 19"/>
                <a:gd name="T3" fmla="*/ 2 h 35"/>
                <a:gd name="T4" fmla="*/ 17 w 19"/>
                <a:gd name="T5" fmla="*/ 8 h 35"/>
                <a:gd name="T6" fmla="*/ 19 w 19"/>
                <a:gd name="T7" fmla="*/ 23 h 35"/>
                <a:gd name="T8" fmla="*/ 10 w 19"/>
                <a:gd name="T9" fmla="*/ 20 h 35"/>
                <a:gd name="T10" fmla="*/ 10 w 19"/>
                <a:gd name="T11" fmla="*/ 25 h 35"/>
                <a:gd name="T12" fmla="*/ 14 w 19"/>
                <a:gd name="T13" fmla="*/ 33 h 35"/>
                <a:gd name="T14" fmla="*/ 6 w 19"/>
                <a:gd name="T15" fmla="*/ 35 h 35"/>
                <a:gd name="T16" fmla="*/ 6 w 19"/>
                <a:gd name="T17" fmla="*/ 25 h 35"/>
                <a:gd name="T18" fmla="*/ 2 w 19"/>
                <a:gd name="T19" fmla="*/ 25 h 35"/>
                <a:gd name="T20" fmla="*/ 0 w 19"/>
                <a:gd name="T21" fmla="*/ 16 h 35"/>
                <a:gd name="T22" fmla="*/ 8 w 19"/>
                <a:gd name="T23" fmla="*/ 18 h 35"/>
                <a:gd name="T24" fmla="*/ 8 w 19"/>
                <a:gd name="T25" fmla="*/ 14 h 35"/>
                <a:gd name="T26" fmla="*/ 0 w 1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35">
                  <a:moveTo>
                    <a:pt x="0" y="0"/>
                  </a:moveTo>
                  <a:lnTo>
                    <a:pt x="14" y="2"/>
                  </a:lnTo>
                  <a:lnTo>
                    <a:pt x="17" y="8"/>
                  </a:lnTo>
                  <a:lnTo>
                    <a:pt x="19" y="23"/>
                  </a:lnTo>
                  <a:lnTo>
                    <a:pt x="10" y="20"/>
                  </a:lnTo>
                  <a:lnTo>
                    <a:pt x="10" y="25"/>
                  </a:lnTo>
                  <a:lnTo>
                    <a:pt x="14" y="33"/>
                  </a:lnTo>
                  <a:lnTo>
                    <a:pt x="6" y="35"/>
                  </a:lnTo>
                  <a:lnTo>
                    <a:pt x="6" y="25"/>
                  </a:lnTo>
                  <a:lnTo>
                    <a:pt x="2" y="25"/>
                  </a:lnTo>
                  <a:lnTo>
                    <a:pt x="0" y="16"/>
                  </a:lnTo>
                  <a:lnTo>
                    <a:pt x="8" y="18"/>
                  </a:lnTo>
                  <a:lnTo>
                    <a:pt x="8" y="14"/>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89">
              <a:extLst>
                <a:ext uri="{FF2B5EF4-FFF2-40B4-BE49-F238E27FC236}">
                  <a16:creationId xmlns:a16="http://schemas.microsoft.com/office/drawing/2014/main" id="{C7284C34-72B5-451E-ADCA-99946A318F7C}"/>
                </a:ext>
              </a:extLst>
            </p:cNvPr>
            <p:cNvSpPr>
              <a:spLocks/>
            </p:cNvSpPr>
            <p:nvPr/>
          </p:nvSpPr>
          <p:spPr bwMode="auto">
            <a:xfrm>
              <a:off x="7029450" y="4203029"/>
              <a:ext cx="26988" cy="27000"/>
            </a:xfrm>
            <a:custGeom>
              <a:avLst/>
              <a:gdLst>
                <a:gd name="T0" fmla="*/ 0 w 17"/>
                <a:gd name="T1" fmla="*/ 0 h 17"/>
                <a:gd name="T2" fmla="*/ 11 w 17"/>
                <a:gd name="T3" fmla="*/ 0 h 17"/>
                <a:gd name="T4" fmla="*/ 17 w 17"/>
                <a:gd name="T5" fmla="*/ 6 h 17"/>
                <a:gd name="T6" fmla="*/ 13 w 17"/>
                <a:gd name="T7" fmla="*/ 17 h 17"/>
                <a:gd name="T8" fmla="*/ 5 w 17"/>
                <a:gd name="T9" fmla="*/ 9 h 17"/>
                <a:gd name="T10" fmla="*/ 0 w 17"/>
                <a:gd name="T11" fmla="*/ 0 h 17"/>
              </a:gdLst>
              <a:ahLst/>
              <a:cxnLst>
                <a:cxn ang="0">
                  <a:pos x="T0" y="T1"/>
                </a:cxn>
                <a:cxn ang="0">
                  <a:pos x="T2" y="T3"/>
                </a:cxn>
                <a:cxn ang="0">
                  <a:pos x="T4" y="T5"/>
                </a:cxn>
                <a:cxn ang="0">
                  <a:pos x="T6" y="T7"/>
                </a:cxn>
                <a:cxn ang="0">
                  <a:pos x="T8" y="T9"/>
                </a:cxn>
                <a:cxn ang="0">
                  <a:pos x="T10" y="T11"/>
                </a:cxn>
              </a:cxnLst>
              <a:rect l="0" t="0" r="r" b="b"/>
              <a:pathLst>
                <a:path w="17" h="17">
                  <a:moveTo>
                    <a:pt x="0" y="0"/>
                  </a:moveTo>
                  <a:lnTo>
                    <a:pt x="11" y="0"/>
                  </a:lnTo>
                  <a:lnTo>
                    <a:pt x="17" y="6"/>
                  </a:lnTo>
                  <a:lnTo>
                    <a:pt x="13" y="17"/>
                  </a:lnTo>
                  <a:lnTo>
                    <a:pt x="5" y="9"/>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91">
              <a:extLst>
                <a:ext uri="{FF2B5EF4-FFF2-40B4-BE49-F238E27FC236}">
                  <a16:creationId xmlns:a16="http://schemas.microsoft.com/office/drawing/2014/main" id="{9F44C1D6-01D4-4241-A80E-DFA0199573D6}"/>
                </a:ext>
              </a:extLst>
            </p:cNvPr>
            <p:cNvSpPr>
              <a:spLocks/>
            </p:cNvSpPr>
            <p:nvPr/>
          </p:nvSpPr>
          <p:spPr bwMode="auto">
            <a:xfrm>
              <a:off x="7019925" y="4090266"/>
              <a:ext cx="93663" cy="133410"/>
            </a:xfrm>
            <a:custGeom>
              <a:avLst/>
              <a:gdLst>
                <a:gd name="T0" fmla="*/ 11 w 59"/>
                <a:gd name="T1" fmla="*/ 0 h 84"/>
                <a:gd name="T2" fmla="*/ 19 w 59"/>
                <a:gd name="T3" fmla="*/ 0 h 84"/>
                <a:gd name="T4" fmla="*/ 27 w 59"/>
                <a:gd name="T5" fmla="*/ 2 h 84"/>
                <a:gd name="T6" fmla="*/ 32 w 59"/>
                <a:gd name="T7" fmla="*/ 0 h 84"/>
                <a:gd name="T8" fmla="*/ 34 w 59"/>
                <a:gd name="T9" fmla="*/ 2 h 84"/>
                <a:gd name="T10" fmla="*/ 30 w 59"/>
                <a:gd name="T11" fmla="*/ 9 h 84"/>
                <a:gd name="T12" fmla="*/ 36 w 59"/>
                <a:gd name="T13" fmla="*/ 19 h 84"/>
                <a:gd name="T14" fmla="*/ 32 w 59"/>
                <a:gd name="T15" fmla="*/ 31 h 84"/>
                <a:gd name="T16" fmla="*/ 25 w 59"/>
                <a:gd name="T17" fmla="*/ 36 h 84"/>
                <a:gd name="T18" fmla="*/ 23 w 59"/>
                <a:gd name="T19" fmla="*/ 48 h 84"/>
                <a:gd name="T20" fmla="*/ 27 w 59"/>
                <a:gd name="T21" fmla="*/ 57 h 84"/>
                <a:gd name="T22" fmla="*/ 32 w 59"/>
                <a:gd name="T23" fmla="*/ 59 h 84"/>
                <a:gd name="T24" fmla="*/ 40 w 59"/>
                <a:gd name="T25" fmla="*/ 57 h 84"/>
                <a:gd name="T26" fmla="*/ 55 w 59"/>
                <a:gd name="T27" fmla="*/ 67 h 84"/>
                <a:gd name="T28" fmla="*/ 54 w 59"/>
                <a:gd name="T29" fmla="*/ 75 h 84"/>
                <a:gd name="T30" fmla="*/ 59 w 59"/>
                <a:gd name="T31" fmla="*/ 79 h 84"/>
                <a:gd name="T32" fmla="*/ 57 w 59"/>
                <a:gd name="T33" fmla="*/ 84 h 84"/>
                <a:gd name="T34" fmla="*/ 48 w 59"/>
                <a:gd name="T35" fmla="*/ 77 h 84"/>
                <a:gd name="T36" fmla="*/ 42 w 59"/>
                <a:gd name="T37" fmla="*/ 69 h 84"/>
                <a:gd name="T38" fmla="*/ 40 w 59"/>
                <a:gd name="T39" fmla="*/ 75 h 84"/>
                <a:gd name="T40" fmla="*/ 29 w 59"/>
                <a:gd name="T41" fmla="*/ 67 h 84"/>
                <a:gd name="T42" fmla="*/ 17 w 59"/>
                <a:gd name="T43" fmla="*/ 69 h 84"/>
                <a:gd name="T44" fmla="*/ 11 w 59"/>
                <a:gd name="T45" fmla="*/ 65 h 84"/>
                <a:gd name="T46" fmla="*/ 11 w 59"/>
                <a:gd name="T47" fmla="*/ 59 h 84"/>
                <a:gd name="T48" fmla="*/ 15 w 59"/>
                <a:gd name="T49" fmla="*/ 55 h 84"/>
                <a:gd name="T50" fmla="*/ 11 w 59"/>
                <a:gd name="T51" fmla="*/ 54 h 84"/>
                <a:gd name="T52" fmla="*/ 9 w 59"/>
                <a:gd name="T53" fmla="*/ 57 h 84"/>
                <a:gd name="T54" fmla="*/ 2 w 59"/>
                <a:gd name="T55" fmla="*/ 50 h 84"/>
                <a:gd name="T56" fmla="*/ 2 w 59"/>
                <a:gd name="T57" fmla="*/ 42 h 84"/>
                <a:gd name="T58" fmla="*/ 0 w 59"/>
                <a:gd name="T59" fmla="*/ 31 h 84"/>
                <a:gd name="T60" fmla="*/ 6 w 59"/>
                <a:gd name="T61" fmla="*/ 34 h 84"/>
                <a:gd name="T62" fmla="*/ 7 w 59"/>
                <a:gd name="T63" fmla="*/ 13 h 84"/>
                <a:gd name="T64" fmla="*/ 11 w 59"/>
                <a:gd name="T6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 h="84">
                  <a:moveTo>
                    <a:pt x="11" y="0"/>
                  </a:moveTo>
                  <a:lnTo>
                    <a:pt x="19" y="0"/>
                  </a:lnTo>
                  <a:lnTo>
                    <a:pt x="27" y="2"/>
                  </a:lnTo>
                  <a:lnTo>
                    <a:pt x="32" y="0"/>
                  </a:lnTo>
                  <a:lnTo>
                    <a:pt x="34" y="2"/>
                  </a:lnTo>
                  <a:lnTo>
                    <a:pt x="30" y="9"/>
                  </a:lnTo>
                  <a:lnTo>
                    <a:pt x="36" y="19"/>
                  </a:lnTo>
                  <a:lnTo>
                    <a:pt x="32" y="31"/>
                  </a:lnTo>
                  <a:lnTo>
                    <a:pt x="25" y="36"/>
                  </a:lnTo>
                  <a:lnTo>
                    <a:pt x="23" y="48"/>
                  </a:lnTo>
                  <a:lnTo>
                    <a:pt x="27" y="57"/>
                  </a:lnTo>
                  <a:lnTo>
                    <a:pt x="32" y="59"/>
                  </a:lnTo>
                  <a:lnTo>
                    <a:pt x="40" y="57"/>
                  </a:lnTo>
                  <a:lnTo>
                    <a:pt x="55" y="67"/>
                  </a:lnTo>
                  <a:lnTo>
                    <a:pt x="54" y="75"/>
                  </a:lnTo>
                  <a:lnTo>
                    <a:pt x="59" y="79"/>
                  </a:lnTo>
                  <a:lnTo>
                    <a:pt x="57" y="84"/>
                  </a:lnTo>
                  <a:lnTo>
                    <a:pt x="48" y="77"/>
                  </a:lnTo>
                  <a:lnTo>
                    <a:pt x="42" y="69"/>
                  </a:lnTo>
                  <a:lnTo>
                    <a:pt x="40" y="75"/>
                  </a:lnTo>
                  <a:lnTo>
                    <a:pt x="29" y="67"/>
                  </a:lnTo>
                  <a:lnTo>
                    <a:pt x="17" y="69"/>
                  </a:lnTo>
                  <a:lnTo>
                    <a:pt x="11" y="65"/>
                  </a:lnTo>
                  <a:lnTo>
                    <a:pt x="11" y="59"/>
                  </a:lnTo>
                  <a:lnTo>
                    <a:pt x="15" y="55"/>
                  </a:lnTo>
                  <a:lnTo>
                    <a:pt x="11" y="54"/>
                  </a:lnTo>
                  <a:lnTo>
                    <a:pt x="9" y="57"/>
                  </a:lnTo>
                  <a:lnTo>
                    <a:pt x="2" y="50"/>
                  </a:lnTo>
                  <a:lnTo>
                    <a:pt x="2" y="42"/>
                  </a:lnTo>
                  <a:lnTo>
                    <a:pt x="0" y="31"/>
                  </a:lnTo>
                  <a:lnTo>
                    <a:pt x="6" y="34"/>
                  </a:lnTo>
                  <a:lnTo>
                    <a:pt x="7" y="13"/>
                  </a:lnTo>
                  <a:lnTo>
                    <a:pt x="1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93">
              <a:extLst>
                <a:ext uri="{FF2B5EF4-FFF2-40B4-BE49-F238E27FC236}">
                  <a16:creationId xmlns:a16="http://schemas.microsoft.com/office/drawing/2014/main" id="{F6BD6BED-9B8C-40A4-9E97-E697B3671858}"/>
                </a:ext>
              </a:extLst>
            </p:cNvPr>
            <p:cNvSpPr>
              <a:spLocks/>
            </p:cNvSpPr>
            <p:nvPr/>
          </p:nvSpPr>
          <p:spPr bwMode="auto">
            <a:xfrm>
              <a:off x="2879726" y="4090266"/>
              <a:ext cx="39688" cy="12706"/>
            </a:xfrm>
            <a:custGeom>
              <a:avLst/>
              <a:gdLst>
                <a:gd name="T0" fmla="*/ 2 w 25"/>
                <a:gd name="T1" fmla="*/ 0 h 8"/>
                <a:gd name="T2" fmla="*/ 14 w 25"/>
                <a:gd name="T3" fmla="*/ 0 h 8"/>
                <a:gd name="T4" fmla="*/ 19 w 25"/>
                <a:gd name="T5" fmla="*/ 0 h 8"/>
                <a:gd name="T6" fmla="*/ 25 w 25"/>
                <a:gd name="T7" fmla="*/ 2 h 8"/>
                <a:gd name="T8" fmla="*/ 19 w 25"/>
                <a:gd name="T9" fmla="*/ 6 h 8"/>
                <a:gd name="T10" fmla="*/ 10 w 25"/>
                <a:gd name="T11" fmla="*/ 6 h 8"/>
                <a:gd name="T12" fmla="*/ 2 w 25"/>
                <a:gd name="T13" fmla="*/ 8 h 8"/>
                <a:gd name="T14" fmla="*/ 0 w 25"/>
                <a:gd name="T15" fmla="*/ 2 h 8"/>
                <a:gd name="T16" fmla="*/ 2 w 25"/>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
                  <a:moveTo>
                    <a:pt x="2" y="0"/>
                  </a:moveTo>
                  <a:lnTo>
                    <a:pt x="14" y="0"/>
                  </a:lnTo>
                  <a:lnTo>
                    <a:pt x="19" y="0"/>
                  </a:lnTo>
                  <a:lnTo>
                    <a:pt x="25" y="2"/>
                  </a:lnTo>
                  <a:lnTo>
                    <a:pt x="19" y="6"/>
                  </a:lnTo>
                  <a:lnTo>
                    <a:pt x="10" y="6"/>
                  </a:lnTo>
                  <a:lnTo>
                    <a:pt x="2" y="8"/>
                  </a:lnTo>
                  <a:lnTo>
                    <a:pt x="0" y="2"/>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95">
              <a:extLst>
                <a:ext uri="{FF2B5EF4-FFF2-40B4-BE49-F238E27FC236}">
                  <a16:creationId xmlns:a16="http://schemas.microsoft.com/office/drawing/2014/main" id="{BC4184F9-308F-4DB2-813A-F4464B316B82}"/>
                </a:ext>
              </a:extLst>
            </p:cNvPr>
            <p:cNvSpPr>
              <a:spLocks/>
            </p:cNvSpPr>
            <p:nvPr/>
          </p:nvSpPr>
          <p:spPr bwMode="auto">
            <a:xfrm>
              <a:off x="2636838" y="4090266"/>
              <a:ext cx="44450" cy="17471"/>
            </a:xfrm>
            <a:custGeom>
              <a:avLst/>
              <a:gdLst>
                <a:gd name="T0" fmla="*/ 5 w 28"/>
                <a:gd name="T1" fmla="*/ 0 h 11"/>
                <a:gd name="T2" fmla="*/ 9 w 28"/>
                <a:gd name="T3" fmla="*/ 0 h 11"/>
                <a:gd name="T4" fmla="*/ 19 w 28"/>
                <a:gd name="T5" fmla="*/ 2 h 11"/>
                <a:gd name="T6" fmla="*/ 26 w 28"/>
                <a:gd name="T7" fmla="*/ 4 h 11"/>
                <a:gd name="T8" fmla="*/ 28 w 28"/>
                <a:gd name="T9" fmla="*/ 8 h 11"/>
                <a:gd name="T10" fmla="*/ 19 w 28"/>
                <a:gd name="T11" fmla="*/ 8 h 11"/>
                <a:gd name="T12" fmla="*/ 15 w 28"/>
                <a:gd name="T13" fmla="*/ 11 h 11"/>
                <a:gd name="T14" fmla="*/ 7 w 28"/>
                <a:gd name="T15" fmla="*/ 8 h 11"/>
                <a:gd name="T16" fmla="*/ 0 w 28"/>
                <a:gd name="T17" fmla="*/ 2 h 11"/>
                <a:gd name="T18" fmla="*/ 1 w 28"/>
                <a:gd name="T19" fmla="*/ 0 h 11"/>
                <a:gd name="T20" fmla="*/ 5 w 28"/>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
                  <a:moveTo>
                    <a:pt x="5" y="0"/>
                  </a:moveTo>
                  <a:lnTo>
                    <a:pt x="9" y="0"/>
                  </a:lnTo>
                  <a:lnTo>
                    <a:pt x="19" y="2"/>
                  </a:lnTo>
                  <a:lnTo>
                    <a:pt x="26" y="4"/>
                  </a:lnTo>
                  <a:lnTo>
                    <a:pt x="28" y="8"/>
                  </a:lnTo>
                  <a:lnTo>
                    <a:pt x="19" y="8"/>
                  </a:lnTo>
                  <a:lnTo>
                    <a:pt x="15" y="11"/>
                  </a:lnTo>
                  <a:lnTo>
                    <a:pt x="7" y="8"/>
                  </a:lnTo>
                  <a:lnTo>
                    <a:pt x="0" y="2"/>
                  </a:lnTo>
                  <a:lnTo>
                    <a:pt x="1" y="0"/>
                  </a:lnTo>
                  <a:lnTo>
                    <a:pt x="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97">
              <a:extLst>
                <a:ext uri="{FF2B5EF4-FFF2-40B4-BE49-F238E27FC236}">
                  <a16:creationId xmlns:a16="http://schemas.microsoft.com/office/drawing/2014/main" id="{45BAF9BC-C1F7-4AC3-9766-D12210776971}"/>
                </a:ext>
              </a:extLst>
            </p:cNvPr>
            <p:cNvSpPr>
              <a:spLocks/>
            </p:cNvSpPr>
            <p:nvPr/>
          </p:nvSpPr>
          <p:spPr bwMode="auto">
            <a:xfrm>
              <a:off x="2720976" y="4056913"/>
              <a:ext cx="134938" cy="53999"/>
            </a:xfrm>
            <a:custGeom>
              <a:avLst/>
              <a:gdLst>
                <a:gd name="T0" fmla="*/ 18 w 85"/>
                <a:gd name="T1" fmla="*/ 0 h 34"/>
                <a:gd name="T2" fmla="*/ 27 w 85"/>
                <a:gd name="T3" fmla="*/ 0 h 34"/>
                <a:gd name="T4" fmla="*/ 39 w 85"/>
                <a:gd name="T5" fmla="*/ 2 h 34"/>
                <a:gd name="T6" fmla="*/ 41 w 85"/>
                <a:gd name="T7" fmla="*/ 11 h 34"/>
                <a:gd name="T8" fmla="*/ 39 w 85"/>
                <a:gd name="T9" fmla="*/ 2 h 34"/>
                <a:gd name="T10" fmla="*/ 41 w 85"/>
                <a:gd name="T11" fmla="*/ 0 h 34"/>
                <a:gd name="T12" fmla="*/ 50 w 85"/>
                <a:gd name="T13" fmla="*/ 0 h 34"/>
                <a:gd name="T14" fmla="*/ 58 w 85"/>
                <a:gd name="T15" fmla="*/ 4 h 34"/>
                <a:gd name="T16" fmla="*/ 64 w 85"/>
                <a:gd name="T17" fmla="*/ 4 h 34"/>
                <a:gd name="T18" fmla="*/ 66 w 85"/>
                <a:gd name="T19" fmla="*/ 9 h 34"/>
                <a:gd name="T20" fmla="*/ 73 w 85"/>
                <a:gd name="T21" fmla="*/ 9 h 34"/>
                <a:gd name="T22" fmla="*/ 71 w 85"/>
                <a:gd name="T23" fmla="*/ 13 h 34"/>
                <a:gd name="T24" fmla="*/ 79 w 85"/>
                <a:gd name="T25" fmla="*/ 13 h 34"/>
                <a:gd name="T26" fmla="*/ 85 w 85"/>
                <a:gd name="T27" fmla="*/ 19 h 34"/>
                <a:gd name="T28" fmla="*/ 81 w 85"/>
                <a:gd name="T29" fmla="*/ 23 h 34"/>
                <a:gd name="T30" fmla="*/ 73 w 85"/>
                <a:gd name="T31" fmla="*/ 21 h 34"/>
                <a:gd name="T32" fmla="*/ 67 w 85"/>
                <a:gd name="T33" fmla="*/ 23 h 34"/>
                <a:gd name="T34" fmla="*/ 64 w 85"/>
                <a:gd name="T35" fmla="*/ 21 h 34"/>
                <a:gd name="T36" fmla="*/ 60 w 85"/>
                <a:gd name="T37" fmla="*/ 23 h 34"/>
                <a:gd name="T38" fmla="*/ 54 w 85"/>
                <a:gd name="T39" fmla="*/ 25 h 34"/>
                <a:gd name="T40" fmla="*/ 52 w 85"/>
                <a:gd name="T41" fmla="*/ 21 h 34"/>
                <a:gd name="T42" fmla="*/ 48 w 85"/>
                <a:gd name="T43" fmla="*/ 23 h 34"/>
                <a:gd name="T44" fmla="*/ 43 w 85"/>
                <a:gd name="T45" fmla="*/ 34 h 34"/>
                <a:gd name="T46" fmla="*/ 39 w 85"/>
                <a:gd name="T47" fmla="*/ 30 h 34"/>
                <a:gd name="T48" fmla="*/ 39 w 85"/>
                <a:gd name="T49" fmla="*/ 27 h 34"/>
                <a:gd name="T50" fmla="*/ 39 w 85"/>
                <a:gd name="T51" fmla="*/ 23 h 34"/>
                <a:gd name="T52" fmla="*/ 39 w 85"/>
                <a:gd name="T53" fmla="*/ 27 h 34"/>
                <a:gd name="T54" fmla="*/ 29 w 85"/>
                <a:gd name="T55" fmla="*/ 23 h 34"/>
                <a:gd name="T56" fmla="*/ 23 w 85"/>
                <a:gd name="T57" fmla="*/ 25 h 34"/>
                <a:gd name="T58" fmla="*/ 14 w 85"/>
                <a:gd name="T59" fmla="*/ 23 h 34"/>
                <a:gd name="T60" fmla="*/ 8 w 85"/>
                <a:gd name="T61" fmla="*/ 27 h 34"/>
                <a:gd name="T62" fmla="*/ 0 w 85"/>
                <a:gd name="T63" fmla="*/ 23 h 34"/>
                <a:gd name="T64" fmla="*/ 2 w 85"/>
                <a:gd name="T65" fmla="*/ 17 h 34"/>
                <a:gd name="T66" fmla="*/ 14 w 85"/>
                <a:gd name="T67" fmla="*/ 21 h 34"/>
                <a:gd name="T68" fmla="*/ 25 w 85"/>
                <a:gd name="T69" fmla="*/ 21 h 34"/>
                <a:gd name="T70" fmla="*/ 29 w 85"/>
                <a:gd name="T71" fmla="*/ 17 h 34"/>
                <a:gd name="T72" fmla="*/ 23 w 85"/>
                <a:gd name="T73" fmla="*/ 13 h 34"/>
                <a:gd name="T74" fmla="*/ 23 w 85"/>
                <a:gd name="T75" fmla="*/ 9 h 34"/>
                <a:gd name="T76" fmla="*/ 23 w 85"/>
                <a:gd name="T77" fmla="*/ 5 h 34"/>
                <a:gd name="T78" fmla="*/ 14 w 85"/>
                <a:gd name="T79" fmla="*/ 4 h 34"/>
                <a:gd name="T80" fmla="*/ 18 w 85"/>
                <a:gd name="T8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5" h="34">
                  <a:moveTo>
                    <a:pt x="18" y="0"/>
                  </a:moveTo>
                  <a:lnTo>
                    <a:pt x="27" y="0"/>
                  </a:lnTo>
                  <a:lnTo>
                    <a:pt x="39" y="2"/>
                  </a:lnTo>
                  <a:lnTo>
                    <a:pt x="41" y="11"/>
                  </a:lnTo>
                  <a:lnTo>
                    <a:pt x="39" y="2"/>
                  </a:lnTo>
                  <a:lnTo>
                    <a:pt x="41" y="0"/>
                  </a:lnTo>
                  <a:lnTo>
                    <a:pt x="50" y="0"/>
                  </a:lnTo>
                  <a:lnTo>
                    <a:pt x="58" y="4"/>
                  </a:lnTo>
                  <a:lnTo>
                    <a:pt x="64" y="4"/>
                  </a:lnTo>
                  <a:lnTo>
                    <a:pt x="66" y="9"/>
                  </a:lnTo>
                  <a:lnTo>
                    <a:pt x="73" y="9"/>
                  </a:lnTo>
                  <a:lnTo>
                    <a:pt x="71" y="13"/>
                  </a:lnTo>
                  <a:lnTo>
                    <a:pt x="79" y="13"/>
                  </a:lnTo>
                  <a:lnTo>
                    <a:pt x="85" y="19"/>
                  </a:lnTo>
                  <a:lnTo>
                    <a:pt x="81" y="23"/>
                  </a:lnTo>
                  <a:lnTo>
                    <a:pt x="73" y="21"/>
                  </a:lnTo>
                  <a:lnTo>
                    <a:pt x="67" y="23"/>
                  </a:lnTo>
                  <a:lnTo>
                    <a:pt x="64" y="21"/>
                  </a:lnTo>
                  <a:lnTo>
                    <a:pt x="60" y="23"/>
                  </a:lnTo>
                  <a:lnTo>
                    <a:pt x="54" y="25"/>
                  </a:lnTo>
                  <a:lnTo>
                    <a:pt x="52" y="21"/>
                  </a:lnTo>
                  <a:lnTo>
                    <a:pt x="48" y="23"/>
                  </a:lnTo>
                  <a:lnTo>
                    <a:pt x="43" y="34"/>
                  </a:lnTo>
                  <a:lnTo>
                    <a:pt x="39" y="30"/>
                  </a:lnTo>
                  <a:lnTo>
                    <a:pt x="39" y="27"/>
                  </a:lnTo>
                  <a:lnTo>
                    <a:pt x="39" y="23"/>
                  </a:lnTo>
                  <a:lnTo>
                    <a:pt x="39" y="27"/>
                  </a:lnTo>
                  <a:lnTo>
                    <a:pt x="29" y="23"/>
                  </a:lnTo>
                  <a:lnTo>
                    <a:pt x="23" y="25"/>
                  </a:lnTo>
                  <a:lnTo>
                    <a:pt x="14" y="23"/>
                  </a:lnTo>
                  <a:lnTo>
                    <a:pt x="8" y="27"/>
                  </a:lnTo>
                  <a:lnTo>
                    <a:pt x="0" y="23"/>
                  </a:lnTo>
                  <a:lnTo>
                    <a:pt x="2" y="17"/>
                  </a:lnTo>
                  <a:lnTo>
                    <a:pt x="14" y="21"/>
                  </a:lnTo>
                  <a:lnTo>
                    <a:pt x="25" y="21"/>
                  </a:lnTo>
                  <a:lnTo>
                    <a:pt x="29" y="17"/>
                  </a:lnTo>
                  <a:lnTo>
                    <a:pt x="23" y="13"/>
                  </a:lnTo>
                  <a:lnTo>
                    <a:pt x="23" y="9"/>
                  </a:lnTo>
                  <a:lnTo>
                    <a:pt x="23" y="5"/>
                  </a:lnTo>
                  <a:lnTo>
                    <a:pt x="14" y="4"/>
                  </a:lnTo>
                  <a:lnTo>
                    <a:pt x="18"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99">
              <a:extLst>
                <a:ext uri="{FF2B5EF4-FFF2-40B4-BE49-F238E27FC236}">
                  <a16:creationId xmlns:a16="http://schemas.microsoft.com/office/drawing/2014/main" id="{AE90907B-33A9-4032-8DAC-57D686BF224B}"/>
                </a:ext>
              </a:extLst>
            </p:cNvPr>
            <p:cNvSpPr>
              <a:spLocks/>
            </p:cNvSpPr>
            <p:nvPr/>
          </p:nvSpPr>
          <p:spPr bwMode="auto">
            <a:xfrm>
              <a:off x="6769100" y="4050560"/>
              <a:ext cx="55563" cy="42882"/>
            </a:xfrm>
            <a:custGeom>
              <a:avLst/>
              <a:gdLst>
                <a:gd name="T0" fmla="*/ 23 w 35"/>
                <a:gd name="T1" fmla="*/ 0 h 27"/>
                <a:gd name="T2" fmla="*/ 31 w 35"/>
                <a:gd name="T3" fmla="*/ 0 h 27"/>
                <a:gd name="T4" fmla="*/ 35 w 35"/>
                <a:gd name="T5" fmla="*/ 6 h 27"/>
                <a:gd name="T6" fmla="*/ 27 w 35"/>
                <a:gd name="T7" fmla="*/ 13 h 27"/>
                <a:gd name="T8" fmla="*/ 25 w 35"/>
                <a:gd name="T9" fmla="*/ 21 h 27"/>
                <a:gd name="T10" fmla="*/ 14 w 35"/>
                <a:gd name="T11" fmla="*/ 27 h 27"/>
                <a:gd name="T12" fmla="*/ 0 w 35"/>
                <a:gd name="T13" fmla="*/ 25 h 27"/>
                <a:gd name="T14" fmla="*/ 0 w 35"/>
                <a:gd name="T15" fmla="*/ 11 h 27"/>
                <a:gd name="T16" fmla="*/ 8 w 35"/>
                <a:gd name="T17" fmla="*/ 4 h 27"/>
                <a:gd name="T18" fmla="*/ 23 w 35"/>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7">
                  <a:moveTo>
                    <a:pt x="23" y="0"/>
                  </a:moveTo>
                  <a:lnTo>
                    <a:pt x="31" y="0"/>
                  </a:lnTo>
                  <a:lnTo>
                    <a:pt x="35" y="6"/>
                  </a:lnTo>
                  <a:lnTo>
                    <a:pt x="27" y="13"/>
                  </a:lnTo>
                  <a:lnTo>
                    <a:pt x="25" y="21"/>
                  </a:lnTo>
                  <a:lnTo>
                    <a:pt x="14" y="27"/>
                  </a:lnTo>
                  <a:lnTo>
                    <a:pt x="0" y="25"/>
                  </a:lnTo>
                  <a:lnTo>
                    <a:pt x="0" y="11"/>
                  </a:lnTo>
                  <a:lnTo>
                    <a:pt x="8" y="4"/>
                  </a:lnTo>
                  <a:lnTo>
                    <a:pt x="2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101">
              <a:extLst>
                <a:ext uri="{FF2B5EF4-FFF2-40B4-BE49-F238E27FC236}">
                  <a16:creationId xmlns:a16="http://schemas.microsoft.com/office/drawing/2014/main" id="{FBDAC725-79E4-4424-BEA3-A05B4B093458}"/>
                </a:ext>
              </a:extLst>
            </p:cNvPr>
            <p:cNvSpPr>
              <a:spLocks/>
            </p:cNvSpPr>
            <p:nvPr/>
          </p:nvSpPr>
          <p:spPr bwMode="auto">
            <a:xfrm>
              <a:off x="917577" y="4050560"/>
              <a:ext cx="28575" cy="27000"/>
            </a:xfrm>
            <a:custGeom>
              <a:avLst/>
              <a:gdLst>
                <a:gd name="T0" fmla="*/ 2 w 18"/>
                <a:gd name="T1" fmla="*/ 0 h 17"/>
                <a:gd name="T2" fmla="*/ 4 w 18"/>
                <a:gd name="T3" fmla="*/ 0 h 17"/>
                <a:gd name="T4" fmla="*/ 10 w 18"/>
                <a:gd name="T5" fmla="*/ 0 h 17"/>
                <a:gd name="T6" fmla="*/ 12 w 18"/>
                <a:gd name="T7" fmla="*/ 2 h 17"/>
                <a:gd name="T8" fmla="*/ 14 w 18"/>
                <a:gd name="T9" fmla="*/ 4 h 17"/>
                <a:gd name="T10" fmla="*/ 18 w 18"/>
                <a:gd name="T11" fmla="*/ 9 h 17"/>
                <a:gd name="T12" fmla="*/ 18 w 18"/>
                <a:gd name="T13" fmla="*/ 11 h 17"/>
                <a:gd name="T14" fmla="*/ 12 w 18"/>
                <a:gd name="T15" fmla="*/ 13 h 17"/>
                <a:gd name="T16" fmla="*/ 8 w 18"/>
                <a:gd name="T17" fmla="*/ 17 h 17"/>
                <a:gd name="T18" fmla="*/ 6 w 18"/>
                <a:gd name="T19" fmla="*/ 17 h 17"/>
                <a:gd name="T20" fmla="*/ 2 w 18"/>
                <a:gd name="T21" fmla="*/ 17 h 17"/>
                <a:gd name="T22" fmla="*/ 2 w 18"/>
                <a:gd name="T23" fmla="*/ 13 h 17"/>
                <a:gd name="T24" fmla="*/ 0 w 18"/>
                <a:gd name="T25" fmla="*/ 6 h 17"/>
                <a:gd name="T26" fmla="*/ 0 w 18"/>
                <a:gd name="T27" fmla="*/ 4 h 17"/>
                <a:gd name="T28" fmla="*/ 4 w 18"/>
                <a:gd name="T29" fmla="*/ 2 h 17"/>
                <a:gd name="T30" fmla="*/ 2 w 18"/>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7">
                  <a:moveTo>
                    <a:pt x="2" y="0"/>
                  </a:moveTo>
                  <a:lnTo>
                    <a:pt x="4" y="0"/>
                  </a:lnTo>
                  <a:lnTo>
                    <a:pt x="10" y="0"/>
                  </a:lnTo>
                  <a:lnTo>
                    <a:pt x="12" y="2"/>
                  </a:lnTo>
                  <a:lnTo>
                    <a:pt x="14" y="4"/>
                  </a:lnTo>
                  <a:lnTo>
                    <a:pt x="18" y="9"/>
                  </a:lnTo>
                  <a:lnTo>
                    <a:pt x="18" y="11"/>
                  </a:lnTo>
                  <a:lnTo>
                    <a:pt x="12" y="13"/>
                  </a:lnTo>
                  <a:lnTo>
                    <a:pt x="8" y="17"/>
                  </a:lnTo>
                  <a:lnTo>
                    <a:pt x="6" y="17"/>
                  </a:lnTo>
                  <a:lnTo>
                    <a:pt x="2" y="17"/>
                  </a:lnTo>
                  <a:lnTo>
                    <a:pt x="2" y="13"/>
                  </a:lnTo>
                  <a:lnTo>
                    <a:pt x="0" y="6"/>
                  </a:lnTo>
                  <a:lnTo>
                    <a:pt x="0" y="4"/>
                  </a:lnTo>
                  <a:lnTo>
                    <a:pt x="4" y="2"/>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103">
              <a:extLst>
                <a:ext uri="{FF2B5EF4-FFF2-40B4-BE49-F238E27FC236}">
                  <a16:creationId xmlns:a16="http://schemas.microsoft.com/office/drawing/2014/main" id="{4E1FDD66-48F6-43CE-8FB1-29AE920F26BD}"/>
                </a:ext>
              </a:extLst>
            </p:cNvPr>
            <p:cNvSpPr>
              <a:spLocks/>
            </p:cNvSpPr>
            <p:nvPr/>
          </p:nvSpPr>
          <p:spPr bwMode="auto">
            <a:xfrm>
              <a:off x="903289" y="4031501"/>
              <a:ext cx="14288" cy="9529"/>
            </a:xfrm>
            <a:custGeom>
              <a:avLst/>
              <a:gdLst>
                <a:gd name="T0" fmla="*/ 2 w 9"/>
                <a:gd name="T1" fmla="*/ 0 h 6"/>
                <a:gd name="T2" fmla="*/ 6 w 9"/>
                <a:gd name="T3" fmla="*/ 2 h 6"/>
                <a:gd name="T4" fmla="*/ 9 w 9"/>
                <a:gd name="T5" fmla="*/ 2 h 6"/>
                <a:gd name="T6" fmla="*/ 9 w 9"/>
                <a:gd name="T7" fmla="*/ 4 h 6"/>
                <a:gd name="T8" fmla="*/ 4 w 9"/>
                <a:gd name="T9" fmla="*/ 6 h 6"/>
                <a:gd name="T10" fmla="*/ 2 w 9"/>
                <a:gd name="T11" fmla="*/ 2 h 6"/>
                <a:gd name="T12" fmla="*/ 0 w 9"/>
                <a:gd name="T13" fmla="*/ 2 h 6"/>
                <a:gd name="T14" fmla="*/ 2 w 9"/>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2" y="0"/>
                  </a:moveTo>
                  <a:lnTo>
                    <a:pt x="6" y="2"/>
                  </a:lnTo>
                  <a:lnTo>
                    <a:pt x="9" y="2"/>
                  </a:lnTo>
                  <a:lnTo>
                    <a:pt x="9" y="4"/>
                  </a:lnTo>
                  <a:lnTo>
                    <a:pt x="4" y="6"/>
                  </a:lnTo>
                  <a:lnTo>
                    <a:pt x="2" y="2"/>
                  </a:lnTo>
                  <a:lnTo>
                    <a:pt x="0" y="2"/>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105">
              <a:extLst>
                <a:ext uri="{FF2B5EF4-FFF2-40B4-BE49-F238E27FC236}">
                  <a16:creationId xmlns:a16="http://schemas.microsoft.com/office/drawing/2014/main" id="{EA8ECA2B-A277-4C1A-9ED0-9967A366BC17}"/>
                </a:ext>
              </a:extLst>
            </p:cNvPr>
            <p:cNvSpPr>
              <a:spLocks/>
            </p:cNvSpPr>
            <p:nvPr/>
          </p:nvSpPr>
          <p:spPr bwMode="auto">
            <a:xfrm>
              <a:off x="890589" y="4026737"/>
              <a:ext cx="12700" cy="4765"/>
            </a:xfrm>
            <a:custGeom>
              <a:avLst/>
              <a:gdLst>
                <a:gd name="T0" fmla="*/ 0 w 8"/>
                <a:gd name="T1" fmla="*/ 0 h 3"/>
                <a:gd name="T2" fmla="*/ 8 w 8"/>
                <a:gd name="T3" fmla="*/ 1 h 3"/>
                <a:gd name="T4" fmla="*/ 8 w 8"/>
                <a:gd name="T5" fmla="*/ 3 h 3"/>
                <a:gd name="T6" fmla="*/ 0 w 8"/>
                <a:gd name="T7" fmla="*/ 1 h 3"/>
                <a:gd name="T8" fmla="*/ 0 w 8"/>
                <a:gd name="T9" fmla="*/ 0 h 3"/>
              </a:gdLst>
              <a:ahLst/>
              <a:cxnLst>
                <a:cxn ang="0">
                  <a:pos x="T0" y="T1"/>
                </a:cxn>
                <a:cxn ang="0">
                  <a:pos x="T2" y="T3"/>
                </a:cxn>
                <a:cxn ang="0">
                  <a:pos x="T4" y="T5"/>
                </a:cxn>
                <a:cxn ang="0">
                  <a:pos x="T6" y="T7"/>
                </a:cxn>
                <a:cxn ang="0">
                  <a:pos x="T8" y="T9"/>
                </a:cxn>
              </a:cxnLst>
              <a:rect l="0" t="0" r="r" b="b"/>
              <a:pathLst>
                <a:path w="8" h="3">
                  <a:moveTo>
                    <a:pt x="0" y="0"/>
                  </a:moveTo>
                  <a:lnTo>
                    <a:pt x="8" y="1"/>
                  </a:lnTo>
                  <a:lnTo>
                    <a:pt x="8" y="3"/>
                  </a:lnTo>
                  <a:lnTo>
                    <a:pt x="0" y="1"/>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107">
              <a:extLst>
                <a:ext uri="{FF2B5EF4-FFF2-40B4-BE49-F238E27FC236}">
                  <a16:creationId xmlns:a16="http://schemas.microsoft.com/office/drawing/2014/main" id="{13DA351B-BED9-48FE-AD3D-0DC682273886}"/>
                </a:ext>
              </a:extLst>
            </p:cNvPr>
            <p:cNvSpPr>
              <a:spLocks/>
            </p:cNvSpPr>
            <p:nvPr/>
          </p:nvSpPr>
          <p:spPr bwMode="auto">
            <a:xfrm>
              <a:off x="869952" y="4014032"/>
              <a:ext cx="14288" cy="12706"/>
            </a:xfrm>
            <a:custGeom>
              <a:avLst/>
              <a:gdLst>
                <a:gd name="T0" fmla="*/ 2 w 9"/>
                <a:gd name="T1" fmla="*/ 0 h 8"/>
                <a:gd name="T2" fmla="*/ 3 w 9"/>
                <a:gd name="T3" fmla="*/ 0 h 8"/>
                <a:gd name="T4" fmla="*/ 9 w 9"/>
                <a:gd name="T5" fmla="*/ 6 h 8"/>
                <a:gd name="T6" fmla="*/ 7 w 9"/>
                <a:gd name="T7" fmla="*/ 8 h 8"/>
                <a:gd name="T8" fmla="*/ 5 w 9"/>
                <a:gd name="T9" fmla="*/ 8 h 8"/>
                <a:gd name="T10" fmla="*/ 2 w 9"/>
                <a:gd name="T11" fmla="*/ 6 h 8"/>
                <a:gd name="T12" fmla="*/ 0 w 9"/>
                <a:gd name="T13" fmla="*/ 2 h 8"/>
                <a:gd name="T14" fmla="*/ 0 w 9"/>
                <a:gd name="T15" fmla="*/ 2 h 8"/>
                <a:gd name="T16" fmla="*/ 2 w 9"/>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2" y="0"/>
                  </a:moveTo>
                  <a:lnTo>
                    <a:pt x="3" y="0"/>
                  </a:lnTo>
                  <a:lnTo>
                    <a:pt x="9" y="6"/>
                  </a:lnTo>
                  <a:lnTo>
                    <a:pt x="7" y="8"/>
                  </a:lnTo>
                  <a:lnTo>
                    <a:pt x="5" y="8"/>
                  </a:lnTo>
                  <a:lnTo>
                    <a:pt x="2" y="6"/>
                  </a:lnTo>
                  <a:lnTo>
                    <a:pt x="0" y="2"/>
                  </a:lnTo>
                  <a:lnTo>
                    <a:pt x="0" y="2"/>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109">
              <a:extLst>
                <a:ext uri="{FF2B5EF4-FFF2-40B4-BE49-F238E27FC236}">
                  <a16:creationId xmlns:a16="http://schemas.microsoft.com/office/drawing/2014/main" id="{8D932769-77AE-4FCA-87EF-C66D2D5AC49D}"/>
                </a:ext>
              </a:extLst>
            </p:cNvPr>
            <p:cNvSpPr>
              <a:spLocks/>
            </p:cNvSpPr>
            <p:nvPr/>
          </p:nvSpPr>
          <p:spPr bwMode="auto">
            <a:xfrm>
              <a:off x="836614" y="4001326"/>
              <a:ext cx="7938" cy="9529"/>
            </a:xfrm>
            <a:custGeom>
              <a:avLst/>
              <a:gdLst>
                <a:gd name="T0" fmla="*/ 1 w 5"/>
                <a:gd name="T1" fmla="*/ 0 h 6"/>
                <a:gd name="T2" fmla="*/ 5 w 5"/>
                <a:gd name="T3" fmla="*/ 2 h 6"/>
                <a:gd name="T4" fmla="*/ 5 w 5"/>
                <a:gd name="T5" fmla="*/ 6 h 6"/>
                <a:gd name="T6" fmla="*/ 3 w 5"/>
                <a:gd name="T7" fmla="*/ 6 h 6"/>
                <a:gd name="T8" fmla="*/ 0 w 5"/>
                <a:gd name="T9" fmla="*/ 4 h 6"/>
                <a:gd name="T10" fmla="*/ 0 w 5"/>
                <a:gd name="T11" fmla="*/ 2 h 6"/>
                <a:gd name="T12" fmla="*/ 1 w 5"/>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1" y="0"/>
                  </a:moveTo>
                  <a:lnTo>
                    <a:pt x="5" y="2"/>
                  </a:lnTo>
                  <a:lnTo>
                    <a:pt x="5" y="6"/>
                  </a:lnTo>
                  <a:lnTo>
                    <a:pt x="3" y="6"/>
                  </a:lnTo>
                  <a:lnTo>
                    <a:pt x="0" y="4"/>
                  </a:lnTo>
                  <a:lnTo>
                    <a:pt x="0" y="2"/>
                  </a:lnTo>
                  <a:lnTo>
                    <a:pt x="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111">
              <a:extLst>
                <a:ext uri="{FF2B5EF4-FFF2-40B4-BE49-F238E27FC236}">
                  <a16:creationId xmlns:a16="http://schemas.microsoft.com/office/drawing/2014/main" id="{080846FC-9D3B-4936-B032-4DC2C6CE7473}"/>
                </a:ext>
              </a:extLst>
            </p:cNvPr>
            <p:cNvSpPr>
              <a:spLocks/>
            </p:cNvSpPr>
            <p:nvPr/>
          </p:nvSpPr>
          <p:spPr bwMode="auto">
            <a:xfrm>
              <a:off x="2489202" y="3980679"/>
              <a:ext cx="238125" cy="76234"/>
            </a:xfrm>
            <a:custGeom>
              <a:avLst/>
              <a:gdLst>
                <a:gd name="T0" fmla="*/ 37 w 150"/>
                <a:gd name="T1" fmla="*/ 0 h 48"/>
                <a:gd name="T2" fmla="*/ 48 w 150"/>
                <a:gd name="T3" fmla="*/ 2 h 48"/>
                <a:gd name="T4" fmla="*/ 60 w 150"/>
                <a:gd name="T5" fmla="*/ 2 h 48"/>
                <a:gd name="T6" fmla="*/ 73 w 150"/>
                <a:gd name="T7" fmla="*/ 6 h 48"/>
                <a:gd name="T8" fmla="*/ 79 w 150"/>
                <a:gd name="T9" fmla="*/ 11 h 48"/>
                <a:gd name="T10" fmla="*/ 93 w 150"/>
                <a:gd name="T11" fmla="*/ 9 h 48"/>
                <a:gd name="T12" fmla="*/ 96 w 150"/>
                <a:gd name="T13" fmla="*/ 13 h 48"/>
                <a:gd name="T14" fmla="*/ 110 w 150"/>
                <a:gd name="T15" fmla="*/ 21 h 48"/>
                <a:gd name="T16" fmla="*/ 118 w 150"/>
                <a:gd name="T17" fmla="*/ 29 h 48"/>
                <a:gd name="T18" fmla="*/ 121 w 150"/>
                <a:gd name="T19" fmla="*/ 29 h 48"/>
                <a:gd name="T20" fmla="*/ 131 w 150"/>
                <a:gd name="T21" fmla="*/ 32 h 48"/>
                <a:gd name="T22" fmla="*/ 129 w 150"/>
                <a:gd name="T23" fmla="*/ 34 h 48"/>
                <a:gd name="T24" fmla="*/ 139 w 150"/>
                <a:gd name="T25" fmla="*/ 36 h 48"/>
                <a:gd name="T26" fmla="*/ 150 w 150"/>
                <a:gd name="T27" fmla="*/ 42 h 48"/>
                <a:gd name="T28" fmla="*/ 148 w 150"/>
                <a:gd name="T29" fmla="*/ 44 h 48"/>
                <a:gd name="T30" fmla="*/ 139 w 150"/>
                <a:gd name="T31" fmla="*/ 48 h 48"/>
                <a:gd name="T32" fmla="*/ 129 w 150"/>
                <a:gd name="T33" fmla="*/ 48 h 48"/>
                <a:gd name="T34" fmla="*/ 121 w 150"/>
                <a:gd name="T35" fmla="*/ 46 h 48"/>
                <a:gd name="T36" fmla="*/ 100 w 150"/>
                <a:gd name="T37" fmla="*/ 48 h 48"/>
                <a:gd name="T38" fmla="*/ 110 w 150"/>
                <a:gd name="T39" fmla="*/ 40 h 48"/>
                <a:gd name="T40" fmla="*/ 104 w 150"/>
                <a:gd name="T41" fmla="*/ 36 h 48"/>
                <a:gd name="T42" fmla="*/ 94 w 150"/>
                <a:gd name="T43" fmla="*/ 34 h 48"/>
                <a:gd name="T44" fmla="*/ 91 w 150"/>
                <a:gd name="T45" fmla="*/ 32 h 48"/>
                <a:gd name="T46" fmla="*/ 87 w 150"/>
                <a:gd name="T47" fmla="*/ 23 h 48"/>
                <a:gd name="T48" fmla="*/ 79 w 150"/>
                <a:gd name="T49" fmla="*/ 23 h 48"/>
                <a:gd name="T50" fmla="*/ 66 w 150"/>
                <a:gd name="T51" fmla="*/ 21 h 48"/>
                <a:gd name="T52" fmla="*/ 62 w 150"/>
                <a:gd name="T53" fmla="*/ 17 h 48"/>
                <a:gd name="T54" fmla="*/ 45 w 150"/>
                <a:gd name="T55" fmla="*/ 15 h 48"/>
                <a:gd name="T56" fmla="*/ 39 w 150"/>
                <a:gd name="T57" fmla="*/ 11 h 48"/>
                <a:gd name="T58" fmla="*/ 45 w 150"/>
                <a:gd name="T59" fmla="*/ 7 h 48"/>
                <a:gd name="T60" fmla="*/ 31 w 150"/>
                <a:gd name="T61" fmla="*/ 6 h 48"/>
                <a:gd name="T62" fmla="*/ 20 w 150"/>
                <a:gd name="T63" fmla="*/ 15 h 48"/>
                <a:gd name="T64" fmla="*/ 14 w 150"/>
                <a:gd name="T65" fmla="*/ 15 h 48"/>
                <a:gd name="T66" fmla="*/ 12 w 150"/>
                <a:gd name="T67" fmla="*/ 19 h 48"/>
                <a:gd name="T68" fmla="*/ 6 w 150"/>
                <a:gd name="T69" fmla="*/ 21 h 48"/>
                <a:gd name="T70" fmla="*/ 0 w 150"/>
                <a:gd name="T71" fmla="*/ 19 h 48"/>
                <a:gd name="T72" fmla="*/ 8 w 150"/>
                <a:gd name="T73" fmla="*/ 15 h 48"/>
                <a:gd name="T74" fmla="*/ 10 w 150"/>
                <a:gd name="T75" fmla="*/ 9 h 48"/>
                <a:gd name="T76" fmla="*/ 18 w 150"/>
                <a:gd name="T77" fmla="*/ 6 h 48"/>
                <a:gd name="T78" fmla="*/ 23 w 150"/>
                <a:gd name="T79" fmla="*/ 4 h 48"/>
                <a:gd name="T80" fmla="*/ 33 w 150"/>
                <a:gd name="T81" fmla="*/ 2 h 48"/>
                <a:gd name="T82" fmla="*/ 37 w 150"/>
                <a:gd name="T8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48">
                  <a:moveTo>
                    <a:pt x="37" y="0"/>
                  </a:moveTo>
                  <a:lnTo>
                    <a:pt x="48" y="2"/>
                  </a:lnTo>
                  <a:lnTo>
                    <a:pt x="60" y="2"/>
                  </a:lnTo>
                  <a:lnTo>
                    <a:pt x="73" y="6"/>
                  </a:lnTo>
                  <a:lnTo>
                    <a:pt x="79" y="11"/>
                  </a:lnTo>
                  <a:lnTo>
                    <a:pt x="93" y="9"/>
                  </a:lnTo>
                  <a:lnTo>
                    <a:pt x="96" y="13"/>
                  </a:lnTo>
                  <a:lnTo>
                    <a:pt x="110" y="21"/>
                  </a:lnTo>
                  <a:lnTo>
                    <a:pt x="118" y="29"/>
                  </a:lnTo>
                  <a:lnTo>
                    <a:pt x="121" y="29"/>
                  </a:lnTo>
                  <a:lnTo>
                    <a:pt x="131" y="32"/>
                  </a:lnTo>
                  <a:lnTo>
                    <a:pt x="129" y="34"/>
                  </a:lnTo>
                  <a:lnTo>
                    <a:pt x="139" y="36"/>
                  </a:lnTo>
                  <a:lnTo>
                    <a:pt x="150" y="42"/>
                  </a:lnTo>
                  <a:lnTo>
                    <a:pt x="148" y="44"/>
                  </a:lnTo>
                  <a:lnTo>
                    <a:pt x="139" y="48"/>
                  </a:lnTo>
                  <a:lnTo>
                    <a:pt x="129" y="48"/>
                  </a:lnTo>
                  <a:lnTo>
                    <a:pt x="121" y="46"/>
                  </a:lnTo>
                  <a:lnTo>
                    <a:pt x="100" y="48"/>
                  </a:lnTo>
                  <a:lnTo>
                    <a:pt x="110" y="40"/>
                  </a:lnTo>
                  <a:lnTo>
                    <a:pt x="104" y="36"/>
                  </a:lnTo>
                  <a:lnTo>
                    <a:pt x="94" y="34"/>
                  </a:lnTo>
                  <a:lnTo>
                    <a:pt x="91" y="32"/>
                  </a:lnTo>
                  <a:lnTo>
                    <a:pt x="87" y="23"/>
                  </a:lnTo>
                  <a:lnTo>
                    <a:pt x="79" y="23"/>
                  </a:lnTo>
                  <a:lnTo>
                    <a:pt x="66" y="21"/>
                  </a:lnTo>
                  <a:lnTo>
                    <a:pt x="62" y="17"/>
                  </a:lnTo>
                  <a:lnTo>
                    <a:pt x="45" y="15"/>
                  </a:lnTo>
                  <a:lnTo>
                    <a:pt x="39" y="11"/>
                  </a:lnTo>
                  <a:lnTo>
                    <a:pt x="45" y="7"/>
                  </a:lnTo>
                  <a:lnTo>
                    <a:pt x="31" y="6"/>
                  </a:lnTo>
                  <a:lnTo>
                    <a:pt x="20" y="15"/>
                  </a:lnTo>
                  <a:lnTo>
                    <a:pt x="14" y="15"/>
                  </a:lnTo>
                  <a:lnTo>
                    <a:pt x="12" y="19"/>
                  </a:lnTo>
                  <a:lnTo>
                    <a:pt x="6" y="21"/>
                  </a:lnTo>
                  <a:lnTo>
                    <a:pt x="0" y="19"/>
                  </a:lnTo>
                  <a:lnTo>
                    <a:pt x="8" y="15"/>
                  </a:lnTo>
                  <a:lnTo>
                    <a:pt x="10" y="9"/>
                  </a:lnTo>
                  <a:lnTo>
                    <a:pt x="18" y="6"/>
                  </a:lnTo>
                  <a:lnTo>
                    <a:pt x="23" y="4"/>
                  </a:lnTo>
                  <a:lnTo>
                    <a:pt x="33" y="2"/>
                  </a:lnTo>
                  <a:lnTo>
                    <a:pt x="3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113">
              <a:extLst>
                <a:ext uri="{FF2B5EF4-FFF2-40B4-BE49-F238E27FC236}">
                  <a16:creationId xmlns:a16="http://schemas.microsoft.com/office/drawing/2014/main" id="{1E185463-0F4E-4E10-A2DC-0B9B0F15D28E}"/>
                </a:ext>
              </a:extLst>
            </p:cNvPr>
            <p:cNvSpPr>
              <a:spLocks/>
            </p:cNvSpPr>
            <p:nvPr/>
          </p:nvSpPr>
          <p:spPr bwMode="auto">
            <a:xfrm>
              <a:off x="2633663" y="3931444"/>
              <a:ext cx="17463" cy="36530"/>
            </a:xfrm>
            <a:custGeom>
              <a:avLst/>
              <a:gdLst>
                <a:gd name="T0" fmla="*/ 3 w 11"/>
                <a:gd name="T1" fmla="*/ 0 h 23"/>
                <a:gd name="T2" fmla="*/ 7 w 11"/>
                <a:gd name="T3" fmla="*/ 2 h 23"/>
                <a:gd name="T4" fmla="*/ 11 w 11"/>
                <a:gd name="T5" fmla="*/ 13 h 23"/>
                <a:gd name="T6" fmla="*/ 11 w 11"/>
                <a:gd name="T7" fmla="*/ 23 h 23"/>
                <a:gd name="T8" fmla="*/ 7 w 11"/>
                <a:gd name="T9" fmla="*/ 23 h 23"/>
                <a:gd name="T10" fmla="*/ 3 w 11"/>
                <a:gd name="T11" fmla="*/ 13 h 23"/>
                <a:gd name="T12" fmla="*/ 0 w 11"/>
                <a:gd name="T13" fmla="*/ 12 h 23"/>
                <a:gd name="T14" fmla="*/ 3 w 11"/>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3">
                  <a:moveTo>
                    <a:pt x="3" y="0"/>
                  </a:moveTo>
                  <a:lnTo>
                    <a:pt x="7" y="2"/>
                  </a:lnTo>
                  <a:lnTo>
                    <a:pt x="11" y="13"/>
                  </a:lnTo>
                  <a:lnTo>
                    <a:pt x="11" y="23"/>
                  </a:lnTo>
                  <a:lnTo>
                    <a:pt x="7" y="23"/>
                  </a:lnTo>
                  <a:lnTo>
                    <a:pt x="3" y="13"/>
                  </a:lnTo>
                  <a:lnTo>
                    <a:pt x="0" y="12"/>
                  </a:lnTo>
                  <a:lnTo>
                    <a:pt x="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115">
              <a:extLst>
                <a:ext uri="{FF2B5EF4-FFF2-40B4-BE49-F238E27FC236}">
                  <a16:creationId xmlns:a16="http://schemas.microsoft.com/office/drawing/2014/main" id="{62C7EA61-3058-4F25-BC8B-8C21B67A39EF}"/>
                </a:ext>
              </a:extLst>
            </p:cNvPr>
            <p:cNvSpPr>
              <a:spLocks/>
            </p:cNvSpPr>
            <p:nvPr/>
          </p:nvSpPr>
          <p:spPr bwMode="auto">
            <a:xfrm>
              <a:off x="7023100" y="3928268"/>
              <a:ext cx="42863" cy="82587"/>
            </a:xfrm>
            <a:custGeom>
              <a:avLst/>
              <a:gdLst>
                <a:gd name="T0" fmla="*/ 21 w 27"/>
                <a:gd name="T1" fmla="*/ 0 h 52"/>
                <a:gd name="T2" fmla="*/ 27 w 27"/>
                <a:gd name="T3" fmla="*/ 6 h 52"/>
                <a:gd name="T4" fmla="*/ 25 w 27"/>
                <a:gd name="T5" fmla="*/ 14 h 52"/>
                <a:gd name="T6" fmla="*/ 15 w 27"/>
                <a:gd name="T7" fmla="*/ 39 h 52"/>
                <a:gd name="T8" fmla="*/ 9 w 27"/>
                <a:gd name="T9" fmla="*/ 52 h 52"/>
                <a:gd name="T10" fmla="*/ 2 w 27"/>
                <a:gd name="T11" fmla="*/ 39 h 52"/>
                <a:gd name="T12" fmla="*/ 0 w 27"/>
                <a:gd name="T13" fmla="*/ 29 h 52"/>
                <a:gd name="T14" fmla="*/ 9 w 27"/>
                <a:gd name="T15" fmla="*/ 14 h 52"/>
                <a:gd name="T16" fmla="*/ 21 w 27"/>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2">
                  <a:moveTo>
                    <a:pt x="21" y="0"/>
                  </a:moveTo>
                  <a:lnTo>
                    <a:pt x="27" y="6"/>
                  </a:lnTo>
                  <a:lnTo>
                    <a:pt x="25" y="14"/>
                  </a:lnTo>
                  <a:lnTo>
                    <a:pt x="15" y="39"/>
                  </a:lnTo>
                  <a:lnTo>
                    <a:pt x="9" y="52"/>
                  </a:lnTo>
                  <a:lnTo>
                    <a:pt x="2" y="39"/>
                  </a:lnTo>
                  <a:lnTo>
                    <a:pt x="0" y="29"/>
                  </a:lnTo>
                  <a:lnTo>
                    <a:pt x="9" y="14"/>
                  </a:lnTo>
                  <a:lnTo>
                    <a:pt x="2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117">
              <a:extLst>
                <a:ext uri="{FF2B5EF4-FFF2-40B4-BE49-F238E27FC236}">
                  <a16:creationId xmlns:a16="http://schemas.microsoft.com/office/drawing/2014/main" id="{74062FA8-DA72-4752-8A8D-EF8DFCF0BE09}"/>
                </a:ext>
              </a:extLst>
            </p:cNvPr>
            <p:cNvSpPr>
              <a:spLocks/>
            </p:cNvSpPr>
            <p:nvPr/>
          </p:nvSpPr>
          <p:spPr bwMode="auto">
            <a:xfrm>
              <a:off x="5608638" y="3907621"/>
              <a:ext cx="9525" cy="14294"/>
            </a:xfrm>
            <a:custGeom>
              <a:avLst/>
              <a:gdLst>
                <a:gd name="T0" fmla="*/ 4 w 6"/>
                <a:gd name="T1" fmla="*/ 0 h 9"/>
                <a:gd name="T2" fmla="*/ 6 w 6"/>
                <a:gd name="T3" fmla="*/ 0 h 9"/>
                <a:gd name="T4" fmla="*/ 4 w 6"/>
                <a:gd name="T5" fmla="*/ 5 h 9"/>
                <a:gd name="T6" fmla="*/ 2 w 6"/>
                <a:gd name="T7" fmla="*/ 9 h 9"/>
                <a:gd name="T8" fmla="*/ 0 w 6"/>
                <a:gd name="T9" fmla="*/ 4 h 9"/>
                <a:gd name="T10" fmla="*/ 4 w 6"/>
                <a:gd name="T11" fmla="*/ 0 h 9"/>
              </a:gdLst>
              <a:ahLst/>
              <a:cxnLst>
                <a:cxn ang="0">
                  <a:pos x="T0" y="T1"/>
                </a:cxn>
                <a:cxn ang="0">
                  <a:pos x="T2" y="T3"/>
                </a:cxn>
                <a:cxn ang="0">
                  <a:pos x="T4" y="T5"/>
                </a:cxn>
                <a:cxn ang="0">
                  <a:pos x="T6" y="T7"/>
                </a:cxn>
                <a:cxn ang="0">
                  <a:pos x="T8" y="T9"/>
                </a:cxn>
                <a:cxn ang="0">
                  <a:pos x="T10" y="T11"/>
                </a:cxn>
              </a:cxnLst>
              <a:rect l="0" t="0" r="r" b="b"/>
              <a:pathLst>
                <a:path w="6" h="9">
                  <a:moveTo>
                    <a:pt x="4" y="0"/>
                  </a:moveTo>
                  <a:lnTo>
                    <a:pt x="6" y="0"/>
                  </a:lnTo>
                  <a:lnTo>
                    <a:pt x="4" y="5"/>
                  </a:lnTo>
                  <a:lnTo>
                    <a:pt x="2" y="9"/>
                  </a:lnTo>
                  <a:lnTo>
                    <a:pt x="0" y="4"/>
                  </a:lnTo>
                  <a:lnTo>
                    <a:pt x="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119">
              <a:extLst>
                <a:ext uri="{FF2B5EF4-FFF2-40B4-BE49-F238E27FC236}">
                  <a16:creationId xmlns:a16="http://schemas.microsoft.com/office/drawing/2014/main" id="{031D4A47-A1DB-460E-8271-17EBD81654B2}"/>
                </a:ext>
              </a:extLst>
            </p:cNvPr>
            <p:cNvSpPr>
              <a:spLocks/>
            </p:cNvSpPr>
            <p:nvPr/>
          </p:nvSpPr>
          <p:spPr bwMode="auto">
            <a:xfrm>
              <a:off x="2620963" y="3891738"/>
              <a:ext cx="23813" cy="12706"/>
            </a:xfrm>
            <a:custGeom>
              <a:avLst/>
              <a:gdLst>
                <a:gd name="T0" fmla="*/ 6 w 15"/>
                <a:gd name="T1" fmla="*/ 0 h 8"/>
                <a:gd name="T2" fmla="*/ 15 w 15"/>
                <a:gd name="T3" fmla="*/ 2 h 8"/>
                <a:gd name="T4" fmla="*/ 15 w 15"/>
                <a:gd name="T5" fmla="*/ 6 h 8"/>
                <a:gd name="T6" fmla="*/ 2 w 15"/>
                <a:gd name="T7" fmla="*/ 8 h 8"/>
                <a:gd name="T8" fmla="*/ 0 w 15"/>
                <a:gd name="T9" fmla="*/ 2 h 8"/>
                <a:gd name="T10" fmla="*/ 6 w 15"/>
                <a:gd name="T11" fmla="*/ 0 h 8"/>
              </a:gdLst>
              <a:ahLst/>
              <a:cxnLst>
                <a:cxn ang="0">
                  <a:pos x="T0" y="T1"/>
                </a:cxn>
                <a:cxn ang="0">
                  <a:pos x="T2" y="T3"/>
                </a:cxn>
                <a:cxn ang="0">
                  <a:pos x="T4" y="T5"/>
                </a:cxn>
                <a:cxn ang="0">
                  <a:pos x="T6" y="T7"/>
                </a:cxn>
                <a:cxn ang="0">
                  <a:pos x="T8" y="T9"/>
                </a:cxn>
                <a:cxn ang="0">
                  <a:pos x="T10" y="T11"/>
                </a:cxn>
              </a:cxnLst>
              <a:rect l="0" t="0" r="r" b="b"/>
              <a:pathLst>
                <a:path w="15" h="8">
                  <a:moveTo>
                    <a:pt x="6" y="0"/>
                  </a:moveTo>
                  <a:lnTo>
                    <a:pt x="15" y="2"/>
                  </a:lnTo>
                  <a:lnTo>
                    <a:pt x="15" y="6"/>
                  </a:lnTo>
                  <a:lnTo>
                    <a:pt x="2" y="8"/>
                  </a:lnTo>
                  <a:lnTo>
                    <a:pt x="0" y="2"/>
                  </a:lnTo>
                  <a:lnTo>
                    <a:pt x="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121">
              <a:extLst>
                <a:ext uri="{FF2B5EF4-FFF2-40B4-BE49-F238E27FC236}">
                  <a16:creationId xmlns:a16="http://schemas.microsoft.com/office/drawing/2014/main" id="{BA79A05C-1693-41E3-A7EC-9489039F3487}"/>
                </a:ext>
              </a:extLst>
            </p:cNvPr>
            <p:cNvSpPr>
              <a:spLocks/>
            </p:cNvSpPr>
            <p:nvPr/>
          </p:nvSpPr>
          <p:spPr bwMode="auto">
            <a:xfrm>
              <a:off x="2644776" y="3888562"/>
              <a:ext cx="22225" cy="27000"/>
            </a:xfrm>
            <a:custGeom>
              <a:avLst/>
              <a:gdLst>
                <a:gd name="T0" fmla="*/ 0 w 14"/>
                <a:gd name="T1" fmla="*/ 0 h 17"/>
                <a:gd name="T2" fmla="*/ 14 w 14"/>
                <a:gd name="T3" fmla="*/ 8 h 17"/>
                <a:gd name="T4" fmla="*/ 10 w 14"/>
                <a:gd name="T5" fmla="*/ 17 h 17"/>
                <a:gd name="T6" fmla="*/ 8 w 14"/>
                <a:gd name="T7" fmla="*/ 16 h 17"/>
                <a:gd name="T8" fmla="*/ 8 w 14"/>
                <a:gd name="T9" fmla="*/ 8 h 17"/>
                <a:gd name="T10" fmla="*/ 0 w 14"/>
                <a:gd name="T11" fmla="*/ 2 h 17"/>
                <a:gd name="T12" fmla="*/ 0 w 1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4" h="17">
                  <a:moveTo>
                    <a:pt x="0" y="0"/>
                  </a:moveTo>
                  <a:lnTo>
                    <a:pt x="14" y="8"/>
                  </a:lnTo>
                  <a:lnTo>
                    <a:pt x="10" y="17"/>
                  </a:lnTo>
                  <a:lnTo>
                    <a:pt x="8" y="16"/>
                  </a:lnTo>
                  <a:lnTo>
                    <a:pt x="8" y="8"/>
                  </a:lnTo>
                  <a:lnTo>
                    <a:pt x="0" y="2"/>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123">
              <a:extLst>
                <a:ext uri="{FF2B5EF4-FFF2-40B4-BE49-F238E27FC236}">
                  <a16:creationId xmlns:a16="http://schemas.microsoft.com/office/drawing/2014/main" id="{147A2CCF-892A-430E-8A35-6D763F927C9F}"/>
                </a:ext>
              </a:extLst>
            </p:cNvPr>
            <p:cNvSpPr>
              <a:spLocks/>
            </p:cNvSpPr>
            <p:nvPr/>
          </p:nvSpPr>
          <p:spPr bwMode="auto">
            <a:xfrm>
              <a:off x="7292975" y="3712270"/>
              <a:ext cx="55563" cy="39706"/>
            </a:xfrm>
            <a:custGeom>
              <a:avLst/>
              <a:gdLst>
                <a:gd name="T0" fmla="*/ 22 w 35"/>
                <a:gd name="T1" fmla="*/ 0 h 25"/>
                <a:gd name="T2" fmla="*/ 33 w 35"/>
                <a:gd name="T3" fmla="*/ 4 h 25"/>
                <a:gd name="T4" fmla="*/ 35 w 35"/>
                <a:gd name="T5" fmla="*/ 8 h 25"/>
                <a:gd name="T6" fmla="*/ 27 w 35"/>
                <a:gd name="T7" fmla="*/ 19 h 25"/>
                <a:gd name="T8" fmla="*/ 20 w 35"/>
                <a:gd name="T9" fmla="*/ 13 h 25"/>
                <a:gd name="T10" fmla="*/ 14 w 35"/>
                <a:gd name="T11" fmla="*/ 17 h 25"/>
                <a:gd name="T12" fmla="*/ 10 w 35"/>
                <a:gd name="T13" fmla="*/ 25 h 25"/>
                <a:gd name="T14" fmla="*/ 0 w 35"/>
                <a:gd name="T15" fmla="*/ 23 h 25"/>
                <a:gd name="T16" fmla="*/ 0 w 35"/>
                <a:gd name="T17" fmla="*/ 13 h 25"/>
                <a:gd name="T18" fmla="*/ 10 w 35"/>
                <a:gd name="T19" fmla="*/ 6 h 25"/>
                <a:gd name="T20" fmla="*/ 18 w 35"/>
                <a:gd name="T21" fmla="*/ 6 h 25"/>
                <a:gd name="T22" fmla="*/ 22 w 35"/>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25">
                  <a:moveTo>
                    <a:pt x="22" y="0"/>
                  </a:moveTo>
                  <a:lnTo>
                    <a:pt x="33" y="4"/>
                  </a:lnTo>
                  <a:lnTo>
                    <a:pt x="35" y="8"/>
                  </a:lnTo>
                  <a:lnTo>
                    <a:pt x="27" y="19"/>
                  </a:lnTo>
                  <a:lnTo>
                    <a:pt x="20" y="13"/>
                  </a:lnTo>
                  <a:lnTo>
                    <a:pt x="14" y="17"/>
                  </a:lnTo>
                  <a:lnTo>
                    <a:pt x="10" y="25"/>
                  </a:lnTo>
                  <a:lnTo>
                    <a:pt x="0" y="23"/>
                  </a:lnTo>
                  <a:lnTo>
                    <a:pt x="0" y="13"/>
                  </a:lnTo>
                  <a:lnTo>
                    <a:pt x="10" y="6"/>
                  </a:lnTo>
                  <a:lnTo>
                    <a:pt x="18" y="6"/>
                  </a:lnTo>
                  <a:lnTo>
                    <a:pt x="2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125">
              <a:extLst>
                <a:ext uri="{FF2B5EF4-FFF2-40B4-BE49-F238E27FC236}">
                  <a16:creationId xmlns:a16="http://schemas.microsoft.com/office/drawing/2014/main" id="{29785A94-0B88-4940-A41C-A6CE0913B63B}"/>
                </a:ext>
              </a:extLst>
            </p:cNvPr>
            <p:cNvSpPr>
              <a:spLocks/>
            </p:cNvSpPr>
            <p:nvPr/>
          </p:nvSpPr>
          <p:spPr bwMode="auto">
            <a:xfrm>
              <a:off x="5078413" y="3678917"/>
              <a:ext cx="52388" cy="27000"/>
            </a:xfrm>
            <a:custGeom>
              <a:avLst/>
              <a:gdLst>
                <a:gd name="T0" fmla="*/ 33 w 33"/>
                <a:gd name="T1" fmla="*/ 0 h 17"/>
                <a:gd name="T2" fmla="*/ 24 w 33"/>
                <a:gd name="T3" fmla="*/ 7 h 17"/>
                <a:gd name="T4" fmla="*/ 25 w 33"/>
                <a:gd name="T5" fmla="*/ 9 h 17"/>
                <a:gd name="T6" fmla="*/ 25 w 33"/>
                <a:gd name="T7" fmla="*/ 11 h 17"/>
                <a:gd name="T8" fmla="*/ 10 w 33"/>
                <a:gd name="T9" fmla="*/ 17 h 17"/>
                <a:gd name="T10" fmla="*/ 4 w 33"/>
                <a:gd name="T11" fmla="*/ 15 h 17"/>
                <a:gd name="T12" fmla="*/ 0 w 33"/>
                <a:gd name="T13" fmla="*/ 9 h 17"/>
                <a:gd name="T14" fmla="*/ 8 w 33"/>
                <a:gd name="T15" fmla="*/ 9 h 17"/>
                <a:gd name="T16" fmla="*/ 10 w 33"/>
                <a:gd name="T17" fmla="*/ 9 h 17"/>
                <a:gd name="T18" fmla="*/ 14 w 33"/>
                <a:gd name="T19" fmla="*/ 7 h 17"/>
                <a:gd name="T20" fmla="*/ 10 w 33"/>
                <a:gd name="T21" fmla="*/ 9 h 17"/>
                <a:gd name="T22" fmla="*/ 8 w 33"/>
                <a:gd name="T23" fmla="*/ 9 h 17"/>
                <a:gd name="T24" fmla="*/ 10 w 33"/>
                <a:gd name="T25" fmla="*/ 7 h 17"/>
                <a:gd name="T26" fmla="*/ 10 w 33"/>
                <a:gd name="T27" fmla="*/ 6 h 17"/>
                <a:gd name="T28" fmla="*/ 20 w 33"/>
                <a:gd name="T29" fmla="*/ 6 h 17"/>
                <a:gd name="T30" fmla="*/ 33 w 33"/>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17">
                  <a:moveTo>
                    <a:pt x="33" y="0"/>
                  </a:moveTo>
                  <a:lnTo>
                    <a:pt x="24" y="7"/>
                  </a:lnTo>
                  <a:lnTo>
                    <a:pt x="25" y="9"/>
                  </a:lnTo>
                  <a:lnTo>
                    <a:pt x="25" y="11"/>
                  </a:lnTo>
                  <a:lnTo>
                    <a:pt x="10" y="17"/>
                  </a:lnTo>
                  <a:lnTo>
                    <a:pt x="4" y="15"/>
                  </a:lnTo>
                  <a:lnTo>
                    <a:pt x="0" y="9"/>
                  </a:lnTo>
                  <a:lnTo>
                    <a:pt x="8" y="9"/>
                  </a:lnTo>
                  <a:lnTo>
                    <a:pt x="10" y="9"/>
                  </a:lnTo>
                  <a:lnTo>
                    <a:pt x="14" y="7"/>
                  </a:lnTo>
                  <a:lnTo>
                    <a:pt x="10" y="9"/>
                  </a:lnTo>
                  <a:lnTo>
                    <a:pt x="8" y="9"/>
                  </a:lnTo>
                  <a:lnTo>
                    <a:pt x="10" y="7"/>
                  </a:lnTo>
                  <a:lnTo>
                    <a:pt x="10" y="6"/>
                  </a:lnTo>
                  <a:lnTo>
                    <a:pt x="20" y="6"/>
                  </a:lnTo>
                  <a:lnTo>
                    <a:pt x="3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127">
              <a:extLst>
                <a:ext uri="{FF2B5EF4-FFF2-40B4-BE49-F238E27FC236}">
                  <a16:creationId xmlns:a16="http://schemas.microsoft.com/office/drawing/2014/main" id="{6DA84B56-58AE-40B0-8C1D-62A52561B87B}"/>
                </a:ext>
              </a:extLst>
            </p:cNvPr>
            <p:cNvSpPr>
              <a:spLocks/>
            </p:cNvSpPr>
            <p:nvPr/>
          </p:nvSpPr>
          <p:spPr bwMode="auto">
            <a:xfrm>
              <a:off x="4887913" y="3678917"/>
              <a:ext cx="60325" cy="20647"/>
            </a:xfrm>
            <a:custGeom>
              <a:avLst/>
              <a:gdLst>
                <a:gd name="T0" fmla="*/ 2 w 38"/>
                <a:gd name="T1" fmla="*/ 0 h 13"/>
                <a:gd name="T2" fmla="*/ 9 w 38"/>
                <a:gd name="T3" fmla="*/ 6 h 13"/>
                <a:gd name="T4" fmla="*/ 21 w 38"/>
                <a:gd name="T5" fmla="*/ 6 h 13"/>
                <a:gd name="T6" fmla="*/ 30 w 38"/>
                <a:gd name="T7" fmla="*/ 6 h 13"/>
                <a:gd name="T8" fmla="*/ 30 w 38"/>
                <a:gd name="T9" fmla="*/ 7 h 13"/>
                <a:gd name="T10" fmla="*/ 38 w 38"/>
                <a:gd name="T11" fmla="*/ 6 h 13"/>
                <a:gd name="T12" fmla="*/ 36 w 38"/>
                <a:gd name="T13" fmla="*/ 11 h 13"/>
                <a:gd name="T14" fmla="*/ 17 w 38"/>
                <a:gd name="T15" fmla="*/ 13 h 13"/>
                <a:gd name="T16" fmla="*/ 17 w 38"/>
                <a:gd name="T17" fmla="*/ 9 h 13"/>
                <a:gd name="T18" fmla="*/ 0 w 38"/>
                <a:gd name="T19" fmla="*/ 6 h 13"/>
                <a:gd name="T20" fmla="*/ 2 w 38"/>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13">
                  <a:moveTo>
                    <a:pt x="2" y="0"/>
                  </a:moveTo>
                  <a:lnTo>
                    <a:pt x="9" y="6"/>
                  </a:lnTo>
                  <a:lnTo>
                    <a:pt x="21" y="6"/>
                  </a:lnTo>
                  <a:lnTo>
                    <a:pt x="30" y="6"/>
                  </a:lnTo>
                  <a:lnTo>
                    <a:pt x="30" y="7"/>
                  </a:lnTo>
                  <a:lnTo>
                    <a:pt x="38" y="6"/>
                  </a:lnTo>
                  <a:lnTo>
                    <a:pt x="36" y="11"/>
                  </a:lnTo>
                  <a:lnTo>
                    <a:pt x="17" y="13"/>
                  </a:lnTo>
                  <a:lnTo>
                    <a:pt x="17" y="9"/>
                  </a:lnTo>
                  <a:lnTo>
                    <a:pt x="0" y="6"/>
                  </a:lnTo>
                  <a:lnTo>
                    <a:pt x="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129">
              <a:extLst>
                <a:ext uri="{FF2B5EF4-FFF2-40B4-BE49-F238E27FC236}">
                  <a16:creationId xmlns:a16="http://schemas.microsoft.com/office/drawing/2014/main" id="{9C5EE5EC-417D-4848-A81F-DC8B9B31745D}"/>
                </a:ext>
              </a:extLst>
            </p:cNvPr>
            <p:cNvSpPr>
              <a:spLocks/>
            </p:cNvSpPr>
            <p:nvPr/>
          </p:nvSpPr>
          <p:spPr bwMode="auto">
            <a:xfrm>
              <a:off x="4640263" y="3613801"/>
              <a:ext cx="69850" cy="39706"/>
            </a:xfrm>
            <a:custGeom>
              <a:avLst/>
              <a:gdLst>
                <a:gd name="T0" fmla="*/ 44 w 44"/>
                <a:gd name="T1" fmla="*/ 0 h 25"/>
                <a:gd name="T2" fmla="*/ 39 w 44"/>
                <a:gd name="T3" fmla="*/ 14 h 25"/>
                <a:gd name="T4" fmla="*/ 40 w 44"/>
                <a:gd name="T5" fmla="*/ 18 h 25"/>
                <a:gd name="T6" fmla="*/ 39 w 44"/>
                <a:gd name="T7" fmla="*/ 25 h 25"/>
                <a:gd name="T8" fmla="*/ 27 w 44"/>
                <a:gd name="T9" fmla="*/ 20 h 25"/>
                <a:gd name="T10" fmla="*/ 19 w 44"/>
                <a:gd name="T11" fmla="*/ 18 h 25"/>
                <a:gd name="T12" fmla="*/ 0 w 44"/>
                <a:gd name="T13" fmla="*/ 10 h 25"/>
                <a:gd name="T14" fmla="*/ 4 w 44"/>
                <a:gd name="T15" fmla="*/ 2 h 25"/>
                <a:gd name="T16" fmla="*/ 19 w 44"/>
                <a:gd name="T17" fmla="*/ 4 h 25"/>
                <a:gd name="T18" fmla="*/ 35 w 44"/>
                <a:gd name="T19" fmla="*/ 2 h 25"/>
                <a:gd name="T20" fmla="*/ 44 w 44"/>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25">
                  <a:moveTo>
                    <a:pt x="44" y="0"/>
                  </a:moveTo>
                  <a:lnTo>
                    <a:pt x="39" y="14"/>
                  </a:lnTo>
                  <a:lnTo>
                    <a:pt x="40" y="18"/>
                  </a:lnTo>
                  <a:lnTo>
                    <a:pt x="39" y="25"/>
                  </a:lnTo>
                  <a:lnTo>
                    <a:pt x="27" y="20"/>
                  </a:lnTo>
                  <a:lnTo>
                    <a:pt x="19" y="18"/>
                  </a:lnTo>
                  <a:lnTo>
                    <a:pt x="0" y="10"/>
                  </a:lnTo>
                  <a:lnTo>
                    <a:pt x="4" y="2"/>
                  </a:lnTo>
                  <a:lnTo>
                    <a:pt x="19" y="4"/>
                  </a:lnTo>
                  <a:lnTo>
                    <a:pt x="35" y="2"/>
                  </a:lnTo>
                  <a:lnTo>
                    <a:pt x="4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131">
              <a:extLst>
                <a:ext uri="{FF2B5EF4-FFF2-40B4-BE49-F238E27FC236}">
                  <a16:creationId xmlns:a16="http://schemas.microsoft.com/office/drawing/2014/main" id="{D82F408F-197E-44E9-8072-3A1D3A390CB3}"/>
                </a:ext>
              </a:extLst>
            </p:cNvPr>
            <p:cNvSpPr>
              <a:spLocks/>
            </p:cNvSpPr>
            <p:nvPr/>
          </p:nvSpPr>
          <p:spPr bwMode="auto">
            <a:xfrm>
              <a:off x="4549776" y="3537566"/>
              <a:ext cx="36513" cy="58765"/>
            </a:xfrm>
            <a:custGeom>
              <a:avLst/>
              <a:gdLst>
                <a:gd name="T0" fmla="*/ 13 w 23"/>
                <a:gd name="T1" fmla="*/ 0 h 37"/>
                <a:gd name="T2" fmla="*/ 23 w 23"/>
                <a:gd name="T3" fmla="*/ 12 h 37"/>
                <a:gd name="T4" fmla="*/ 19 w 23"/>
                <a:gd name="T5" fmla="*/ 33 h 37"/>
                <a:gd name="T6" fmla="*/ 13 w 23"/>
                <a:gd name="T7" fmla="*/ 31 h 37"/>
                <a:gd name="T8" fmla="*/ 7 w 23"/>
                <a:gd name="T9" fmla="*/ 37 h 37"/>
                <a:gd name="T10" fmla="*/ 2 w 23"/>
                <a:gd name="T11" fmla="*/ 33 h 37"/>
                <a:gd name="T12" fmla="*/ 2 w 23"/>
                <a:gd name="T13" fmla="*/ 12 h 37"/>
                <a:gd name="T14" fmla="*/ 0 w 23"/>
                <a:gd name="T15" fmla="*/ 2 h 37"/>
                <a:gd name="T16" fmla="*/ 5 w 23"/>
                <a:gd name="T17" fmla="*/ 4 h 37"/>
                <a:gd name="T18" fmla="*/ 13 w 23"/>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37">
                  <a:moveTo>
                    <a:pt x="13" y="0"/>
                  </a:moveTo>
                  <a:lnTo>
                    <a:pt x="23" y="12"/>
                  </a:lnTo>
                  <a:lnTo>
                    <a:pt x="19" y="33"/>
                  </a:lnTo>
                  <a:lnTo>
                    <a:pt x="13" y="31"/>
                  </a:lnTo>
                  <a:lnTo>
                    <a:pt x="7" y="37"/>
                  </a:lnTo>
                  <a:lnTo>
                    <a:pt x="2" y="33"/>
                  </a:lnTo>
                  <a:lnTo>
                    <a:pt x="2" y="12"/>
                  </a:lnTo>
                  <a:lnTo>
                    <a:pt x="0" y="2"/>
                  </a:lnTo>
                  <a:lnTo>
                    <a:pt x="5" y="4"/>
                  </a:lnTo>
                  <a:lnTo>
                    <a:pt x="1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133">
              <a:extLst>
                <a:ext uri="{FF2B5EF4-FFF2-40B4-BE49-F238E27FC236}">
                  <a16:creationId xmlns:a16="http://schemas.microsoft.com/office/drawing/2014/main" id="{70F5A8AD-0C9B-440F-9956-802E0BD548C6}"/>
                </a:ext>
              </a:extLst>
            </p:cNvPr>
            <p:cNvSpPr>
              <a:spLocks/>
            </p:cNvSpPr>
            <p:nvPr/>
          </p:nvSpPr>
          <p:spPr bwMode="auto">
            <a:xfrm>
              <a:off x="7229475" y="3532801"/>
              <a:ext cx="277813" cy="262056"/>
            </a:xfrm>
            <a:custGeom>
              <a:avLst/>
              <a:gdLst>
                <a:gd name="T0" fmla="*/ 165 w 175"/>
                <a:gd name="T1" fmla="*/ 0 h 165"/>
                <a:gd name="T2" fmla="*/ 175 w 175"/>
                <a:gd name="T3" fmla="*/ 23 h 165"/>
                <a:gd name="T4" fmla="*/ 175 w 175"/>
                <a:gd name="T5" fmla="*/ 36 h 165"/>
                <a:gd name="T6" fmla="*/ 161 w 175"/>
                <a:gd name="T7" fmla="*/ 53 h 165"/>
                <a:gd name="T8" fmla="*/ 161 w 175"/>
                <a:gd name="T9" fmla="*/ 59 h 165"/>
                <a:gd name="T10" fmla="*/ 161 w 175"/>
                <a:gd name="T11" fmla="*/ 69 h 165"/>
                <a:gd name="T12" fmla="*/ 156 w 175"/>
                <a:gd name="T13" fmla="*/ 80 h 165"/>
                <a:gd name="T14" fmla="*/ 158 w 175"/>
                <a:gd name="T15" fmla="*/ 90 h 165"/>
                <a:gd name="T16" fmla="*/ 152 w 175"/>
                <a:gd name="T17" fmla="*/ 101 h 165"/>
                <a:gd name="T18" fmla="*/ 133 w 175"/>
                <a:gd name="T19" fmla="*/ 107 h 165"/>
                <a:gd name="T20" fmla="*/ 110 w 175"/>
                <a:gd name="T21" fmla="*/ 109 h 165"/>
                <a:gd name="T22" fmla="*/ 88 w 175"/>
                <a:gd name="T23" fmla="*/ 126 h 165"/>
                <a:gd name="T24" fmla="*/ 79 w 175"/>
                <a:gd name="T25" fmla="*/ 121 h 165"/>
                <a:gd name="T26" fmla="*/ 79 w 175"/>
                <a:gd name="T27" fmla="*/ 109 h 165"/>
                <a:gd name="T28" fmla="*/ 54 w 175"/>
                <a:gd name="T29" fmla="*/ 113 h 165"/>
                <a:gd name="T30" fmla="*/ 39 w 175"/>
                <a:gd name="T31" fmla="*/ 119 h 165"/>
                <a:gd name="T32" fmla="*/ 21 w 175"/>
                <a:gd name="T33" fmla="*/ 119 h 165"/>
                <a:gd name="T34" fmla="*/ 37 w 175"/>
                <a:gd name="T35" fmla="*/ 132 h 165"/>
                <a:gd name="T36" fmla="*/ 27 w 175"/>
                <a:gd name="T37" fmla="*/ 159 h 165"/>
                <a:gd name="T38" fmla="*/ 17 w 175"/>
                <a:gd name="T39" fmla="*/ 165 h 165"/>
                <a:gd name="T40" fmla="*/ 12 w 175"/>
                <a:gd name="T41" fmla="*/ 159 h 165"/>
                <a:gd name="T42" fmla="*/ 14 w 175"/>
                <a:gd name="T43" fmla="*/ 145 h 165"/>
                <a:gd name="T44" fmla="*/ 6 w 175"/>
                <a:gd name="T45" fmla="*/ 140 h 165"/>
                <a:gd name="T46" fmla="*/ 0 w 175"/>
                <a:gd name="T47" fmla="*/ 130 h 165"/>
                <a:gd name="T48" fmla="*/ 14 w 175"/>
                <a:gd name="T49" fmla="*/ 124 h 165"/>
                <a:gd name="T50" fmla="*/ 21 w 175"/>
                <a:gd name="T51" fmla="*/ 115 h 165"/>
                <a:gd name="T52" fmla="*/ 35 w 175"/>
                <a:gd name="T53" fmla="*/ 107 h 165"/>
                <a:gd name="T54" fmla="*/ 44 w 175"/>
                <a:gd name="T55" fmla="*/ 98 h 165"/>
                <a:gd name="T56" fmla="*/ 73 w 175"/>
                <a:gd name="T57" fmla="*/ 92 h 165"/>
                <a:gd name="T58" fmla="*/ 88 w 175"/>
                <a:gd name="T59" fmla="*/ 96 h 165"/>
                <a:gd name="T60" fmla="*/ 102 w 175"/>
                <a:gd name="T61" fmla="*/ 67 h 165"/>
                <a:gd name="T62" fmla="*/ 111 w 175"/>
                <a:gd name="T63" fmla="*/ 73 h 165"/>
                <a:gd name="T64" fmla="*/ 131 w 175"/>
                <a:gd name="T65" fmla="*/ 57 h 165"/>
                <a:gd name="T66" fmla="*/ 140 w 175"/>
                <a:gd name="T67" fmla="*/ 51 h 165"/>
                <a:gd name="T68" fmla="*/ 148 w 175"/>
                <a:gd name="T69" fmla="*/ 32 h 165"/>
                <a:gd name="T70" fmla="*/ 146 w 175"/>
                <a:gd name="T71" fmla="*/ 13 h 165"/>
                <a:gd name="T72" fmla="*/ 152 w 175"/>
                <a:gd name="T73" fmla="*/ 3 h 165"/>
                <a:gd name="T74" fmla="*/ 165 w 175"/>
                <a:gd name="T7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5" h="165">
                  <a:moveTo>
                    <a:pt x="165" y="0"/>
                  </a:moveTo>
                  <a:lnTo>
                    <a:pt x="175" y="23"/>
                  </a:lnTo>
                  <a:lnTo>
                    <a:pt x="175" y="36"/>
                  </a:lnTo>
                  <a:lnTo>
                    <a:pt x="161" y="53"/>
                  </a:lnTo>
                  <a:lnTo>
                    <a:pt x="161" y="59"/>
                  </a:lnTo>
                  <a:lnTo>
                    <a:pt x="161" y="69"/>
                  </a:lnTo>
                  <a:lnTo>
                    <a:pt x="156" y="80"/>
                  </a:lnTo>
                  <a:lnTo>
                    <a:pt x="158" y="90"/>
                  </a:lnTo>
                  <a:lnTo>
                    <a:pt x="152" y="101"/>
                  </a:lnTo>
                  <a:lnTo>
                    <a:pt x="133" y="107"/>
                  </a:lnTo>
                  <a:lnTo>
                    <a:pt x="110" y="109"/>
                  </a:lnTo>
                  <a:lnTo>
                    <a:pt x="88" y="126"/>
                  </a:lnTo>
                  <a:lnTo>
                    <a:pt x="79" y="121"/>
                  </a:lnTo>
                  <a:lnTo>
                    <a:pt x="79" y="109"/>
                  </a:lnTo>
                  <a:lnTo>
                    <a:pt x="54" y="113"/>
                  </a:lnTo>
                  <a:lnTo>
                    <a:pt x="39" y="119"/>
                  </a:lnTo>
                  <a:lnTo>
                    <a:pt x="21" y="119"/>
                  </a:lnTo>
                  <a:lnTo>
                    <a:pt x="37" y="132"/>
                  </a:lnTo>
                  <a:lnTo>
                    <a:pt x="27" y="159"/>
                  </a:lnTo>
                  <a:lnTo>
                    <a:pt x="17" y="165"/>
                  </a:lnTo>
                  <a:lnTo>
                    <a:pt x="12" y="159"/>
                  </a:lnTo>
                  <a:lnTo>
                    <a:pt x="14" y="145"/>
                  </a:lnTo>
                  <a:lnTo>
                    <a:pt x="6" y="140"/>
                  </a:lnTo>
                  <a:lnTo>
                    <a:pt x="0" y="130"/>
                  </a:lnTo>
                  <a:lnTo>
                    <a:pt x="14" y="124"/>
                  </a:lnTo>
                  <a:lnTo>
                    <a:pt x="21" y="115"/>
                  </a:lnTo>
                  <a:lnTo>
                    <a:pt x="35" y="107"/>
                  </a:lnTo>
                  <a:lnTo>
                    <a:pt x="44" y="98"/>
                  </a:lnTo>
                  <a:lnTo>
                    <a:pt x="73" y="92"/>
                  </a:lnTo>
                  <a:lnTo>
                    <a:pt x="88" y="96"/>
                  </a:lnTo>
                  <a:lnTo>
                    <a:pt x="102" y="67"/>
                  </a:lnTo>
                  <a:lnTo>
                    <a:pt x="111" y="73"/>
                  </a:lnTo>
                  <a:lnTo>
                    <a:pt x="131" y="57"/>
                  </a:lnTo>
                  <a:lnTo>
                    <a:pt x="140" y="51"/>
                  </a:lnTo>
                  <a:lnTo>
                    <a:pt x="148" y="32"/>
                  </a:lnTo>
                  <a:lnTo>
                    <a:pt x="146" y="13"/>
                  </a:lnTo>
                  <a:lnTo>
                    <a:pt x="152" y="3"/>
                  </a:lnTo>
                  <a:lnTo>
                    <a:pt x="16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135">
              <a:extLst>
                <a:ext uri="{FF2B5EF4-FFF2-40B4-BE49-F238E27FC236}">
                  <a16:creationId xmlns:a16="http://schemas.microsoft.com/office/drawing/2014/main" id="{9BBE1DDE-0D98-45F5-BFC1-241EACF47248}"/>
                </a:ext>
              </a:extLst>
            </p:cNvPr>
            <p:cNvSpPr>
              <a:spLocks/>
            </p:cNvSpPr>
            <p:nvPr/>
          </p:nvSpPr>
          <p:spPr bwMode="auto">
            <a:xfrm>
              <a:off x="4554538" y="3489920"/>
              <a:ext cx="22225" cy="42882"/>
            </a:xfrm>
            <a:custGeom>
              <a:avLst/>
              <a:gdLst>
                <a:gd name="T0" fmla="*/ 12 w 14"/>
                <a:gd name="T1" fmla="*/ 0 h 27"/>
                <a:gd name="T2" fmla="*/ 14 w 14"/>
                <a:gd name="T3" fmla="*/ 13 h 27"/>
                <a:gd name="T4" fmla="*/ 10 w 14"/>
                <a:gd name="T5" fmla="*/ 27 h 27"/>
                <a:gd name="T6" fmla="*/ 4 w 14"/>
                <a:gd name="T7" fmla="*/ 23 h 27"/>
                <a:gd name="T8" fmla="*/ 0 w 14"/>
                <a:gd name="T9" fmla="*/ 11 h 27"/>
                <a:gd name="T10" fmla="*/ 4 w 14"/>
                <a:gd name="T11" fmla="*/ 6 h 27"/>
                <a:gd name="T12" fmla="*/ 12 w 14"/>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4" h="27">
                  <a:moveTo>
                    <a:pt x="12" y="0"/>
                  </a:moveTo>
                  <a:lnTo>
                    <a:pt x="14" y="13"/>
                  </a:lnTo>
                  <a:lnTo>
                    <a:pt x="10" y="27"/>
                  </a:lnTo>
                  <a:lnTo>
                    <a:pt x="4" y="23"/>
                  </a:lnTo>
                  <a:lnTo>
                    <a:pt x="0" y="11"/>
                  </a:lnTo>
                  <a:lnTo>
                    <a:pt x="4" y="6"/>
                  </a:lnTo>
                  <a:lnTo>
                    <a:pt x="1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136">
              <a:extLst>
                <a:ext uri="{FF2B5EF4-FFF2-40B4-BE49-F238E27FC236}">
                  <a16:creationId xmlns:a16="http://schemas.microsoft.com/office/drawing/2014/main" id="{B3DAF428-BB11-4598-8F07-85335E6B9F7C}"/>
                </a:ext>
              </a:extLst>
            </p:cNvPr>
            <p:cNvSpPr>
              <a:spLocks/>
            </p:cNvSpPr>
            <p:nvPr/>
          </p:nvSpPr>
          <p:spPr bwMode="auto">
            <a:xfrm>
              <a:off x="2789238" y="3427979"/>
              <a:ext cx="0" cy="3176"/>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138">
              <a:extLst>
                <a:ext uri="{FF2B5EF4-FFF2-40B4-BE49-F238E27FC236}">
                  <a16:creationId xmlns:a16="http://schemas.microsoft.com/office/drawing/2014/main" id="{30B60972-8832-450C-A6EB-6125FE9B878C}"/>
                </a:ext>
              </a:extLst>
            </p:cNvPr>
            <p:cNvSpPr>
              <a:spLocks/>
            </p:cNvSpPr>
            <p:nvPr/>
          </p:nvSpPr>
          <p:spPr bwMode="auto">
            <a:xfrm>
              <a:off x="7458075" y="3420038"/>
              <a:ext cx="128588" cy="106411"/>
            </a:xfrm>
            <a:custGeom>
              <a:avLst/>
              <a:gdLst>
                <a:gd name="T0" fmla="*/ 31 w 81"/>
                <a:gd name="T1" fmla="*/ 0 h 67"/>
                <a:gd name="T2" fmla="*/ 48 w 81"/>
                <a:gd name="T3" fmla="*/ 19 h 67"/>
                <a:gd name="T4" fmla="*/ 58 w 81"/>
                <a:gd name="T5" fmla="*/ 25 h 67"/>
                <a:gd name="T6" fmla="*/ 67 w 81"/>
                <a:gd name="T7" fmla="*/ 26 h 67"/>
                <a:gd name="T8" fmla="*/ 77 w 81"/>
                <a:gd name="T9" fmla="*/ 21 h 67"/>
                <a:gd name="T10" fmla="*/ 81 w 81"/>
                <a:gd name="T11" fmla="*/ 38 h 67"/>
                <a:gd name="T12" fmla="*/ 60 w 81"/>
                <a:gd name="T13" fmla="*/ 44 h 67"/>
                <a:gd name="T14" fmla="*/ 48 w 81"/>
                <a:gd name="T15" fmla="*/ 61 h 67"/>
                <a:gd name="T16" fmla="*/ 25 w 81"/>
                <a:gd name="T17" fmla="*/ 48 h 67"/>
                <a:gd name="T18" fmla="*/ 19 w 81"/>
                <a:gd name="T19" fmla="*/ 67 h 67"/>
                <a:gd name="T20" fmla="*/ 2 w 81"/>
                <a:gd name="T21" fmla="*/ 67 h 67"/>
                <a:gd name="T22" fmla="*/ 0 w 81"/>
                <a:gd name="T23" fmla="*/ 50 h 67"/>
                <a:gd name="T24" fmla="*/ 8 w 81"/>
                <a:gd name="T25" fmla="*/ 38 h 67"/>
                <a:gd name="T26" fmla="*/ 21 w 81"/>
                <a:gd name="T27" fmla="*/ 36 h 67"/>
                <a:gd name="T28" fmla="*/ 27 w 81"/>
                <a:gd name="T29" fmla="*/ 13 h 67"/>
                <a:gd name="T30" fmla="*/ 31 w 81"/>
                <a:gd name="T3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 h="67">
                  <a:moveTo>
                    <a:pt x="31" y="0"/>
                  </a:moveTo>
                  <a:lnTo>
                    <a:pt x="48" y="19"/>
                  </a:lnTo>
                  <a:lnTo>
                    <a:pt x="58" y="25"/>
                  </a:lnTo>
                  <a:lnTo>
                    <a:pt x="67" y="26"/>
                  </a:lnTo>
                  <a:lnTo>
                    <a:pt x="77" y="21"/>
                  </a:lnTo>
                  <a:lnTo>
                    <a:pt x="81" y="38"/>
                  </a:lnTo>
                  <a:lnTo>
                    <a:pt x="60" y="44"/>
                  </a:lnTo>
                  <a:lnTo>
                    <a:pt x="48" y="61"/>
                  </a:lnTo>
                  <a:lnTo>
                    <a:pt x="25" y="48"/>
                  </a:lnTo>
                  <a:lnTo>
                    <a:pt x="19" y="67"/>
                  </a:lnTo>
                  <a:lnTo>
                    <a:pt x="2" y="67"/>
                  </a:lnTo>
                  <a:lnTo>
                    <a:pt x="0" y="50"/>
                  </a:lnTo>
                  <a:lnTo>
                    <a:pt x="8" y="38"/>
                  </a:lnTo>
                  <a:lnTo>
                    <a:pt x="21" y="36"/>
                  </a:lnTo>
                  <a:lnTo>
                    <a:pt x="27" y="13"/>
                  </a:lnTo>
                  <a:lnTo>
                    <a:pt x="3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140">
              <a:extLst>
                <a:ext uri="{FF2B5EF4-FFF2-40B4-BE49-F238E27FC236}">
                  <a16:creationId xmlns:a16="http://schemas.microsoft.com/office/drawing/2014/main" id="{272A235A-A103-46A4-ABED-110B954385FF}"/>
                </a:ext>
              </a:extLst>
            </p:cNvPr>
            <p:cNvSpPr>
              <a:spLocks/>
            </p:cNvSpPr>
            <p:nvPr/>
          </p:nvSpPr>
          <p:spPr bwMode="auto">
            <a:xfrm>
              <a:off x="2943226" y="3377156"/>
              <a:ext cx="55563" cy="33353"/>
            </a:xfrm>
            <a:custGeom>
              <a:avLst/>
              <a:gdLst>
                <a:gd name="T0" fmla="*/ 6 w 35"/>
                <a:gd name="T1" fmla="*/ 0 h 21"/>
                <a:gd name="T2" fmla="*/ 12 w 35"/>
                <a:gd name="T3" fmla="*/ 9 h 21"/>
                <a:gd name="T4" fmla="*/ 21 w 35"/>
                <a:gd name="T5" fmla="*/ 11 h 21"/>
                <a:gd name="T6" fmla="*/ 35 w 35"/>
                <a:gd name="T7" fmla="*/ 11 h 21"/>
                <a:gd name="T8" fmla="*/ 27 w 35"/>
                <a:gd name="T9" fmla="*/ 19 h 21"/>
                <a:gd name="T10" fmla="*/ 23 w 35"/>
                <a:gd name="T11" fmla="*/ 21 h 21"/>
                <a:gd name="T12" fmla="*/ 4 w 35"/>
                <a:gd name="T13" fmla="*/ 11 h 21"/>
                <a:gd name="T14" fmla="*/ 0 w 35"/>
                <a:gd name="T15" fmla="*/ 7 h 21"/>
                <a:gd name="T16" fmla="*/ 6 w 35"/>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1">
                  <a:moveTo>
                    <a:pt x="6" y="0"/>
                  </a:moveTo>
                  <a:lnTo>
                    <a:pt x="12" y="9"/>
                  </a:lnTo>
                  <a:lnTo>
                    <a:pt x="21" y="11"/>
                  </a:lnTo>
                  <a:lnTo>
                    <a:pt x="35" y="11"/>
                  </a:lnTo>
                  <a:lnTo>
                    <a:pt x="27" y="19"/>
                  </a:lnTo>
                  <a:lnTo>
                    <a:pt x="23" y="21"/>
                  </a:lnTo>
                  <a:lnTo>
                    <a:pt x="4" y="11"/>
                  </a:lnTo>
                  <a:lnTo>
                    <a:pt x="0" y="7"/>
                  </a:lnTo>
                  <a:lnTo>
                    <a:pt x="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141">
              <a:extLst>
                <a:ext uri="{FF2B5EF4-FFF2-40B4-BE49-F238E27FC236}">
                  <a16:creationId xmlns:a16="http://schemas.microsoft.com/office/drawing/2014/main" id="{5980AFFE-3063-4552-B37F-7E8E2DFAFE9F}"/>
                </a:ext>
              </a:extLst>
            </p:cNvPr>
            <p:cNvSpPr>
              <a:spLocks/>
            </p:cNvSpPr>
            <p:nvPr/>
          </p:nvSpPr>
          <p:spPr bwMode="auto">
            <a:xfrm>
              <a:off x="2803526" y="3373979"/>
              <a:ext cx="30163" cy="49235"/>
            </a:xfrm>
            <a:custGeom>
              <a:avLst/>
              <a:gdLst>
                <a:gd name="T0" fmla="*/ 19 w 19"/>
                <a:gd name="T1" fmla="*/ 0 h 31"/>
                <a:gd name="T2" fmla="*/ 10 w 19"/>
                <a:gd name="T3" fmla="*/ 9 h 31"/>
                <a:gd name="T4" fmla="*/ 6 w 19"/>
                <a:gd name="T5" fmla="*/ 23 h 31"/>
                <a:gd name="T6" fmla="*/ 0 w 19"/>
                <a:gd name="T7" fmla="*/ 31 h 31"/>
                <a:gd name="T8" fmla="*/ 6 w 19"/>
                <a:gd name="T9" fmla="*/ 23 h 31"/>
                <a:gd name="T10" fmla="*/ 10 w 19"/>
                <a:gd name="T11" fmla="*/ 9 h 31"/>
                <a:gd name="T12" fmla="*/ 19 w 19"/>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19" h="31">
                  <a:moveTo>
                    <a:pt x="19" y="0"/>
                  </a:moveTo>
                  <a:lnTo>
                    <a:pt x="10" y="9"/>
                  </a:lnTo>
                  <a:lnTo>
                    <a:pt x="6" y="23"/>
                  </a:lnTo>
                  <a:lnTo>
                    <a:pt x="0" y="31"/>
                  </a:lnTo>
                  <a:lnTo>
                    <a:pt x="6" y="23"/>
                  </a:lnTo>
                  <a:lnTo>
                    <a:pt x="10" y="9"/>
                  </a:lnTo>
                  <a:lnTo>
                    <a:pt x="1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143">
              <a:extLst>
                <a:ext uri="{FF2B5EF4-FFF2-40B4-BE49-F238E27FC236}">
                  <a16:creationId xmlns:a16="http://schemas.microsoft.com/office/drawing/2014/main" id="{F73374A3-2A80-4F07-BC4F-35CBCDE6532C}"/>
                </a:ext>
              </a:extLst>
            </p:cNvPr>
            <p:cNvSpPr>
              <a:spLocks/>
            </p:cNvSpPr>
            <p:nvPr/>
          </p:nvSpPr>
          <p:spPr bwMode="auto">
            <a:xfrm>
              <a:off x="2940051" y="3297745"/>
              <a:ext cx="61913" cy="23824"/>
            </a:xfrm>
            <a:custGeom>
              <a:avLst/>
              <a:gdLst>
                <a:gd name="T0" fmla="*/ 6 w 39"/>
                <a:gd name="T1" fmla="*/ 0 h 15"/>
                <a:gd name="T2" fmla="*/ 25 w 39"/>
                <a:gd name="T3" fmla="*/ 4 h 15"/>
                <a:gd name="T4" fmla="*/ 39 w 39"/>
                <a:gd name="T5" fmla="*/ 9 h 15"/>
                <a:gd name="T6" fmla="*/ 39 w 39"/>
                <a:gd name="T7" fmla="*/ 13 h 15"/>
                <a:gd name="T8" fmla="*/ 31 w 39"/>
                <a:gd name="T9" fmla="*/ 15 h 15"/>
                <a:gd name="T10" fmla="*/ 16 w 39"/>
                <a:gd name="T11" fmla="*/ 9 h 15"/>
                <a:gd name="T12" fmla="*/ 0 w 39"/>
                <a:gd name="T13" fmla="*/ 0 h 15"/>
                <a:gd name="T14" fmla="*/ 6 w 39"/>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5">
                  <a:moveTo>
                    <a:pt x="6" y="0"/>
                  </a:moveTo>
                  <a:lnTo>
                    <a:pt x="25" y="4"/>
                  </a:lnTo>
                  <a:lnTo>
                    <a:pt x="39" y="9"/>
                  </a:lnTo>
                  <a:lnTo>
                    <a:pt x="39" y="13"/>
                  </a:lnTo>
                  <a:lnTo>
                    <a:pt x="31" y="15"/>
                  </a:lnTo>
                  <a:lnTo>
                    <a:pt x="16" y="9"/>
                  </a:lnTo>
                  <a:lnTo>
                    <a:pt x="0" y="0"/>
                  </a:lnTo>
                  <a:lnTo>
                    <a:pt x="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145">
              <a:extLst>
                <a:ext uri="{FF2B5EF4-FFF2-40B4-BE49-F238E27FC236}">
                  <a16:creationId xmlns:a16="http://schemas.microsoft.com/office/drawing/2014/main" id="{3CBB941F-2387-4E06-8A32-447B6234E9BB}"/>
                </a:ext>
              </a:extLst>
            </p:cNvPr>
            <p:cNvSpPr>
              <a:spLocks/>
            </p:cNvSpPr>
            <p:nvPr/>
          </p:nvSpPr>
          <p:spPr bwMode="auto">
            <a:xfrm>
              <a:off x="1527177" y="3270746"/>
              <a:ext cx="109538" cy="69882"/>
            </a:xfrm>
            <a:custGeom>
              <a:avLst/>
              <a:gdLst>
                <a:gd name="T0" fmla="*/ 0 w 69"/>
                <a:gd name="T1" fmla="*/ 0 h 44"/>
                <a:gd name="T2" fmla="*/ 17 w 69"/>
                <a:gd name="T3" fmla="*/ 5 h 44"/>
                <a:gd name="T4" fmla="*/ 25 w 69"/>
                <a:gd name="T5" fmla="*/ 7 h 44"/>
                <a:gd name="T6" fmla="*/ 38 w 69"/>
                <a:gd name="T7" fmla="*/ 9 h 44"/>
                <a:gd name="T8" fmla="*/ 42 w 69"/>
                <a:gd name="T9" fmla="*/ 17 h 44"/>
                <a:gd name="T10" fmla="*/ 50 w 69"/>
                <a:gd name="T11" fmla="*/ 25 h 44"/>
                <a:gd name="T12" fmla="*/ 63 w 69"/>
                <a:gd name="T13" fmla="*/ 32 h 44"/>
                <a:gd name="T14" fmla="*/ 69 w 69"/>
                <a:gd name="T15" fmla="*/ 42 h 44"/>
                <a:gd name="T16" fmla="*/ 63 w 69"/>
                <a:gd name="T17" fmla="*/ 44 h 44"/>
                <a:gd name="T18" fmla="*/ 38 w 69"/>
                <a:gd name="T19" fmla="*/ 36 h 44"/>
                <a:gd name="T20" fmla="*/ 35 w 69"/>
                <a:gd name="T21" fmla="*/ 30 h 44"/>
                <a:gd name="T22" fmla="*/ 23 w 69"/>
                <a:gd name="T23" fmla="*/ 25 h 44"/>
                <a:gd name="T24" fmla="*/ 19 w 69"/>
                <a:gd name="T25" fmla="*/ 19 h 44"/>
                <a:gd name="T26" fmla="*/ 6 w 69"/>
                <a:gd name="T27" fmla="*/ 17 h 44"/>
                <a:gd name="T28" fmla="*/ 0 w 69"/>
                <a:gd name="T29" fmla="*/ 5 h 44"/>
                <a:gd name="T30" fmla="*/ 0 w 69"/>
                <a:gd name="T3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44">
                  <a:moveTo>
                    <a:pt x="0" y="0"/>
                  </a:moveTo>
                  <a:lnTo>
                    <a:pt x="17" y="5"/>
                  </a:lnTo>
                  <a:lnTo>
                    <a:pt x="25" y="7"/>
                  </a:lnTo>
                  <a:lnTo>
                    <a:pt x="38" y="9"/>
                  </a:lnTo>
                  <a:lnTo>
                    <a:pt x="42" y="17"/>
                  </a:lnTo>
                  <a:lnTo>
                    <a:pt x="50" y="25"/>
                  </a:lnTo>
                  <a:lnTo>
                    <a:pt x="63" y="32"/>
                  </a:lnTo>
                  <a:lnTo>
                    <a:pt x="69" y="42"/>
                  </a:lnTo>
                  <a:lnTo>
                    <a:pt x="63" y="44"/>
                  </a:lnTo>
                  <a:lnTo>
                    <a:pt x="38" y="36"/>
                  </a:lnTo>
                  <a:lnTo>
                    <a:pt x="35" y="30"/>
                  </a:lnTo>
                  <a:lnTo>
                    <a:pt x="23" y="25"/>
                  </a:lnTo>
                  <a:lnTo>
                    <a:pt x="19" y="19"/>
                  </a:lnTo>
                  <a:lnTo>
                    <a:pt x="6" y="17"/>
                  </a:lnTo>
                  <a:lnTo>
                    <a:pt x="0" y="5"/>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147">
              <a:extLst>
                <a:ext uri="{FF2B5EF4-FFF2-40B4-BE49-F238E27FC236}">
                  <a16:creationId xmlns:a16="http://schemas.microsoft.com/office/drawing/2014/main" id="{4DCAE0CA-8D69-4ABC-9B02-113F4A6AD75B}"/>
                </a:ext>
              </a:extLst>
            </p:cNvPr>
            <p:cNvSpPr>
              <a:spLocks/>
            </p:cNvSpPr>
            <p:nvPr/>
          </p:nvSpPr>
          <p:spPr bwMode="auto">
            <a:xfrm>
              <a:off x="3052763" y="3248511"/>
              <a:ext cx="152400" cy="142940"/>
            </a:xfrm>
            <a:custGeom>
              <a:avLst/>
              <a:gdLst>
                <a:gd name="T0" fmla="*/ 50 w 96"/>
                <a:gd name="T1" fmla="*/ 0 h 90"/>
                <a:gd name="T2" fmla="*/ 58 w 96"/>
                <a:gd name="T3" fmla="*/ 0 h 90"/>
                <a:gd name="T4" fmla="*/ 54 w 96"/>
                <a:gd name="T5" fmla="*/ 4 h 90"/>
                <a:gd name="T6" fmla="*/ 48 w 96"/>
                <a:gd name="T7" fmla="*/ 15 h 90"/>
                <a:gd name="T8" fmla="*/ 37 w 96"/>
                <a:gd name="T9" fmla="*/ 33 h 90"/>
                <a:gd name="T10" fmla="*/ 48 w 96"/>
                <a:gd name="T11" fmla="*/ 27 h 90"/>
                <a:gd name="T12" fmla="*/ 56 w 96"/>
                <a:gd name="T13" fmla="*/ 31 h 90"/>
                <a:gd name="T14" fmla="*/ 50 w 96"/>
                <a:gd name="T15" fmla="*/ 37 h 90"/>
                <a:gd name="T16" fmla="*/ 64 w 96"/>
                <a:gd name="T17" fmla="*/ 40 h 90"/>
                <a:gd name="T18" fmla="*/ 70 w 96"/>
                <a:gd name="T19" fmla="*/ 39 h 90"/>
                <a:gd name="T20" fmla="*/ 85 w 96"/>
                <a:gd name="T21" fmla="*/ 42 h 90"/>
                <a:gd name="T22" fmla="*/ 79 w 96"/>
                <a:gd name="T23" fmla="*/ 56 h 90"/>
                <a:gd name="T24" fmla="*/ 91 w 96"/>
                <a:gd name="T25" fmla="*/ 52 h 90"/>
                <a:gd name="T26" fmla="*/ 91 w 96"/>
                <a:gd name="T27" fmla="*/ 63 h 90"/>
                <a:gd name="T28" fmla="*/ 96 w 96"/>
                <a:gd name="T29" fmla="*/ 73 h 90"/>
                <a:gd name="T30" fmla="*/ 91 w 96"/>
                <a:gd name="T31" fmla="*/ 88 h 90"/>
                <a:gd name="T32" fmla="*/ 83 w 96"/>
                <a:gd name="T33" fmla="*/ 90 h 90"/>
                <a:gd name="T34" fmla="*/ 73 w 96"/>
                <a:gd name="T35" fmla="*/ 87 h 90"/>
                <a:gd name="T36" fmla="*/ 77 w 96"/>
                <a:gd name="T37" fmla="*/ 71 h 90"/>
                <a:gd name="T38" fmla="*/ 71 w 96"/>
                <a:gd name="T39" fmla="*/ 69 h 90"/>
                <a:gd name="T40" fmla="*/ 58 w 96"/>
                <a:gd name="T41" fmla="*/ 85 h 90"/>
                <a:gd name="T42" fmla="*/ 48 w 96"/>
                <a:gd name="T43" fmla="*/ 85 h 90"/>
                <a:gd name="T44" fmla="*/ 60 w 96"/>
                <a:gd name="T45" fmla="*/ 77 h 90"/>
                <a:gd name="T46" fmla="*/ 47 w 96"/>
                <a:gd name="T47" fmla="*/ 71 h 90"/>
                <a:gd name="T48" fmla="*/ 31 w 96"/>
                <a:gd name="T49" fmla="*/ 73 h 90"/>
                <a:gd name="T50" fmla="*/ 4 w 96"/>
                <a:gd name="T51" fmla="*/ 71 h 90"/>
                <a:gd name="T52" fmla="*/ 0 w 96"/>
                <a:gd name="T53" fmla="*/ 67 h 90"/>
                <a:gd name="T54" fmla="*/ 8 w 96"/>
                <a:gd name="T55" fmla="*/ 62 h 90"/>
                <a:gd name="T56" fmla="*/ 4 w 96"/>
                <a:gd name="T57" fmla="*/ 56 h 90"/>
                <a:gd name="T58" fmla="*/ 16 w 96"/>
                <a:gd name="T59" fmla="*/ 44 h 90"/>
                <a:gd name="T60" fmla="*/ 29 w 96"/>
                <a:gd name="T61" fmla="*/ 15 h 90"/>
                <a:gd name="T62" fmla="*/ 39 w 96"/>
                <a:gd name="T63" fmla="*/ 6 h 90"/>
                <a:gd name="T64" fmla="*/ 50 w 96"/>
                <a:gd name="T6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90">
                  <a:moveTo>
                    <a:pt x="50" y="0"/>
                  </a:moveTo>
                  <a:lnTo>
                    <a:pt x="58" y="0"/>
                  </a:lnTo>
                  <a:lnTo>
                    <a:pt x="54" y="4"/>
                  </a:lnTo>
                  <a:lnTo>
                    <a:pt x="48" y="15"/>
                  </a:lnTo>
                  <a:lnTo>
                    <a:pt x="37" y="33"/>
                  </a:lnTo>
                  <a:lnTo>
                    <a:pt x="48" y="27"/>
                  </a:lnTo>
                  <a:lnTo>
                    <a:pt x="56" y="31"/>
                  </a:lnTo>
                  <a:lnTo>
                    <a:pt x="50" y="37"/>
                  </a:lnTo>
                  <a:lnTo>
                    <a:pt x="64" y="40"/>
                  </a:lnTo>
                  <a:lnTo>
                    <a:pt x="70" y="39"/>
                  </a:lnTo>
                  <a:lnTo>
                    <a:pt x="85" y="42"/>
                  </a:lnTo>
                  <a:lnTo>
                    <a:pt x="79" y="56"/>
                  </a:lnTo>
                  <a:lnTo>
                    <a:pt x="91" y="52"/>
                  </a:lnTo>
                  <a:lnTo>
                    <a:pt x="91" y="63"/>
                  </a:lnTo>
                  <a:lnTo>
                    <a:pt x="96" y="73"/>
                  </a:lnTo>
                  <a:lnTo>
                    <a:pt x="91" y="88"/>
                  </a:lnTo>
                  <a:lnTo>
                    <a:pt x="83" y="90"/>
                  </a:lnTo>
                  <a:lnTo>
                    <a:pt x="73" y="87"/>
                  </a:lnTo>
                  <a:lnTo>
                    <a:pt x="77" y="71"/>
                  </a:lnTo>
                  <a:lnTo>
                    <a:pt x="71" y="69"/>
                  </a:lnTo>
                  <a:lnTo>
                    <a:pt x="58" y="85"/>
                  </a:lnTo>
                  <a:lnTo>
                    <a:pt x="48" y="85"/>
                  </a:lnTo>
                  <a:lnTo>
                    <a:pt x="60" y="77"/>
                  </a:lnTo>
                  <a:lnTo>
                    <a:pt x="47" y="71"/>
                  </a:lnTo>
                  <a:lnTo>
                    <a:pt x="31" y="73"/>
                  </a:lnTo>
                  <a:lnTo>
                    <a:pt x="4" y="71"/>
                  </a:lnTo>
                  <a:lnTo>
                    <a:pt x="0" y="67"/>
                  </a:lnTo>
                  <a:lnTo>
                    <a:pt x="8" y="62"/>
                  </a:lnTo>
                  <a:lnTo>
                    <a:pt x="4" y="56"/>
                  </a:lnTo>
                  <a:lnTo>
                    <a:pt x="16" y="44"/>
                  </a:lnTo>
                  <a:lnTo>
                    <a:pt x="29" y="15"/>
                  </a:lnTo>
                  <a:lnTo>
                    <a:pt x="39" y="6"/>
                  </a:lnTo>
                  <a:lnTo>
                    <a:pt x="5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149">
              <a:extLst>
                <a:ext uri="{FF2B5EF4-FFF2-40B4-BE49-F238E27FC236}">
                  <a16:creationId xmlns:a16="http://schemas.microsoft.com/office/drawing/2014/main" id="{0C15CE6C-B4B7-456A-B358-31858AD8783B}"/>
                </a:ext>
              </a:extLst>
            </p:cNvPr>
            <p:cNvSpPr>
              <a:spLocks/>
            </p:cNvSpPr>
            <p:nvPr/>
          </p:nvSpPr>
          <p:spPr bwMode="auto">
            <a:xfrm>
              <a:off x="1423989" y="3169100"/>
              <a:ext cx="42863" cy="61941"/>
            </a:xfrm>
            <a:custGeom>
              <a:avLst/>
              <a:gdLst>
                <a:gd name="T0" fmla="*/ 0 w 27"/>
                <a:gd name="T1" fmla="*/ 0 h 39"/>
                <a:gd name="T2" fmla="*/ 6 w 27"/>
                <a:gd name="T3" fmla="*/ 4 h 39"/>
                <a:gd name="T4" fmla="*/ 19 w 27"/>
                <a:gd name="T5" fmla="*/ 2 h 39"/>
                <a:gd name="T6" fmla="*/ 15 w 27"/>
                <a:gd name="T7" fmla="*/ 25 h 39"/>
                <a:gd name="T8" fmla="*/ 27 w 27"/>
                <a:gd name="T9" fmla="*/ 39 h 39"/>
                <a:gd name="T10" fmla="*/ 23 w 27"/>
                <a:gd name="T11" fmla="*/ 39 h 39"/>
                <a:gd name="T12" fmla="*/ 15 w 27"/>
                <a:gd name="T13" fmla="*/ 31 h 39"/>
                <a:gd name="T14" fmla="*/ 9 w 27"/>
                <a:gd name="T15" fmla="*/ 21 h 39"/>
                <a:gd name="T16" fmla="*/ 0 w 27"/>
                <a:gd name="T17" fmla="*/ 16 h 39"/>
                <a:gd name="T18" fmla="*/ 0 w 27"/>
                <a:gd name="T19" fmla="*/ 8 h 39"/>
                <a:gd name="T20" fmla="*/ 0 w 27"/>
                <a:gd name="T2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9">
                  <a:moveTo>
                    <a:pt x="0" y="0"/>
                  </a:moveTo>
                  <a:lnTo>
                    <a:pt x="6" y="4"/>
                  </a:lnTo>
                  <a:lnTo>
                    <a:pt x="19" y="2"/>
                  </a:lnTo>
                  <a:lnTo>
                    <a:pt x="15" y="25"/>
                  </a:lnTo>
                  <a:lnTo>
                    <a:pt x="27" y="39"/>
                  </a:lnTo>
                  <a:lnTo>
                    <a:pt x="23" y="39"/>
                  </a:lnTo>
                  <a:lnTo>
                    <a:pt x="15" y="31"/>
                  </a:lnTo>
                  <a:lnTo>
                    <a:pt x="9" y="21"/>
                  </a:lnTo>
                  <a:lnTo>
                    <a:pt x="0" y="16"/>
                  </a:lnTo>
                  <a:lnTo>
                    <a:pt x="0" y="8"/>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151">
              <a:extLst>
                <a:ext uri="{FF2B5EF4-FFF2-40B4-BE49-F238E27FC236}">
                  <a16:creationId xmlns:a16="http://schemas.microsoft.com/office/drawing/2014/main" id="{CE01C3DB-EA38-4F59-BB37-845A9E744B1B}"/>
                </a:ext>
              </a:extLst>
            </p:cNvPr>
            <p:cNvSpPr>
              <a:spLocks/>
            </p:cNvSpPr>
            <p:nvPr/>
          </p:nvSpPr>
          <p:spPr bwMode="auto">
            <a:xfrm>
              <a:off x="7497762" y="3162747"/>
              <a:ext cx="69850" cy="247762"/>
            </a:xfrm>
            <a:custGeom>
              <a:avLst/>
              <a:gdLst>
                <a:gd name="T0" fmla="*/ 15 w 44"/>
                <a:gd name="T1" fmla="*/ 0 h 156"/>
                <a:gd name="T2" fmla="*/ 19 w 44"/>
                <a:gd name="T3" fmla="*/ 16 h 156"/>
                <a:gd name="T4" fmla="*/ 23 w 44"/>
                <a:gd name="T5" fmla="*/ 31 h 156"/>
                <a:gd name="T6" fmla="*/ 23 w 44"/>
                <a:gd name="T7" fmla="*/ 50 h 156"/>
                <a:gd name="T8" fmla="*/ 29 w 44"/>
                <a:gd name="T9" fmla="*/ 69 h 156"/>
                <a:gd name="T10" fmla="*/ 44 w 44"/>
                <a:gd name="T11" fmla="*/ 102 h 156"/>
                <a:gd name="T12" fmla="*/ 23 w 44"/>
                <a:gd name="T13" fmla="*/ 94 h 156"/>
                <a:gd name="T14" fmla="*/ 13 w 44"/>
                <a:gd name="T15" fmla="*/ 123 h 156"/>
                <a:gd name="T16" fmla="*/ 27 w 44"/>
                <a:gd name="T17" fmla="*/ 139 h 156"/>
                <a:gd name="T18" fmla="*/ 27 w 44"/>
                <a:gd name="T19" fmla="*/ 152 h 156"/>
                <a:gd name="T20" fmla="*/ 17 w 44"/>
                <a:gd name="T21" fmla="*/ 141 h 156"/>
                <a:gd name="T22" fmla="*/ 8 w 44"/>
                <a:gd name="T23" fmla="*/ 156 h 156"/>
                <a:gd name="T24" fmla="*/ 6 w 44"/>
                <a:gd name="T25" fmla="*/ 141 h 156"/>
                <a:gd name="T26" fmla="*/ 8 w 44"/>
                <a:gd name="T27" fmla="*/ 123 h 156"/>
                <a:gd name="T28" fmla="*/ 6 w 44"/>
                <a:gd name="T29" fmla="*/ 104 h 156"/>
                <a:gd name="T30" fmla="*/ 10 w 44"/>
                <a:gd name="T31" fmla="*/ 91 h 156"/>
                <a:gd name="T32" fmla="*/ 10 w 44"/>
                <a:gd name="T33" fmla="*/ 66 h 156"/>
                <a:gd name="T34" fmla="*/ 0 w 44"/>
                <a:gd name="T35" fmla="*/ 46 h 156"/>
                <a:gd name="T36" fmla="*/ 2 w 44"/>
                <a:gd name="T37" fmla="*/ 22 h 156"/>
                <a:gd name="T38" fmla="*/ 15 w 44"/>
                <a:gd name="T39" fmla="*/ 14 h 156"/>
                <a:gd name="T40" fmla="*/ 10 w 44"/>
                <a:gd name="T41" fmla="*/ 4 h 156"/>
                <a:gd name="T42" fmla="*/ 15 w 44"/>
                <a:gd name="T43"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156">
                  <a:moveTo>
                    <a:pt x="15" y="0"/>
                  </a:moveTo>
                  <a:lnTo>
                    <a:pt x="19" y="16"/>
                  </a:lnTo>
                  <a:lnTo>
                    <a:pt x="23" y="31"/>
                  </a:lnTo>
                  <a:lnTo>
                    <a:pt x="23" y="50"/>
                  </a:lnTo>
                  <a:lnTo>
                    <a:pt x="29" y="69"/>
                  </a:lnTo>
                  <a:lnTo>
                    <a:pt x="44" y="102"/>
                  </a:lnTo>
                  <a:lnTo>
                    <a:pt x="23" y="94"/>
                  </a:lnTo>
                  <a:lnTo>
                    <a:pt x="13" y="123"/>
                  </a:lnTo>
                  <a:lnTo>
                    <a:pt x="27" y="139"/>
                  </a:lnTo>
                  <a:lnTo>
                    <a:pt x="27" y="152"/>
                  </a:lnTo>
                  <a:lnTo>
                    <a:pt x="17" y="141"/>
                  </a:lnTo>
                  <a:lnTo>
                    <a:pt x="8" y="156"/>
                  </a:lnTo>
                  <a:lnTo>
                    <a:pt x="6" y="141"/>
                  </a:lnTo>
                  <a:lnTo>
                    <a:pt x="8" y="123"/>
                  </a:lnTo>
                  <a:lnTo>
                    <a:pt x="6" y="104"/>
                  </a:lnTo>
                  <a:lnTo>
                    <a:pt x="10" y="91"/>
                  </a:lnTo>
                  <a:lnTo>
                    <a:pt x="10" y="66"/>
                  </a:lnTo>
                  <a:lnTo>
                    <a:pt x="0" y="46"/>
                  </a:lnTo>
                  <a:lnTo>
                    <a:pt x="2" y="22"/>
                  </a:lnTo>
                  <a:lnTo>
                    <a:pt x="15" y="14"/>
                  </a:lnTo>
                  <a:lnTo>
                    <a:pt x="10" y="4"/>
                  </a:lnTo>
                  <a:lnTo>
                    <a:pt x="1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153">
              <a:extLst>
                <a:ext uri="{FF2B5EF4-FFF2-40B4-BE49-F238E27FC236}">
                  <a16:creationId xmlns:a16="http://schemas.microsoft.com/office/drawing/2014/main" id="{53B2BE04-D1FB-46F7-973F-EBAB0B603FCC}"/>
                </a:ext>
              </a:extLst>
            </p:cNvPr>
            <p:cNvSpPr>
              <a:spLocks/>
            </p:cNvSpPr>
            <p:nvPr/>
          </p:nvSpPr>
          <p:spPr bwMode="auto">
            <a:xfrm>
              <a:off x="4146551" y="3142100"/>
              <a:ext cx="98425" cy="103235"/>
            </a:xfrm>
            <a:custGeom>
              <a:avLst/>
              <a:gdLst>
                <a:gd name="T0" fmla="*/ 46 w 62"/>
                <a:gd name="T1" fmla="*/ 0 h 65"/>
                <a:gd name="T2" fmla="*/ 62 w 62"/>
                <a:gd name="T3" fmla="*/ 11 h 65"/>
                <a:gd name="T4" fmla="*/ 52 w 62"/>
                <a:gd name="T5" fmla="*/ 25 h 65"/>
                <a:gd name="T6" fmla="*/ 56 w 62"/>
                <a:gd name="T7" fmla="*/ 38 h 65"/>
                <a:gd name="T8" fmla="*/ 44 w 62"/>
                <a:gd name="T9" fmla="*/ 56 h 65"/>
                <a:gd name="T10" fmla="*/ 20 w 62"/>
                <a:gd name="T11" fmla="*/ 65 h 65"/>
                <a:gd name="T12" fmla="*/ 0 w 62"/>
                <a:gd name="T13" fmla="*/ 63 h 65"/>
                <a:gd name="T14" fmla="*/ 12 w 62"/>
                <a:gd name="T15" fmla="*/ 42 h 65"/>
                <a:gd name="T16" fmla="*/ 4 w 62"/>
                <a:gd name="T17" fmla="*/ 25 h 65"/>
                <a:gd name="T18" fmla="*/ 23 w 62"/>
                <a:gd name="T19" fmla="*/ 10 h 65"/>
                <a:gd name="T20" fmla="*/ 35 w 62"/>
                <a:gd name="T21" fmla="*/ 0 h 65"/>
                <a:gd name="T22" fmla="*/ 46 w 62"/>
                <a:gd name="T2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5">
                  <a:moveTo>
                    <a:pt x="46" y="0"/>
                  </a:moveTo>
                  <a:lnTo>
                    <a:pt x="62" y="11"/>
                  </a:lnTo>
                  <a:lnTo>
                    <a:pt x="52" y="25"/>
                  </a:lnTo>
                  <a:lnTo>
                    <a:pt x="56" y="38"/>
                  </a:lnTo>
                  <a:lnTo>
                    <a:pt x="44" y="56"/>
                  </a:lnTo>
                  <a:lnTo>
                    <a:pt x="20" y="65"/>
                  </a:lnTo>
                  <a:lnTo>
                    <a:pt x="0" y="63"/>
                  </a:lnTo>
                  <a:lnTo>
                    <a:pt x="12" y="42"/>
                  </a:lnTo>
                  <a:lnTo>
                    <a:pt x="4" y="25"/>
                  </a:lnTo>
                  <a:lnTo>
                    <a:pt x="23" y="10"/>
                  </a:lnTo>
                  <a:lnTo>
                    <a:pt x="35" y="0"/>
                  </a:lnTo>
                  <a:lnTo>
                    <a:pt x="4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155">
              <a:extLst>
                <a:ext uri="{FF2B5EF4-FFF2-40B4-BE49-F238E27FC236}">
                  <a16:creationId xmlns:a16="http://schemas.microsoft.com/office/drawing/2014/main" id="{2C0E7EF5-8C9D-4449-AE93-DF43A4963A64}"/>
                </a:ext>
              </a:extLst>
            </p:cNvPr>
            <p:cNvSpPr>
              <a:spLocks/>
            </p:cNvSpPr>
            <p:nvPr/>
          </p:nvSpPr>
          <p:spPr bwMode="auto">
            <a:xfrm>
              <a:off x="4610101" y="3111924"/>
              <a:ext cx="39688" cy="39706"/>
            </a:xfrm>
            <a:custGeom>
              <a:avLst/>
              <a:gdLst>
                <a:gd name="T0" fmla="*/ 19 w 25"/>
                <a:gd name="T1" fmla="*/ 0 h 25"/>
                <a:gd name="T2" fmla="*/ 25 w 25"/>
                <a:gd name="T3" fmla="*/ 11 h 25"/>
                <a:gd name="T4" fmla="*/ 17 w 25"/>
                <a:gd name="T5" fmla="*/ 25 h 25"/>
                <a:gd name="T6" fmla="*/ 2 w 25"/>
                <a:gd name="T7" fmla="*/ 13 h 25"/>
                <a:gd name="T8" fmla="*/ 0 w 25"/>
                <a:gd name="T9" fmla="*/ 7 h 25"/>
                <a:gd name="T10" fmla="*/ 19 w 25"/>
                <a:gd name="T11" fmla="*/ 0 h 25"/>
              </a:gdLst>
              <a:ahLst/>
              <a:cxnLst>
                <a:cxn ang="0">
                  <a:pos x="T0" y="T1"/>
                </a:cxn>
                <a:cxn ang="0">
                  <a:pos x="T2" y="T3"/>
                </a:cxn>
                <a:cxn ang="0">
                  <a:pos x="T4" y="T5"/>
                </a:cxn>
                <a:cxn ang="0">
                  <a:pos x="T6" y="T7"/>
                </a:cxn>
                <a:cxn ang="0">
                  <a:pos x="T8" y="T9"/>
                </a:cxn>
                <a:cxn ang="0">
                  <a:pos x="T10" y="T11"/>
                </a:cxn>
              </a:cxnLst>
              <a:rect l="0" t="0" r="r" b="b"/>
              <a:pathLst>
                <a:path w="25" h="25">
                  <a:moveTo>
                    <a:pt x="19" y="0"/>
                  </a:moveTo>
                  <a:lnTo>
                    <a:pt x="25" y="11"/>
                  </a:lnTo>
                  <a:lnTo>
                    <a:pt x="17" y="25"/>
                  </a:lnTo>
                  <a:lnTo>
                    <a:pt x="2" y="13"/>
                  </a:lnTo>
                  <a:lnTo>
                    <a:pt x="0" y="7"/>
                  </a:lnTo>
                  <a:lnTo>
                    <a:pt x="1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157">
              <a:extLst>
                <a:ext uri="{FF2B5EF4-FFF2-40B4-BE49-F238E27FC236}">
                  <a16:creationId xmlns:a16="http://schemas.microsoft.com/office/drawing/2014/main" id="{6EA486AC-56D4-441A-8F67-B6F216ECD80B}"/>
                </a:ext>
              </a:extLst>
            </p:cNvPr>
            <p:cNvSpPr>
              <a:spLocks/>
            </p:cNvSpPr>
            <p:nvPr/>
          </p:nvSpPr>
          <p:spPr bwMode="auto">
            <a:xfrm>
              <a:off x="949327" y="3053159"/>
              <a:ext cx="53975" cy="36530"/>
            </a:xfrm>
            <a:custGeom>
              <a:avLst/>
              <a:gdLst>
                <a:gd name="T0" fmla="*/ 19 w 34"/>
                <a:gd name="T1" fmla="*/ 0 h 23"/>
                <a:gd name="T2" fmla="*/ 30 w 34"/>
                <a:gd name="T3" fmla="*/ 0 h 23"/>
                <a:gd name="T4" fmla="*/ 34 w 34"/>
                <a:gd name="T5" fmla="*/ 8 h 23"/>
                <a:gd name="T6" fmla="*/ 23 w 34"/>
                <a:gd name="T7" fmla="*/ 18 h 23"/>
                <a:gd name="T8" fmla="*/ 9 w 34"/>
                <a:gd name="T9" fmla="*/ 23 h 23"/>
                <a:gd name="T10" fmla="*/ 1 w 34"/>
                <a:gd name="T11" fmla="*/ 20 h 23"/>
                <a:gd name="T12" fmla="*/ 0 w 34"/>
                <a:gd name="T13" fmla="*/ 10 h 23"/>
                <a:gd name="T14" fmla="*/ 11 w 34"/>
                <a:gd name="T15" fmla="*/ 2 h 23"/>
                <a:gd name="T16" fmla="*/ 19 w 34"/>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3">
                  <a:moveTo>
                    <a:pt x="19" y="0"/>
                  </a:moveTo>
                  <a:lnTo>
                    <a:pt x="30" y="0"/>
                  </a:lnTo>
                  <a:lnTo>
                    <a:pt x="34" y="8"/>
                  </a:lnTo>
                  <a:lnTo>
                    <a:pt x="23" y="18"/>
                  </a:lnTo>
                  <a:lnTo>
                    <a:pt x="9" y="23"/>
                  </a:lnTo>
                  <a:lnTo>
                    <a:pt x="1" y="20"/>
                  </a:lnTo>
                  <a:lnTo>
                    <a:pt x="0" y="10"/>
                  </a:lnTo>
                  <a:lnTo>
                    <a:pt x="11" y="2"/>
                  </a:lnTo>
                  <a:lnTo>
                    <a:pt x="1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159">
              <a:extLst>
                <a:ext uri="{FF2B5EF4-FFF2-40B4-BE49-F238E27FC236}">
                  <a16:creationId xmlns:a16="http://schemas.microsoft.com/office/drawing/2014/main" id="{62460E9A-49BE-40A0-AEE1-9FC972292B52}"/>
                </a:ext>
              </a:extLst>
            </p:cNvPr>
            <p:cNvSpPr>
              <a:spLocks/>
            </p:cNvSpPr>
            <p:nvPr/>
          </p:nvSpPr>
          <p:spPr bwMode="auto">
            <a:xfrm>
              <a:off x="4232276" y="3032513"/>
              <a:ext cx="173038" cy="265233"/>
            </a:xfrm>
            <a:custGeom>
              <a:avLst/>
              <a:gdLst>
                <a:gd name="T0" fmla="*/ 44 w 109"/>
                <a:gd name="T1" fmla="*/ 0 h 167"/>
                <a:gd name="T2" fmla="*/ 29 w 109"/>
                <a:gd name="T3" fmla="*/ 23 h 167"/>
                <a:gd name="T4" fmla="*/ 42 w 109"/>
                <a:gd name="T5" fmla="*/ 19 h 167"/>
                <a:gd name="T6" fmla="*/ 60 w 109"/>
                <a:gd name="T7" fmla="*/ 19 h 167"/>
                <a:gd name="T8" fmla="*/ 54 w 109"/>
                <a:gd name="T9" fmla="*/ 34 h 167"/>
                <a:gd name="T10" fmla="*/ 42 w 109"/>
                <a:gd name="T11" fmla="*/ 52 h 167"/>
                <a:gd name="T12" fmla="*/ 58 w 109"/>
                <a:gd name="T13" fmla="*/ 54 h 167"/>
                <a:gd name="T14" fmla="*/ 58 w 109"/>
                <a:gd name="T15" fmla="*/ 56 h 167"/>
                <a:gd name="T16" fmla="*/ 69 w 109"/>
                <a:gd name="T17" fmla="*/ 79 h 167"/>
                <a:gd name="T18" fmla="*/ 79 w 109"/>
                <a:gd name="T19" fmla="*/ 82 h 167"/>
                <a:gd name="T20" fmla="*/ 88 w 109"/>
                <a:gd name="T21" fmla="*/ 104 h 167"/>
                <a:gd name="T22" fmla="*/ 92 w 109"/>
                <a:gd name="T23" fmla="*/ 111 h 167"/>
                <a:gd name="T24" fmla="*/ 109 w 109"/>
                <a:gd name="T25" fmla="*/ 113 h 167"/>
                <a:gd name="T26" fmla="*/ 108 w 109"/>
                <a:gd name="T27" fmla="*/ 127 h 167"/>
                <a:gd name="T28" fmla="*/ 100 w 109"/>
                <a:gd name="T29" fmla="*/ 132 h 167"/>
                <a:gd name="T30" fmla="*/ 106 w 109"/>
                <a:gd name="T31" fmla="*/ 142 h 167"/>
                <a:gd name="T32" fmla="*/ 92 w 109"/>
                <a:gd name="T33" fmla="*/ 150 h 167"/>
                <a:gd name="T34" fmla="*/ 73 w 109"/>
                <a:gd name="T35" fmla="*/ 150 h 167"/>
                <a:gd name="T36" fmla="*/ 50 w 109"/>
                <a:gd name="T37" fmla="*/ 155 h 167"/>
                <a:gd name="T38" fmla="*/ 44 w 109"/>
                <a:gd name="T39" fmla="*/ 151 h 167"/>
                <a:gd name="T40" fmla="*/ 35 w 109"/>
                <a:gd name="T41" fmla="*/ 161 h 167"/>
                <a:gd name="T42" fmla="*/ 21 w 109"/>
                <a:gd name="T43" fmla="*/ 159 h 167"/>
                <a:gd name="T44" fmla="*/ 12 w 109"/>
                <a:gd name="T45" fmla="*/ 167 h 167"/>
                <a:gd name="T46" fmla="*/ 6 w 109"/>
                <a:gd name="T47" fmla="*/ 163 h 167"/>
                <a:gd name="T48" fmla="*/ 25 w 109"/>
                <a:gd name="T49" fmla="*/ 142 h 167"/>
                <a:gd name="T50" fmla="*/ 37 w 109"/>
                <a:gd name="T51" fmla="*/ 138 h 167"/>
                <a:gd name="T52" fmla="*/ 15 w 109"/>
                <a:gd name="T53" fmla="*/ 136 h 167"/>
                <a:gd name="T54" fmla="*/ 12 w 109"/>
                <a:gd name="T55" fmla="*/ 128 h 167"/>
                <a:gd name="T56" fmla="*/ 27 w 109"/>
                <a:gd name="T57" fmla="*/ 123 h 167"/>
                <a:gd name="T58" fmla="*/ 19 w 109"/>
                <a:gd name="T59" fmla="*/ 111 h 167"/>
                <a:gd name="T60" fmla="*/ 21 w 109"/>
                <a:gd name="T61" fmla="*/ 102 h 167"/>
                <a:gd name="T62" fmla="*/ 42 w 109"/>
                <a:gd name="T63" fmla="*/ 102 h 167"/>
                <a:gd name="T64" fmla="*/ 44 w 109"/>
                <a:gd name="T65" fmla="*/ 90 h 167"/>
                <a:gd name="T66" fmla="*/ 35 w 109"/>
                <a:gd name="T67" fmla="*/ 79 h 167"/>
                <a:gd name="T68" fmla="*/ 19 w 109"/>
                <a:gd name="T69" fmla="*/ 75 h 167"/>
                <a:gd name="T70" fmla="*/ 15 w 109"/>
                <a:gd name="T71" fmla="*/ 71 h 167"/>
                <a:gd name="T72" fmla="*/ 21 w 109"/>
                <a:gd name="T73" fmla="*/ 63 h 167"/>
                <a:gd name="T74" fmla="*/ 15 w 109"/>
                <a:gd name="T75" fmla="*/ 57 h 167"/>
                <a:gd name="T76" fmla="*/ 8 w 109"/>
                <a:gd name="T77" fmla="*/ 65 h 167"/>
                <a:gd name="T78" fmla="*/ 8 w 109"/>
                <a:gd name="T79" fmla="*/ 46 h 167"/>
                <a:gd name="T80" fmla="*/ 0 w 109"/>
                <a:gd name="T81" fmla="*/ 36 h 167"/>
                <a:gd name="T82" fmla="*/ 6 w 109"/>
                <a:gd name="T83" fmla="*/ 15 h 167"/>
                <a:gd name="T84" fmla="*/ 15 w 109"/>
                <a:gd name="T85" fmla="*/ 0 h 167"/>
                <a:gd name="T86" fmla="*/ 27 w 109"/>
                <a:gd name="T87" fmla="*/ 2 h 167"/>
                <a:gd name="T88" fmla="*/ 44 w 109"/>
                <a:gd name="T8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9" h="167">
                  <a:moveTo>
                    <a:pt x="44" y="0"/>
                  </a:moveTo>
                  <a:lnTo>
                    <a:pt x="29" y="23"/>
                  </a:lnTo>
                  <a:lnTo>
                    <a:pt x="42" y="19"/>
                  </a:lnTo>
                  <a:lnTo>
                    <a:pt x="60" y="19"/>
                  </a:lnTo>
                  <a:lnTo>
                    <a:pt x="54" y="34"/>
                  </a:lnTo>
                  <a:lnTo>
                    <a:pt x="42" y="52"/>
                  </a:lnTo>
                  <a:lnTo>
                    <a:pt x="58" y="54"/>
                  </a:lnTo>
                  <a:lnTo>
                    <a:pt x="58" y="56"/>
                  </a:lnTo>
                  <a:lnTo>
                    <a:pt x="69" y="79"/>
                  </a:lnTo>
                  <a:lnTo>
                    <a:pt x="79" y="82"/>
                  </a:lnTo>
                  <a:lnTo>
                    <a:pt x="88" y="104"/>
                  </a:lnTo>
                  <a:lnTo>
                    <a:pt x="92" y="111"/>
                  </a:lnTo>
                  <a:lnTo>
                    <a:pt x="109" y="113"/>
                  </a:lnTo>
                  <a:lnTo>
                    <a:pt x="108" y="127"/>
                  </a:lnTo>
                  <a:lnTo>
                    <a:pt x="100" y="132"/>
                  </a:lnTo>
                  <a:lnTo>
                    <a:pt x="106" y="142"/>
                  </a:lnTo>
                  <a:lnTo>
                    <a:pt x="92" y="150"/>
                  </a:lnTo>
                  <a:lnTo>
                    <a:pt x="73" y="150"/>
                  </a:lnTo>
                  <a:lnTo>
                    <a:pt x="50" y="155"/>
                  </a:lnTo>
                  <a:lnTo>
                    <a:pt x="44" y="151"/>
                  </a:lnTo>
                  <a:lnTo>
                    <a:pt x="35" y="161"/>
                  </a:lnTo>
                  <a:lnTo>
                    <a:pt x="21" y="159"/>
                  </a:lnTo>
                  <a:lnTo>
                    <a:pt x="12" y="167"/>
                  </a:lnTo>
                  <a:lnTo>
                    <a:pt x="6" y="163"/>
                  </a:lnTo>
                  <a:lnTo>
                    <a:pt x="25" y="142"/>
                  </a:lnTo>
                  <a:lnTo>
                    <a:pt x="37" y="138"/>
                  </a:lnTo>
                  <a:lnTo>
                    <a:pt x="15" y="136"/>
                  </a:lnTo>
                  <a:lnTo>
                    <a:pt x="12" y="128"/>
                  </a:lnTo>
                  <a:lnTo>
                    <a:pt x="27" y="123"/>
                  </a:lnTo>
                  <a:lnTo>
                    <a:pt x="19" y="111"/>
                  </a:lnTo>
                  <a:lnTo>
                    <a:pt x="21" y="102"/>
                  </a:lnTo>
                  <a:lnTo>
                    <a:pt x="42" y="102"/>
                  </a:lnTo>
                  <a:lnTo>
                    <a:pt x="44" y="90"/>
                  </a:lnTo>
                  <a:lnTo>
                    <a:pt x="35" y="79"/>
                  </a:lnTo>
                  <a:lnTo>
                    <a:pt x="19" y="75"/>
                  </a:lnTo>
                  <a:lnTo>
                    <a:pt x="15" y="71"/>
                  </a:lnTo>
                  <a:lnTo>
                    <a:pt x="21" y="63"/>
                  </a:lnTo>
                  <a:lnTo>
                    <a:pt x="15" y="57"/>
                  </a:lnTo>
                  <a:lnTo>
                    <a:pt x="8" y="65"/>
                  </a:lnTo>
                  <a:lnTo>
                    <a:pt x="8" y="46"/>
                  </a:lnTo>
                  <a:lnTo>
                    <a:pt x="0" y="36"/>
                  </a:lnTo>
                  <a:lnTo>
                    <a:pt x="6" y="15"/>
                  </a:lnTo>
                  <a:lnTo>
                    <a:pt x="15" y="0"/>
                  </a:lnTo>
                  <a:lnTo>
                    <a:pt x="27" y="2"/>
                  </a:lnTo>
                  <a:lnTo>
                    <a:pt x="4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161">
              <a:extLst>
                <a:ext uri="{FF2B5EF4-FFF2-40B4-BE49-F238E27FC236}">
                  <a16:creationId xmlns:a16="http://schemas.microsoft.com/office/drawing/2014/main" id="{1A020BCE-9C81-4F25-A961-138AFBDEA424}"/>
                </a:ext>
              </a:extLst>
            </p:cNvPr>
            <p:cNvSpPr>
              <a:spLocks/>
            </p:cNvSpPr>
            <p:nvPr/>
          </p:nvSpPr>
          <p:spPr bwMode="auto">
            <a:xfrm>
              <a:off x="2590801" y="2903867"/>
              <a:ext cx="23813" cy="28588"/>
            </a:xfrm>
            <a:custGeom>
              <a:avLst/>
              <a:gdLst>
                <a:gd name="T0" fmla="*/ 7 w 15"/>
                <a:gd name="T1" fmla="*/ 0 h 18"/>
                <a:gd name="T2" fmla="*/ 11 w 15"/>
                <a:gd name="T3" fmla="*/ 2 h 18"/>
                <a:gd name="T4" fmla="*/ 15 w 15"/>
                <a:gd name="T5" fmla="*/ 6 h 18"/>
                <a:gd name="T6" fmla="*/ 9 w 15"/>
                <a:gd name="T7" fmla="*/ 18 h 18"/>
                <a:gd name="T8" fmla="*/ 4 w 15"/>
                <a:gd name="T9" fmla="*/ 16 h 18"/>
                <a:gd name="T10" fmla="*/ 0 w 15"/>
                <a:gd name="T11" fmla="*/ 10 h 18"/>
                <a:gd name="T12" fmla="*/ 0 w 15"/>
                <a:gd name="T13" fmla="*/ 8 h 18"/>
                <a:gd name="T14" fmla="*/ 7 w 15"/>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8">
                  <a:moveTo>
                    <a:pt x="7" y="0"/>
                  </a:moveTo>
                  <a:lnTo>
                    <a:pt x="11" y="2"/>
                  </a:lnTo>
                  <a:lnTo>
                    <a:pt x="15" y="6"/>
                  </a:lnTo>
                  <a:lnTo>
                    <a:pt x="9" y="18"/>
                  </a:lnTo>
                  <a:lnTo>
                    <a:pt x="4" y="16"/>
                  </a:lnTo>
                  <a:lnTo>
                    <a:pt x="0" y="10"/>
                  </a:lnTo>
                  <a:lnTo>
                    <a:pt x="0" y="8"/>
                  </a:lnTo>
                  <a:lnTo>
                    <a:pt x="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163">
              <a:extLst>
                <a:ext uri="{FF2B5EF4-FFF2-40B4-BE49-F238E27FC236}">
                  <a16:creationId xmlns:a16="http://schemas.microsoft.com/office/drawing/2014/main" id="{70233644-0091-4120-8A2C-95E335BBCD49}"/>
                </a:ext>
              </a:extLst>
            </p:cNvPr>
            <p:cNvSpPr>
              <a:spLocks/>
            </p:cNvSpPr>
            <p:nvPr/>
          </p:nvSpPr>
          <p:spPr bwMode="auto">
            <a:xfrm>
              <a:off x="2511427" y="2889574"/>
              <a:ext cx="46038" cy="23824"/>
            </a:xfrm>
            <a:custGeom>
              <a:avLst/>
              <a:gdLst>
                <a:gd name="T0" fmla="*/ 9 w 29"/>
                <a:gd name="T1" fmla="*/ 0 h 15"/>
                <a:gd name="T2" fmla="*/ 29 w 29"/>
                <a:gd name="T3" fmla="*/ 0 h 15"/>
                <a:gd name="T4" fmla="*/ 29 w 29"/>
                <a:gd name="T5" fmla="*/ 4 h 15"/>
                <a:gd name="T6" fmla="*/ 11 w 29"/>
                <a:gd name="T7" fmla="*/ 15 h 15"/>
                <a:gd name="T8" fmla="*/ 4 w 29"/>
                <a:gd name="T9" fmla="*/ 15 h 15"/>
                <a:gd name="T10" fmla="*/ 0 w 29"/>
                <a:gd name="T11" fmla="*/ 9 h 15"/>
                <a:gd name="T12" fmla="*/ 9 w 29"/>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9" h="15">
                  <a:moveTo>
                    <a:pt x="9" y="0"/>
                  </a:moveTo>
                  <a:lnTo>
                    <a:pt x="29" y="0"/>
                  </a:lnTo>
                  <a:lnTo>
                    <a:pt x="29" y="4"/>
                  </a:lnTo>
                  <a:lnTo>
                    <a:pt x="11" y="15"/>
                  </a:lnTo>
                  <a:lnTo>
                    <a:pt x="4" y="15"/>
                  </a:lnTo>
                  <a:lnTo>
                    <a:pt x="0" y="9"/>
                  </a:lnTo>
                  <a:lnTo>
                    <a:pt x="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165">
              <a:extLst>
                <a:ext uri="{FF2B5EF4-FFF2-40B4-BE49-F238E27FC236}">
                  <a16:creationId xmlns:a16="http://schemas.microsoft.com/office/drawing/2014/main" id="{E2FDBB79-E536-4759-9D39-582827AB469E}"/>
                </a:ext>
              </a:extLst>
            </p:cNvPr>
            <p:cNvSpPr>
              <a:spLocks/>
            </p:cNvSpPr>
            <p:nvPr/>
          </p:nvSpPr>
          <p:spPr bwMode="auto">
            <a:xfrm>
              <a:off x="2441577" y="2787928"/>
              <a:ext cx="155575" cy="95293"/>
            </a:xfrm>
            <a:custGeom>
              <a:avLst/>
              <a:gdLst>
                <a:gd name="T0" fmla="*/ 17 w 98"/>
                <a:gd name="T1" fmla="*/ 0 h 60"/>
                <a:gd name="T2" fmla="*/ 27 w 98"/>
                <a:gd name="T3" fmla="*/ 2 h 60"/>
                <a:gd name="T4" fmla="*/ 30 w 98"/>
                <a:gd name="T5" fmla="*/ 12 h 60"/>
                <a:gd name="T6" fmla="*/ 38 w 98"/>
                <a:gd name="T7" fmla="*/ 8 h 60"/>
                <a:gd name="T8" fmla="*/ 46 w 98"/>
                <a:gd name="T9" fmla="*/ 14 h 60"/>
                <a:gd name="T10" fmla="*/ 61 w 98"/>
                <a:gd name="T11" fmla="*/ 21 h 60"/>
                <a:gd name="T12" fmla="*/ 77 w 98"/>
                <a:gd name="T13" fmla="*/ 29 h 60"/>
                <a:gd name="T14" fmla="*/ 77 w 98"/>
                <a:gd name="T15" fmla="*/ 41 h 60"/>
                <a:gd name="T16" fmla="*/ 86 w 98"/>
                <a:gd name="T17" fmla="*/ 39 h 60"/>
                <a:gd name="T18" fmla="*/ 98 w 98"/>
                <a:gd name="T19" fmla="*/ 46 h 60"/>
                <a:gd name="T20" fmla="*/ 86 w 98"/>
                <a:gd name="T21" fmla="*/ 52 h 60"/>
                <a:gd name="T22" fmla="*/ 63 w 98"/>
                <a:gd name="T23" fmla="*/ 46 h 60"/>
                <a:gd name="T24" fmla="*/ 55 w 98"/>
                <a:gd name="T25" fmla="*/ 37 h 60"/>
                <a:gd name="T26" fmla="*/ 42 w 98"/>
                <a:gd name="T27" fmla="*/ 48 h 60"/>
                <a:gd name="T28" fmla="*/ 21 w 98"/>
                <a:gd name="T29" fmla="*/ 60 h 60"/>
                <a:gd name="T30" fmla="*/ 17 w 98"/>
                <a:gd name="T31" fmla="*/ 46 h 60"/>
                <a:gd name="T32" fmla="*/ 0 w 98"/>
                <a:gd name="T33" fmla="*/ 48 h 60"/>
                <a:gd name="T34" fmla="*/ 9 w 98"/>
                <a:gd name="T35" fmla="*/ 39 h 60"/>
                <a:gd name="T36" fmla="*/ 11 w 98"/>
                <a:gd name="T37" fmla="*/ 20 h 60"/>
                <a:gd name="T38" fmla="*/ 17 w 98"/>
                <a:gd name="T3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60">
                  <a:moveTo>
                    <a:pt x="17" y="0"/>
                  </a:moveTo>
                  <a:lnTo>
                    <a:pt x="27" y="2"/>
                  </a:lnTo>
                  <a:lnTo>
                    <a:pt x="30" y="12"/>
                  </a:lnTo>
                  <a:lnTo>
                    <a:pt x="38" y="8"/>
                  </a:lnTo>
                  <a:lnTo>
                    <a:pt x="46" y="14"/>
                  </a:lnTo>
                  <a:lnTo>
                    <a:pt x="61" y="21"/>
                  </a:lnTo>
                  <a:lnTo>
                    <a:pt x="77" y="29"/>
                  </a:lnTo>
                  <a:lnTo>
                    <a:pt x="77" y="41"/>
                  </a:lnTo>
                  <a:lnTo>
                    <a:pt x="86" y="39"/>
                  </a:lnTo>
                  <a:lnTo>
                    <a:pt x="98" y="46"/>
                  </a:lnTo>
                  <a:lnTo>
                    <a:pt x="86" y="52"/>
                  </a:lnTo>
                  <a:lnTo>
                    <a:pt x="63" y="46"/>
                  </a:lnTo>
                  <a:lnTo>
                    <a:pt x="55" y="37"/>
                  </a:lnTo>
                  <a:lnTo>
                    <a:pt x="42" y="48"/>
                  </a:lnTo>
                  <a:lnTo>
                    <a:pt x="21" y="60"/>
                  </a:lnTo>
                  <a:lnTo>
                    <a:pt x="17" y="46"/>
                  </a:lnTo>
                  <a:lnTo>
                    <a:pt x="0" y="48"/>
                  </a:lnTo>
                  <a:lnTo>
                    <a:pt x="9" y="39"/>
                  </a:lnTo>
                  <a:lnTo>
                    <a:pt x="11" y="20"/>
                  </a:lnTo>
                  <a:lnTo>
                    <a:pt x="1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167">
              <a:extLst>
                <a:ext uri="{FF2B5EF4-FFF2-40B4-BE49-F238E27FC236}">
                  <a16:creationId xmlns:a16="http://schemas.microsoft.com/office/drawing/2014/main" id="{6142F183-880B-4F7B-917A-4A4EE1D73DB3}"/>
                </a:ext>
              </a:extLst>
            </p:cNvPr>
            <p:cNvSpPr>
              <a:spLocks/>
            </p:cNvSpPr>
            <p:nvPr/>
          </p:nvSpPr>
          <p:spPr bwMode="auto">
            <a:xfrm>
              <a:off x="3830638" y="2757751"/>
              <a:ext cx="236538" cy="109588"/>
            </a:xfrm>
            <a:custGeom>
              <a:avLst/>
              <a:gdLst>
                <a:gd name="T0" fmla="*/ 113 w 149"/>
                <a:gd name="T1" fmla="*/ 0 h 69"/>
                <a:gd name="T2" fmla="*/ 136 w 149"/>
                <a:gd name="T3" fmla="*/ 2 h 69"/>
                <a:gd name="T4" fmla="*/ 132 w 149"/>
                <a:gd name="T5" fmla="*/ 17 h 69"/>
                <a:gd name="T6" fmla="*/ 149 w 149"/>
                <a:gd name="T7" fmla="*/ 33 h 69"/>
                <a:gd name="T8" fmla="*/ 132 w 149"/>
                <a:gd name="T9" fmla="*/ 50 h 69"/>
                <a:gd name="T10" fmla="*/ 92 w 149"/>
                <a:gd name="T11" fmla="*/ 65 h 69"/>
                <a:gd name="T12" fmla="*/ 78 w 149"/>
                <a:gd name="T13" fmla="*/ 69 h 69"/>
                <a:gd name="T14" fmla="*/ 61 w 149"/>
                <a:gd name="T15" fmla="*/ 65 h 69"/>
                <a:gd name="T16" fmla="*/ 21 w 149"/>
                <a:gd name="T17" fmla="*/ 60 h 69"/>
                <a:gd name="T18" fmla="*/ 36 w 149"/>
                <a:gd name="T19" fmla="*/ 50 h 69"/>
                <a:gd name="T20" fmla="*/ 4 w 149"/>
                <a:gd name="T21" fmla="*/ 37 h 69"/>
                <a:gd name="T22" fmla="*/ 29 w 149"/>
                <a:gd name="T23" fmla="*/ 35 h 69"/>
                <a:gd name="T24" fmla="*/ 29 w 149"/>
                <a:gd name="T25" fmla="*/ 27 h 69"/>
                <a:gd name="T26" fmla="*/ 0 w 149"/>
                <a:gd name="T27" fmla="*/ 23 h 69"/>
                <a:gd name="T28" fmla="*/ 9 w 149"/>
                <a:gd name="T29" fmla="*/ 8 h 69"/>
                <a:gd name="T30" fmla="*/ 30 w 149"/>
                <a:gd name="T31" fmla="*/ 4 h 69"/>
                <a:gd name="T32" fmla="*/ 53 w 149"/>
                <a:gd name="T33" fmla="*/ 19 h 69"/>
                <a:gd name="T34" fmla="*/ 73 w 149"/>
                <a:gd name="T35" fmla="*/ 6 h 69"/>
                <a:gd name="T36" fmla="*/ 92 w 149"/>
                <a:gd name="T37" fmla="*/ 12 h 69"/>
                <a:gd name="T38" fmla="*/ 113 w 149"/>
                <a:gd name="T3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69">
                  <a:moveTo>
                    <a:pt x="113" y="0"/>
                  </a:moveTo>
                  <a:lnTo>
                    <a:pt x="136" y="2"/>
                  </a:lnTo>
                  <a:lnTo>
                    <a:pt x="132" y="17"/>
                  </a:lnTo>
                  <a:lnTo>
                    <a:pt x="149" y="33"/>
                  </a:lnTo>
                  <a:lnTo>
                    <a:pt x="132" y="50"/>
                  </a:lnTo>
                  <a:lnTo>
                    <a:pt x="92" y="65"/>
                  </a:lnTo>
                  <a:lnTo>
                    <a:pt x="78" y="69"/>
                  </a:lnTo>
                  <a:lnTo>
                    <a:pt x="61" y="65"/>
                  </a:lnTo>
                  <a:lnTo>
                    <a:pt x="21" y="60"/>
                  </a:lnTo>
                  <a:lnTo>
                    <a:pt x="36" y="50"/>
                  </a:lnTo>
                  <a:lnTo>
                    <a:pt x="4" y="37"/>
                  </a:lnTo>
                  <a:lnTo>
                    <a:pt x="29" y="35"/>
                  </a:lnTo>
                  <a:lnTo>
                    <a:pt x="29" y="27"/>
                  </a:lnTo>
                  <a:lnTo>
                    <a:pt x="0" y="23"/>
                  </a:lnTo>
                  <a:lnTo>
                    <a:pt x="9" y="8"/>
                  </a:lnTo>
                  <a:lnTo>
                    <a:pt x="30" y="4"/>
                  </a:lnTo>
                  <a:lnTo>
                    <a:pt x="53" y="19"/>
                  </a:lnTo>
                  <a:lnTo>
                    <a:pt x="73" y="6"/>
                  </a:lnTo>
                  <a:lnTo>
                    <a:pt x="92" y="12"/>
                  </a:lnTo>
                  <a:lnTo>
                    <a:pt x="11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169">
              <a:extLst>
                <a:ext uri="{FF2B5EF4-FFF2-40B4-BE49-F238E27FC236}">
                  <a16:creationId xmlns:a16="http://schemas.microsoft.com/office/drawing/2014/main" id="{5D7E0446-3028-4393-8FE5-8A86923C0CCA}"/>
                </a:ext>
              </a:extLst>
            </p:cNvPr>
            <p:cNvSpPr>
              <a:spLocks/>
            </p:cNvSpPr>
            <p:nvPr/>
          </p:nvSpPr>
          <p:spPr bwMode="auto">
            <a:xfrm>
              <a:off x="2660651" y="2694222"/>
              <a:ext cx="46038" cy="46059"/>
            </a:xfrm>
            <a:custGeom>
              <a:avLst/>
              <a:gdLst>
                <a:gd name="T0" fmla="*/ 17 w 29"/>
                <a:gd name="T1" fmla="*/ 0 h 29"/>
                <a:gd name="T2" fmla="*/ 29 w 29"/>
                <a:gd name="T3" fmla="*/ 6 h 29"/>
                <a:gd name="T4" fmla="*/ 29 w 29"/>
                <a:gd name="T5" fmla="*/ 11 h 29"/>
                <a:gd name="T6" fmla="*/ 29 w 29"/>
                <a:gd name="T7" fmla="*/ 15 h 29"/>
                <a:gd name="T8" fmla="*/ 27 w 29"/>
                <a:gd name="T9" fmla="*/ 19 h 29"/>
                <a:gd name="T10" fmla="*/ 17 w 29"/>
                <a:gd name="T11" fmla="*/ 27 h 29"/>
                <a:gd name="T12" fmla="*/ 4 w 29"/>
                <a:gd name="T13" fmla="*/ 29 h 29"/>
                <a:gd name="T14" fmla="*/ 0 w 29"/>
                <a:gd name="T15" fmla="*/ 15 h 29"/>
                <a:gd name="T16" fmla="*/ 4 w 29"/>
                <a:gd name="T17" fmla="*/ 2 h 29"/>
                <a:gd name="T18" fmla="*/ 17 w 29"/>
                <a:gd name="T1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7" y="0"/>
                  </a:moveTo>
                  <a:lnTo>
                    <a:pt x="29" y="6"/>
                  </a:lnTo>
                  <a:lnTo>
                    <a:pt x="29" y="11"/>
                  </a:lnTo>
                  <a:lnTo>
                    <a:pt x="29" y="15"/>
                  </a:lnTo>
                  <a:lnTo>
                    <a:pt x="27" y="19"/>
                  </a:lnTo>
                  <a:lnTo>
                    <a:pt x="17" y="27"/>
                  </a:lnTo>
                  <a:lnTo>
                    <a:pt x="4" y="29"/>
                  </a:lnTo>
                  <a:lnTo>
                    <a:pt x="0" y="15"/>
                  </a:lnTo>
                  <a:lnTo>
                    <a:pt x="4" y="2"/>
                  </a:lnTo>
                  <a:lnTo>
                    <a:pt x="1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171">
              <a:extLst>
                <a:ext uri="{FF2B5EF4-FFF2-40B4-BE49-F238E27FC236}">
                  <a16:creationId xmlns:a16="http://schemas.microsoft.com/office/drawing/2014/main" id="{A919673F-3E5A-4D2D-9ABA-6FD6C6A5471B}"/>
                </a:ext>
              </a:extLst>
            </p:cNvPr>
            <p:cNvSpPr>
              <a:spLocks/>
            </p:cNvSpPr>
            <p:nvPr/>
          </p:nvSpPr>
          <p:spPr bwMode="auto">
            <a:xfrm>
              <a:off x="2160589" y="2621164"/>
              <a:ext cx="92075" cy="53999"/>
            </a:xfrm>
            <a:custGeom>
              <a:avLst/>
              <a:gdLst>
                <a:gd name="T0" fmla="*/ 21 w 58"/>
                <a:gd name="T1" fmla="*/ 0 h 34"/>
                <a:gd name="T2" fmla="*/ 37 w 58"/>
                <a:gd name="T3" fmla="*/ 7 h 34"/>
                <a:gd name="T4" fmla="*/ 44 w 58"/>
                <a:gd name="T5" fmla="*/ 11 h 34"/>
                <a:gd name="T6" fmla="*/ 50 w 58"/>
                <a:gd name="T7" fmla="*/ 17 h 34"/>
                <a:gd name="T8" fmla="*/ 58 w 58"/>
                <a:gd name="T9" fmla="*/ 25 h 34"/>
                <a:gd name="T10" fmla="*/ 50 w 58"/>
                <a:gd name="T11" fmla="*/ 34 h 34"/>
                <a:gd name="T12" fmla="*/ 31 w 58"/>
                <a:gd name="T13" fmla="*/ 27 h 34"/>
                <a:gd name="T14" fmla="*/ 19 w 58"/>
                <a:gd name="T15" fmla="*/ 29 h 34"/>
                <a:gd name="T16" fmla="*/ 0 w 58"/>
                <a:gd name="T17" fmla="*/ 19 h 34"/>
                <a:gd name="T18" fmla="*/ 12 w 58"/>
                <a:gd name="T19" fmla="*/ 9 h 34"/>
                <a:gd name="T20" fmla="*/ 21 w 58"/>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34">
                  <a:moveTo>
                    <a:pt x="21" y="0"/>
                  </a:moveTo>
                  <a:lnTo>
                    <a:pt x="37" y="7"/>
                  </a:lnTo>
                  <a:lnTo>
                    <a:pt x="44" y="11"/>
                  </a:lnTo>
                  <a:lnTo>
                    <a:pt x="50" y="17"/>
                  </a:lnTo>
                  <a:lnTo>
                    <a:pt x="58" y="25"/>
                  </a:lnTo>
                  <a:lnTo>
                    <a:pt x="50" y="34"/>
                  </a:lnTo>
                  <a:lnTo>
                    <a:pt x="31" y="27"/>
                  </a:lnTo>
                  <a:lnTo>
                    <a:pt x="19" y="29"/>
                  </a:lnTo>
                  <a:lnTo>
                    <a:pt x="0" y="19"/>
                  </a:lnTo>
                  <a:lnTo>
                    <a:pt x="12" y="9"/>
                  </a:lnTo>
                  <a:lnTo>
                    <a:pt x="2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173">
              <a:extLst>
                <a:ext uri="{FF2B5EF4-FFF2-40B4-BE49-F238E27FC236}">
                  <a16:creationId xmlns:a16="http://schemas.microsoft.com/office/drawing/2014/main" id="{D52997DA-CB80-4F9E-AA78-52A63301CD16}"/>
                </a:ext>
              </a:extLst>
            </p:cNvPr>
            <p:cNvSpPr>
              <a:spLocks/>
            </p:cNvSpPr>
            <p:nvPr/>
          </p:nvSpPr>
          <p:spPr bwMode="auto">
            <a:xfrm>
              <a:off x="8320087" y="2562401"/>
              <a:ext cx="82550" cy="31764"/>
            </a:xfrm>
            <a:custGeom>
              <a:avLst/>
              <a:gdLst>
                <a:gd name="T0" fmla="*/ 19 w 52"/>
                <a:gd name="T1" fmla="*/ 0 h 20"/>
                <a:gd name="T2" fmla="*/ 33 w 52"/>
                <a:gd name="T3" fmla="*/ 0 h 20"/>
                <a:gd name="T4" fmla="*/ 52 w 52"/>
                <a:gd name="T5" fmla="*/ 10 h 20"/>
                <a:gd name="T6" fmla="*/ 50 w 52"/>
                <a:gd name="T7" fmla="*/ 12 h 20"/>
                <a:gd name="T8" fmla="*/ 37 w 52"/>
                <a:gd name="T9" fmla="*/ 18 h 20"/>
                <a:gd name="T10" fmla="*/ 19 w 52"/>
                <a:gd name="T11" fmla="*/ 20 h 20"/>
                <a:gd name="T12" fmla="*/ 4 w 52"/>
                <a:gd name="T13" fmla="*/ 20 h 20"/>
                <a:gd name="T14" fmla="*/ 0 w 52"/>
                <a:gd name="T15" fmla="*/ 12 h 20"/>
                <a:gd name="T16" fmla="*/ 19 w 52"/>
                <a:gd name="T17" fmla="*/ 2 h 20"/>
                <a:gd name="T18" fmla="*/ 19 w 52"/>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20">
                  <a:moveTo>
                    <a:pt x="19" y="0"/>
                  </a:moveTo>
                  <a:lnTo>
                    <a:pt x="33" y="0"/>
                  </a:lnTo>
                  <a:lnTo>
                    <a:pt x="52" y="10"/>
                  </a:lnTo>
                  <a:lnTo>
                    <a:pt x="50" y="12"/>
                  </a:lnTo>
                  <a:lnTo>
                    <a:pt x="37" y="18"/>
                  </a:lnTo>
                  <a:lnTo>
                    <a:pt x="19" y="20"/>
                  </a:lnTo>
                  <a:lnTo>
                    <a:pt x="4" y="20"/>
                  </a:lnTo>
                  <a:lnTo>
                    <a:pt x="0" y="12"/>
                  </a:lnTo>
                  <a:lnTo>
                    <a:pt x="19" y="2"/>
                  </a:lnTo>
                  <a:lnTo>
                    <a:pt x="1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175">
              <a:extLst>
                <a:ext uri="{FF2B5EF4-FFF2-40B4-BE49-F238E27FC236}">
                  <a16:creationId xmlns:a16="http://schemas.microsoft.com/office/drawing/2014/main" id="{AAEA2BAD-FEF1-45B6-8E07-4175D95DE49F}"/>
                </a:ext>
              </a:extLst>
            </p:cNvPr>
            <p:cNvSpPr>
              <a:spLocks/>
            </p:cNvSpPr>
            <p:nvPr/>
          </p:nvSpPr>
          <p:spPr bwMode="auto">
            <a:xfrm>
              <a:off x="649289" y="2548106"/>
              <a:ext cx="2952749" cy="3276493"/>
            </a:xfrm>
            <a:custGeom>
              <a:avLst/>
              <a:gdLst>
                <a:gd name="T0" fmla="*/ 1221 w 1860"/>
                <a:gd name="T1" fmla="*/ 1128 h 2063"/>
                <a:gd name="T2" fmla="*/ 1173 w 1860"/>
                <a:gd name="T3" fmla="*/ 1101 h 2063"/>
                <a:gd name="T4" fmla="*/ 1138 w 1860"/>
                <a:gd name="T5" fmla="*/ 1067 h 2063"/>
                <a:gd name="T6" fmla="*/ 1081 w 1860"/>
                <a:gd name="T7" fmla="*/ 1036 h 2063"/>
                <a:gd name="T8" fmla="*/ 927 w 1860"/>
                <a:gd name="T9" fmla="*/ 982 h 2063"/>
                <a:gd name="T10" fmla="*/ 864 w 1860"/>
                <a:gd name="T11" fmla="*/ 908 h 2063"/>
                <a:gd name="T12" fmla="*/ 766 w 1860"/>
                <a:gd name="T13" fmla="*/ 789 h 2063"/>
                <a:gd name="T14" fmla="*/ 778 w 1860"/>
                <a:gd name="T15" fmla="*/ 838 h 2063"/>
                <a:gd name="T16" fmla="*/ 787 w 1860"/>
                <a:gd name="T17" fmla="*/ 883 h 2063"/>
                <a:gd name="T18" fmla="*/ 733 w 1860"/>
                <a:gd name="T19" fmla="*/ 806 h 2063"/>
                <a:gd name="T20" fmla="*/ 636 w 1860"/>
                <a:gd name="T21" fmla="*/ 683 h 2063"/>
                <a:gd name="T22" fmla="*/ 607 w 1860"/>
                <a:gd name="T23" fmla="*/ 499 h 2063"/>
                <a:gd name="T24" fmla="*/ 524 w 1860"/>
                <a:gd name="T25" fmla="*/ 380 h 2063"/>
                <a:gd name="T26" fmla="*/ 279 w 1860"/>
                <a:gd name="T27" fmla="*/ 263 h 2063"/>
                <a:gd name="T28" fmla="*/ 179 w 1860"/>
                <a:gd name="T29" fmla="*/ 322 h 2063"/>
                <a:gd name="T30" fmla="*/ 106 w 1860"/>
                <a:gd name="T31" fmla="*/ 357 h 2063"/>
                <a:gd name="T32" fmla="*/ 87 w 1860"/>
                <a:gd name="T33" fmla="*/ 291 h 2063"/>
                <a:gd name="T34" fmla="*/ 104 w 1860"/>
                <a:gd name="T35" fmla="*/ 195 h 2063"/>
                <a:gd name="T36" fmla="*/ 60 w 1860"/>
                <a:gd name="T37" fmla="*/ 142 h 2063"/>
                <a:gd name="T38" fmla="*/ 162 w 1860"/>
                <a:gd name="T39" fmla="*/ 17 h 2063"/>
                <a:gd name="T40" fmla="*/ 426 w 1860"/>
                <a:gd name="T41" fmla="*/ 75 h 2063"/>
                <a:gd name="T42" fmla="*/ 634 w 1860"/>
                <a:gd name="T43" fmla="*/ 53 h 2063"/>
                <a:gd name="T44" fmla="*/ 854 w 1860"/>
                <a:gd name="T45" fmla="*/ 80 h 2063"/>
                <a:gd name="T46" fmla="*/ 1029 w 1860"/>
                <a:gd name="T47" fmla="*/ 73 h 2063"/>
                <a:gd name="T48" fmla="*/ 1127 w 1860"/>
                <a:gd name="T49" fmla="*/ 119 h 2063"/>
                <a:gd name="T50" fmla="*/ 1129 w 1860"/>
                <a:gd name="T51" fmla="*/ 163 h 2063"/>
                <a:gd name="T52" fmla="*/ 1102 w 1860"/>
                <a:gd name="T53" fmla="*/ 339 h 2063"/>
                <a:gd name="T54" fmla="*/ 1253 w 1860"/>
                <a:gd name="T55" fmla="*/ 374 h 2063"/>
                <a:gd name="T56" fmla="*/ 1348 w 1860"/>
                <a:gd name="T57" fmla="*/ 251 h 2063"/>
                <a:gd name="T58" fmla="*/ 1536 w 1860"/>
                <a:gd name="T59" fmla="*/ 378 h 2063"/>
                <a:gd name="T60" fmla="*/ 1388 w 1860"/>
                <a:gd name="T61" fmla="*/ 487 h 2063"/>
                <a:gd name="T62" fmla="*/ 1511 w 1860"/>
                <a:gd name="T63" fmla="*/ 543 h 2063"/>
                <a:gd name="T64" fmla="*/ 1355 w 1860"/>
                <a:gd name="T65" fmla="*/ 595 h 2063"/>
                <a:gd name="T66" fmla="*/ 1340 w 1860"/>
                <a:gd name="T67" fmla="*/ 627 h 2063"/>
                <a:gd name="T68" fmla="*/ 1284 w 1860"/>
                <a:gd name="T69" fmla="*/ 689 h 2063"/>
                <a:gd name="T70" fmla="*/ 1253 w 1860"/>
                <a:gd name="T71" fmla="*/ 739 h 2063"/>
                <a:gd name="T72" fmla="*/ 1227 w 1860"/>
                <a:gd name="T73" fmla="*/ 863 h 2063"/>
                <a:gd name="T74" fmla="*/ 1148 w 1860"/>
                <a:gd name="T75" fmla="*/ 798 h 2063"/>
                <a:gd name="T76" fmla="*/ 1044 w 1860"/>
                <a:gd name="T77" fmla="*/ 804 h 2063"/>
                <a:gd name="T78" fmla="*/ 985 w 1860"/>
                <a:gd name="T79" fmla="*/ 929 h 2063"/>
                <a:gd name="T80" fmla="*/ 1094 w 1860"/>
                <a:gd name="T81" fmla="*/ 931 h 2063"/>
                <a:gd name="T82" fmla="*/ 1113 w 1860"/>
                <a:gd name="T83" fmla="*/ 975 h 2063"/>
                <a:gd name="T84" fmla="*/ 1123 w 1860"/>
                <a:gd name="T85" fmla="*/ 1007 h 2063"/>
                <a:gd name="T86" fmla="*/ 1181 w 1860"/>
                <a:gd name="T87" fmla="*/ 1015 h 2063"/>
                <a:gd name="T88" fmla="*/ 1177 w 1860"/>
                <a:gd name="T89" fmla="*/ 1078 h 2063"/>
                <a:gd name="T90" fmla="*/ 1248 w 1860"/>
                <a:gd name="T91" fmla="*/ 1099 h 2063"/>
                <a:gd name="T92" fmla="*/ 1344 w 1860"/>
                <a:gd name="T93" fmla="*/ 1055 h 2063"/>
                <a:gd name="T94" fmla="*/ 1363 w 1860"/>
                <a:gd name="T95" fmla="*/ 1065 h 2063"/>
                <a:gd name="T96" fmla="*/ 1474 w 1860"/>
                <a:gd name="T97" fmla="*/ 1090 h 2063"/>
                <a:gd name="T98" fmla="*/ 1591 w 1860"/>
                <a:gd name="T99" fmla="*/ 1151 h 2063"/>
                <a:gd name="T100" fmla="*/ 1693 w 1860"/>
                <a:gd name="T101" fmla="*/ 1243 h 2063"/>
                <a:gd name="T102" fmla="*/ 1846 w 1860"/>
                <a:gd name="T103" fmla="*/ 1364 h 2063"/>
                <a:gd name="T104" fmla="*/ 1743 w 1860"/>
                <a:gd name="T105" fmla="*/ 1556 h 2063"/>
                <a:gd name="T106" fmla="*/ 1601 w 1860"/>
                <a:gd name="T107" fmla="*/ 1719 h 2063"/>
                <a:gd name="T108" fmla="*/ 1490 w 1860"/>
                <a:gd name="T109" fmla="*/ 1802 h 2063"/>
                <a:gd name="T110" fmla="*/ 1434 w 1860"/>
                <a:gd name="T111" fmla="*/ 1892 h 2063"/>
                <a:gd name="T112" fmla="*/ 1376 w 1860"/>
                <a:gd name="T113" fmla="*/ 2032 h 2063"/>
                <a:gd name="T114" fmla="*/ 1301 w 1860"/>
                <a:gd name="T115" fmla="*/ 1915 h 2063"/>
                <a:gd name="T116" fmla="*/ 1348 w 1860"/>
                <a:gd name="T117" fmla="*/ 1698 h 2063"/>
                <a:gd name="T118" fmla="*/ 1278 w 1860"/>
                <a:gd name="T119" fmla="*/ 1424 h 2063"/>
                <a:gd name="T120" fmla="*/ 1223 w 1860"/>
                <a:gd name="T121" fmla="*/ 1268 h 2063"/>
                <a:gd name="T122" fmla="*/ 1263 w 1860"/>
                <a:gd name="T123" fmla="*/ 1184 h 2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0" h="2063">
                  <a:moveTo>
                    <a:pt x="1257" y="1128"/>
                  </a:moveTo>
                  <a:lnTo>
                    <a:pt x="1253" y="1126"/>
                  </a:lnTo>
                  <a:lnTo>
                    <a:pt x="1250" y="1117"/>
                  </a:lnTo>
                  <a:lnTo>
                    <a:pt x="1253" y="1115"/>
                  </a:lnTo>
                  <a:lnTo>
                    <a:pt x="1250" y="1115"/>
                  </a:lnTo>
                  <a:lnTo>
                    <a:pt x="1246" y="1109"/>
                  </a:lnTo>
                  <a:lnTo>
                    <a:pt x="1240" y="1105"/>
                  </a:lnTo>
                  <a:lnTo>
                    <a:pt x="1234" y="1105"/>
                  </a:lnTo>
                  <a:lnTo>
                    <a:pt x="1232" y="1111"/>
                  </a:lnTo>
                  <a:lnTo>
                    <a:pt x="1227" y="1115"/>
                  </a:lnTo>
                  <a:lnTo>
                    <a:pt x="1223" y="1115"/>
                  </a:lnTo>
                  <a:lnTo>
                    <a:pt x="1221" y="1117"/>
                  </a:lnTo>
                  <a:lnTo>
                    <a:pt x="1229" y="1126"/>
                  </a:lnTo>
                  <a:lnTo>
                    <a:pt x="1225" y="1128"/>
                  </a:lnTo>
                  <a:lnTo>
                    <a:pt x="1221" y="1128"/>
                  </a:lnTo>
                  <a:lnTo>
                    <a:pt x="1215" y="1128"/>
                  </a:lnTo>
                  <a:lnTo>
                    <a:pt x="1213" y="1121"/>
                  </a:lnTo>
                  <a:lnTo>
                    <a:pt x="1211" y="1124"/>
                  </a:lnTo>
                  <a:lnTo>
                    <a:pt x="1206" y="1122"/>
                  </a:lnTo>
                  <a:lnTo>
                    <a:pt x="1206" y="1117"/>
                  </a:lnTo>
                  <a:lnTo>
                    <a:pt x="1198" y="1115"/>
                  </a:lnTo>
                  <a:lnTo>
                    <a:pt x="1194" y="1115"/>
                  </a:lnTo>
                  <a:lnTo>
                    <a:pt x="1188" y="1115"/>
                  </a:lnTo>
                  <a:lnTo>
                    <a:pt x="1188" y="1117"/>
                  </a:lnTo>
                  <a:lnTo>
                    <a:pt x="1186" y="1115"/>
                  </a:lnTo>
                  <a:lnTo>
                    <a:pt x="1179" y="1113"/>
                  </a:lnTo>
                  <a:lnTo>
                    <a:pt x="1177" y="1109"/>
                  </a:lnTo>
                  <a:lnTo>
                    <a:pt x="1177" y="1107"/>
                  </a:lnTo>
                  <a:lnTo>
                    <a:pt x="1177" y="1105"/>
                  </a:lnTo>
                  <a:lnTo>
                    <a:pt x="1173" y="1101"/>
                  </a:lnTo>
                  <a:lnTo>
                    <a:pt x="1167" y="1098"/>
                  </a:lnTo>
                  <a:lnTo>
                    <a:pt x="1163" y="1096"/>
                  </a:lnTo>
                  <a:lnTo>
                    <a:pt x="1163" y="1092"/>
                  </a:lnTo>
                  <a:lnTo>
                    <a:pt x="1159" y="1088"/>
                  </a:lnTo>
                  <a:lnTo>
                    <a:pt x="1159" y="1094"/>
                  </a:lnTo>
                  <a:lnTo>
                    <a:pt x="1156" y="1098"/>
                  </a:lnTo>
                  <a:lnTo>
                    <a:pt x="1154" y="1092"/>
                  </a:lnTo>
                  <a:lnTo>
                    <a:pt x="1148" y="1092"/>
                  </a:lnTo>
                  <a:lnTo>
                    <a:pt x="1148" y="1088"/>
                  </a:lnTo>
                  <a:lnTo>
                    <a:pt x="1148" y="1084"/>
                  </a:lnTo>
                  <a:lnTo>
                    <a:pt x="1148" y="1080"/>
                  </a:lnTo>
                  <a:lnTo>
                    <a:pt x="1144" y="1078"/>
                  </a:lnTo>
                  <a:lnTo>
                    <a:pt x="1148" y="1076"/>
                  </a:lnTo>
                  <a:lnTo>
                    <a:pt x="1144" y="1071"/>
                  </a:lnTo>
                  <a:lnTo>
                    <a:pt x="1138" y="1067"/>
                  </a:lnTo>
                  <a:lnTo>
                    <a:pt x="1135" y="1061"/>
                  </a:lnTo>
                  <a:lnTo>
                    <a:pt x="1129" y="1055"/>
                  </a:lnTo>
                  <a:lnTo>
                    <a:pt x="1121" y="1050"/>
                  </a:lnTo>
                  <a:lnTo>
                    <a:pt x="1123" y="1048"/>
                  </a:lnTo>
                  <a:lnTo>
                    <a:pt x="1125" y="1050"/>
                  </a:lnTo>
                  <a:lnTo>
                    <a:pt x="1127" y="1050"/>
                  </a:lnTo>
                  <a:lnTo>
                    <a:pt x="1125" y="1044"/>
                  </a:lnTo>
                  <a:lnTo>
                    <a:pt x="1119" y="1042"/>
                  </a:lnTo>
                  <a:lnTo>
                    <a:pt x="1117" y="1046"/>
                  </a:lnTo>
                  <a:lnTo>
                    <a:pt x="1110" y="1046"/>
                  </a:lnTo>
                  <a:lnTo>
                    <a:pt x="1104" y="1046"/>
                  </a:lnTo>
                  <a:lnTo>
                    <a:pt x="1100" y="1042"/>
                  </a:lnTo>
                  <a:lnTo>
                    <a:pt x="1090" y="1040"/>
                  </a:lnTo>
                  <a:lnTo>
                    <a:pt x="1087" y="1038"/>
                  </a:lnTo>
                  <a:lnTo>
                    <a:pt x="1081" y="1036"/>
                  </a:lnTo>
                  <a:lnTo>
                    <a:pt x="1071" y="1036"/>
                  </a:lnTo>
                  <a:lnTo>
                    <a:pt x="1065" y="1032"/>
                  </a:lnTo>
                  <a:lnTo>
                    <a:pt x="1058" y="1026"/>
                  </a:lnTo>
                  <a:lnTo>
                    <a:pt x="1042" y="1011"/>
                  </a:lnTo>
                  <a:lnTo>
                    <a:pt x="1035" y="1007"/>
                  </a:lnTo>
                  <a:lnTo>
                    <a:pt x="1025" y="1003"/>
                  </a:lnTo>
                  <a:lnTo>
                    <a:pt x="1016" y="1003"/>
                  </a:lnTo>
                  <a:lnTo>
                    <a:pt x="1004" y="1009"/>
                  </a:lnTo>
                  <a:lnTo>
                    <a:pt x="996" y="1011"/>
                  </a:lnTo>
                  <a:lnTo>
                    <a:pt x="987" y="1007"/>
                  </a:lnTo>
                  <a:lnTo>
                    <a:pt x="977" y="1003"/>
                  </a:lnTo>
                  <a:lnTo>
                    <a:pt x="964" y="998"/>
                  </a:lnTo>
                  <a:lnTo>
                    <a:pt x="954" y="996"/>
                  </a:lnTo>
                  <a:lnTo>
                    <a:pt x="939" y="988"/>
                  </a:lnTo>
                  <a:lnTo>
                    <a:pt x="927" y="982"/>
                  </a:lnTo>
                  <a:lnTo>
                    <a:pt x="922" y="979"/>
                  </a:lnTo>
                  <a:lnTo>
                    <a:pt x="916" y="977"/>
                  </a:lnTo>
                  <a:lnTo>
                    <a:pt x="900" y="973"/>
                  </a:lnTo>
                  <a:lnTo>
                    <a:pt x="895" y="967"/>
                  </a:lnTo>
                  <a:lnTo>
                    <a:pt x="881" y="959"/>
                  </a:lnTo>
                  <a:lnTo>
                    <a:pt x="874" y="948"/>
                  </a:lnTo>
                  <a:lnTo>
                    <a:pt x="870" y="942"/>
                  </a:lnTo>
                  <a:lnTo>
                    <a:pt x="875" y="940"/>
                  </a:lnTo>
                  <a:lnTo>
                    <a:pt x="874" y="936"/>
                  </a:lnTo>
                  <a:lnTo>
                    <a:pt x="877" y="934"/>
                  </a:lnTo>
                  <a:lnTo>
                    <a:pt x="877" y="931"/>
                  </a:lnTo>
                  <a:lnTo>
                    <a:pt x="877" y="927"/>
                  </a:lnTo>
                  <a:lnTo>
                    <a:pt x="872" y="923"/>
                  </a:lnTo>
                  <a:lnTo>
                    <a:pt x="870" y="915"/>
                  </a:lnTo>
                  <a:lnTo>
                    <a:pt x="864" y="908"/>
                  </a:lnTo>
                  <a:lnTo>
                    <a:pt x="854" y="894"/>
                  </a:lnTo>
                  <a:lnTo>
                    <a:pt x="839" y="883"/>
                  </a:lnTo>
                  <a:lnTo>
                    <a:pt x="833" y="873"/>
                  </a:lnTo>
                  <a:lnTo>
                    <a:pt x="820" y="867"/>
                  </a:lnTo>
                  <a:lnTo>
                    <a:pt x="818" y="863"/>
                  </a:lnTo>
                  <a:lnTo>
                    <a:pt x="820" y="854"/>
                  </a:lnTo>
                  <a:lnTo>
                    <a:pt x="814" y="850"/>
                  </a:lnTo>
                  <a:lnTo>
                    <a:pt x="804" y="842"/>
                  </a:lnTo>
                  <a:lnTo>
                    <a:pt x="801" y="833"/>
                  </a:lnTo>
                  <a:lnTo>
                    <a:pt x="793" y="831"/>
                  </a:lnTo>
                  <a:lnTo>
                    <a:pt x="787" y="823"/>
                  </a:lnTo>
                  <a:lnTo>
                    <a:pt x="780" y="817"/>
                  </a:lnTo>
                  <a:lnTo>
                    <a:pt x="778" y="812"/>
                  </a:lnTo>
                  <a:lnTo>
                    <a:pt x="772" y="800"/>
                  </a:lnTo>
                  <a:lnTo>
                    <a:pt x="766" y="789"/>
                  </a:lnTo>
                  <a:lnTo>
                    <a:pt x="766" y="781"/>
                  </a:lnTo>
                  <a:lnTo>
                    <a:pt x="757" y="777"/>
                  </a:lnTo>
                  <a:lnTo>
                    <a:pt x="751" y="777"/>
                  </a:lnTo>
                  <a:lnTo>
                    <a:pt x="743" y="773"/>
                  </a:lnTo>
                  <a:lnTo>
                    <a:pt x="741" y="779"/>
                  </a:lnTo>
                  <a:lnTo>
                    <a:pt x="743" y="787"/>
                  </a:lnTo>
                  <a:lnTo>
                    <a:pt x="745" y="798"/>
                  </a:lnTo>
                  <a:lnTo>
                    <a:pt x="751" y="804"/>
                  </a:lnTo>
                  <a:lnTo>
                    <a:pt x="760" y="815"/>
                  </a:lnTo>
                  <a:lnTo>
                    <a:pt x="762" y="819"/>
                  </a:lnTo>
                  <a:lnTo>
                    <a:pt x="764" y="819"/>
                  </a:lnTo>
                  <a:lnTo>
                    <a:pt x="766" y="825"/>
                  </a:lnTo>
                  <a:lnTo>
                    <a:pt x="770" y="823"/>
                  </a:lnTo>
                  <a:lnTo>
                    <a:pt x="772" y="833"/>
                  </a:lnTo>
                  <a:lnTo>
                    <a:pt x="778" y="838"/>
                  </a:lnTo>
                  <a:lnTo>
                    <a:pt x="780" y="842"/>
                  </a:lnTo>
                  <a:lnTo>
                    <a:pt x="787" y="850"/>
                  </a:lnTo>
                  <a:lnTo>
                    <a:pt x="793" y="865"/>
                  </a:lnTo>
                  <a:lnTo>
                    <a:pt x="797" y="869"/>
                  </a:lnTo>
                  <a:lnTo>
                    <a:pt x="799" y="879"/>
                  </a:lnTo>
                  <a:lnTo>
                    <a:pt x="801" y="884"/>
                  </a:lnTo>
                  <a:lnTo>
                    <a:pt x="808" y="886"/>
                  </a:lnTo>
                  <a:lnTo>
                    <a:pt x="814" y="894"/>
                  </a:lnTo>
                  <a:lnTo>
                    <a:pt x="818" y="898"/>
                  </a:lnTo>
                  <a:lnTo>
                    <a:pt x="818" y="902"/>
                  </a:lnTo>
                  <a:lnTo>
                    <a:pt x="812" y="908"/>
                  </a:lnTo>
                  <a:lnTo>
                    <a:pt x="810" y="908"/>
                  </a:lnTo>
                  <a:lnTo>
                    <a:pt x="806" y="898"/>
                  </a:lnTo>
                  <a:lnTo>
                    <a:pt x="797" y="890"/>
                  </a:lnTo>
                  <a:lnTo>
                    <a:pt x="787" y="883"/>
                  </a:lnTo>
                  <a:lnTo>
                    <a:pt x="780" y="879"/>
                  </a:lnTo>
                  <a:lnTo>
                    <a:pt x="780" y="869"/>
                  </a:lnTo>
                  <a:lnTo>
                    <a:pt x="778" y="860"/>
                  </a:lnTo>
                  <a:lnTo>
                    <a:pt x="772" y="856"/>
                  </a:lnTo>
                  <a:lnTo>
                    <a:pt x="760" y="848"/>
                  </a:lnTo>
                  <a:lnTo>
                    <a:pt x="760" y="850"/>
                  </a:lnTo>
                  <a:lnTo>
                    <a:pt x="757" y="846"/>
                  </a:lnTo>
                  <a:lnTo>
                    <a:pt x="749" y="842"/>
                  </a:lnTo>
                  <a:lnTo>
                    <a:pt x="739" y="835"/>
                  </a:lnTo>
                  <a:lnTo>
                    <a:pt x="741" y="833"/>
                  </a:lnTo>
                  <a:lnTo>
                    <a:pt x="747" y="835"/>
                  </a:lnTo>
                  <a:lnTo>
                    <a:pt x="751" y="829"/>
                  </a:lnTo>
                  <a:lnTo>
                    <a:pt x="753" y="821"/>
                  </a:lnTo>
                  <a:lnTo>
                    <a:pt x="741" y="812"/>
                  </a:lnTo>
                  <a:lnTo>
                    <a:pt x="733" y="806"/>
                  </a:lnTo>
                  <a:lnTo>
                    <a:pt x="728" y="798"/>
                  </a:lnTo>
                  <a:lnTo>
                    <a:pt x="722" y="789"/>
                  </a:lnTo>
                  <a:lnTo>
                    <a:pt x="716" y="775"/>
                  </a:lnTo>
                  <a:lnTo>
                    <a:pt x="712" y="762"/>
                  </a:lnTo>
                  <a:lnTo>
                    <a:pt x="709" y="754"/>
                  </a:lnTo>
                  <a:lnTo>
                    <a:pt x="699" y="744"/>
                  </a:lnTo>
                  <a:lnTo>
                    <a:pt x="693" y="742"/>
                  </a:lnTo>
                  <a:lnTo>
                    <a:pt x="691" y="739"/>
                  </a:lnTo>
                  <a:lnTo>
                    <a:pt x="684" y="739"/>
                  </a:lnTo>
                  <a:lnTo>
                    <a:pt x="680" y="733"/>
                  </a:lnTo>
                  <a:lnTo>
                    <a:pt x="666" y="731"/>
                  </a:lnTo>
                  <a:lnTo>
                    <a:pt x="662" y="729"/>
                  </a:lnTo>
                  <a:lnTo>
                    <a:pt x="661" y="719"/>
                  </a:lnTo>
                  <a:lnTo>
                    <a:pt x="647" y="704"/>
                  </a:lnTo>
                  <a:lnTo>
                    <a:pt x="636" y="683"/>
                  </a:lnTo>
                  <a:lnTo>
                    <a:pt x="636" y="677"/>
                  </a:lnTo>
                  <a:lnTo>
                    <a:pt x="630" y="673"/>
                  </a:lnTo>
                  <a:lnTo>
                    <a:pt x="618" y="660"/>
                  </a:lnTo>
                  <a:lnTo>
                    <a:pt x="616" y="646"/>
                  </a:lnTo>
                  <a:lnTo>
                    <a:pt x="609" y="637"/>
                  </a:lnTo>
                  <a:lnTo>
                    <a:pt x="613" y="623"/>
                  </a:lnTo>
                  <a:lnTo>
                    <a:pt x="613" y="610"/>
                  </a:lnTo>
                  <a:lnTo>
                    <a:pt x="607" y="595"/>
                  </a:lnTo>
                  <a:lnTo>
                    <a:pt x="613" y="581"/>
                  </a:lnTo>
                  <a:lnTo>
                    <a:pt x="616" y="564"/>
                  </a:lnTo>
                  <a:lnTo>
                    <a:pt x="616" y="549"/>
                  </a:lnTo>
                  <a:lnTo>
                    <a:pt x="615" y="526"/>
                  </a:lnTo>
                  <a:lnTo>
                    <a:pt x="609" y="510"/>
                  </a:lnTo>
                  <a:lnTo>
                    <a:pt x="607" y="503"/>
                  </a:lnTo>
                  <a:lnTo>
                    <a:pt x="607" y="499"/>
                  </a:lnTo>
                  <a:lnTo>
                    <a:pt x="628" y="506"/>
                  </a:lnTo>
                  <a:lnTo>
                    <a:pt x="634" y="522"/>
                  </a:lnTo>
                  <a:lnTo>
                    <a:pt x="638" y="518"/>
                  </a:lnTo>
                  <a:lnTo>
                    <a:pt x="636" y="503"/>
                  </a:lnTo>
                  <a:lnTo>
                    <a:pt x="632" y="489"/>
                  </a:lnTo>
                  <a:lnTo>
                    <a:pt x="630" y="487"/>
                  </a:lnTo>
                  <a:lnTo>
                    <a:pt x="603" y="472"/>
                  </a:lnTo>
                  <a:lnTo>
                    <a:pt x="591" y="462"/>
                  </a:lnTo>
                  <a:lnTo>
                    <a:pt x="568" y="455"/>
                  </a:lnTo>
                  <a:lnTo>
                    <a:pt x="559" y="439"/>
                  </a:lnTo>
                  <a:lnTo>
                    <a:pt x="563" y="428"/>
                  </a:lnTo>
                  <a:lnTo>
                    <a:pt x="544" y="418"/>
                  </a:lnTo>
                  <a:lnTo>
                    <a:pt x="542" y="405"/>
                  </a:lnTo>
                  <a:lnTo>
                    <a:pt x="524" y="389"/>
                  </a:lnTo>
                  <a:lnTo>
                    <a:pt x="524" y="380"/>
                  </a:lnTo>
                  <a:lnTo>
                    <a:pt x="517" y="374"/>
                  </a:lnTo>
                  <a:lnTo>
                    <a:pt x="503" y="368"/>
                  </a:lnTo>
                  <a:lnTo>
                    <a:pt x="501" y="349"/>
                  </a:lnTo>
                  <a:lnTo>
                    <a:pt x="482" y="334"/>
                  </a:lnTo>
                  <a:lnTo>
                    <a:pt x="474" y="314"/>
                  </a:lnTo>
                  <a:lnTo>
                    <a:pt x="463" y="313"/>
                  </a:lnTo>
                  <a:lnTo>
                    <a:pt x="440" y="313"/>
                  </a:lnTo>
                  <a:lnTo>
                    <a:pt x="425" y="307"/>
                  </a:lnTo>
                  <a:lnTo>
                    <a:pt x="396" y="286"/>
                  </a:lnTo>
                  <a:lnTo>
                    <a:pt x="382" y="282"/>
                  </a:lnTo>
                  <a:lnTo>
                    <a:pt x="357" y="274"/>
                  </a:lnTo>
                  <a:lnTo>
                    <a:pt x="338" y="276"/>
                  </a:lnTo>
                  <a:lnTo>
                    <a:pt x="309" y="266"/>
                  </a:lnTo>
                  <a:lnTo>
                    <a:pt x="294" y="259"/>
                  </a:lnTo>
                  <a:lnTo>
                    <a:pt x="279" y="263"/>
                  </a:lnTo>
                  <a:lnTo>
                    <a:pt x="283" y="276"/>
                  </a:lnTo>
                  <a:lnTo>
                    <a:pt x="273" y="278"/>
                  </a:lnTo>
                  <a:lnTo>
                    <a:pt x="258" y="282"/>
                  </a:lnTo>
                  <a:lnTo>
                    <a:pt x="244" y="290"/>
                  </a:lnTo>
                  <a:lnTo>
                    <a:pt x="229" y="293"/>
                  </a:lnTo>
                  <a:lnTo>
                    <a:pt x="229" y="282"/>
                  </a:lnTo>
                  <a:lnTo>
                    <a:pt x="235" y="263"/>
                  </a:lnTo>
                  <a:lnTo>
                    <a:pt x="248" y="255"/>
                  </a:lnTo>
                  <a:lnTo>
                    <a:pt x="244" y="249"/>
                  </a:lnTo>
                  <a:lnTo>
                    <a:pt x="227" y="263"/>
                  </a:lnTo>
                  <a:lnTo>
                    <a:pt x="219" y="274"/>
                  </a:lnTo>
                  <a:lnTo>
                    <a:pt x="198" y="290"/>
                  </a:lnTo>
                  <a:lnTo>
                    <a:pt x="208" y="301"/>
                  </a:lnTo>
                  <a:lnTo>
                    <a:pt x="194" y="313"/>
                  </a:lnTo>
                  <a:lnTo>
                    <a:pt x="179" y="322"/>
                  </a:lnTo>
                  <a:lnTo>
                    <a:pt x="166" y="328"/>
                  </a:lnTo>
                  <a:lnTo>
                    <a:pt x="162" y="338"/>
                  </a:lnTo>
                  <a:lnTo>
                    <a:pt x="141" y="349"/>
                  </a:lnTo>
                  <a:lnTo>
                    <a:pt x="137" y="357"/>
                  </a:lnTo>
                  <a:lnTo>
                    <a:pt x="119" y="366"/>
                  </a:lnTo>
                  <a:lnTo>
                    <a:pt x="112" y="364"/>
                  </a:lnTo>
                  <a:lnTo>
                    <a:pt x="96" y="368"/>
                  </a:lnTo>
                  <a:lnTo>
                    <a:pt x="83" y="376"/>
                  </a:lnTo>
                  <a:lnTo>
                    <a:pt x="71" y="382"/>
                  </a:lnTo>
                  <a:lnTo>
                    <a:pt x="48" y="387"/>
                  </a:lnTo>
                  <a:lnTo>
                    <a:pt x="45" y="385"/>
                  </a:lnTo>
                  <a:lnTo>
                    <a:pt x="58" y="376"/>
                  </a:lnTo>
                  <a:lnTo>
                    <a:pt x="75" y="370"/>
                  </a:lnTo>
                  <a:lnTo>
                    <a:pt x="89" y="359"/>
                  </a:lnTo>
                  <a:lnTo>
                    <a:pt x="106" y="357"/>
                  </a:lnTo>
                  <a:lnTo>
                    <a:pt x="114" y="349"/>
                  </a:lnTo>
                  <a:lnTo>
                    <a:pt x="133" y="338"/>
                  </a:lnTo>
                  <a:lnTo>
                    <a:pt x="137" y="334"/>
                  </a:lnTo>
                  <a:lnTo>
                    <a:pt x="146" y="326"/>
                  </a:lnTo>
                  <a:lnTo>
                    <a:pt x="148" y="311"/>
                  </a:lnTo>
                  <a:lnTo>
                    <a:pt x="156" y="299"/>
                  </a:lnTo>
                  <a:lnTo>
                    <a:pt x="139" y="305"/>
                  </a:lnTo>
                  <a:lnTo>
                    <a:pt x="135" y="301"/>
                  </a:lnTo>
                  <a:lnTo>
                    <a:pt x="127" y="309"/>
                  </a:lnTo>
                  <a:lnTo>
                    <a:pt x="118" y="299"/>
                  </a:lnTo>
                  <a:lnTo>
                    <a:pt x="114" y="305"/>
                  </a:lnTo>
                  <a:lnTo>
                    <a:pt x="110" y="295"/>
                  </a:lnTo>
                  <a:lnTo>
                    <a:pt x="96" y="303"/>
                  </a:lnTo>
                  <a:lnTo>
                    <a:pt x="87" y="303"/>
                  </a:lnTo>
                  <a:lnTo>
                    <a:pt x="87" y="291"/>
                  </a:lnTo>
                  <a:lnTo>
                    <a:pt x="87" y="284"/>
                  </a:lnTo>
                  <a:lnTo>
                    <a:pt x="79" y="276"/>
                  </a:lnTo>
                  <a:lnTo>
                    <a:pt x="60" y="280"/>
                  </a:lnTo>
                  <a:lnTo>
                    <a:pt x="48" y="270"/>
                  </a:lnTo>
                  <a:lnTo>
                    <a:pt x="39" y="265"/>
                  </a:lnTo>
                  <a:lnTo>
                    <a:pt x="39" y="253"/>
                  </a:lnTo>
                  <a:lnTo>
                    <a:pt x="29" y="245"/>
                  </a:lnTo>
                  <a:lnTo>
                    <a:pt x="35" y="232"/>
                  </a:lnTo>
                  <a:lnTo>
                    <a:pt x="47" y="220"/>
                  </a:lnTo>
                  <a:lnTo>
                    <a:pt x="50" y="209"/>
                  </a:lnTo>
                  <a:lnTo>
                    <a:pt x="60" y="207"/>
                  </a:lnTo>
                  <a:lnTo>
                    <a:pt x="71" y="211"/>
                  </a:lnTo>
                  <a:lnTo>
                    <a:pt x="83" y="199"/>
                  </a:lnTo>
                  <a:lnTo>
                    <a:pt x="93" y="201"/>
                  </a:lnTo>
                  <a:lnTo>
                    <a:pt x="104" y="195"/>
                  </a:lnTo>
                  <a:lnTo>
                    <a:pt x="100" y="184"/>
                  </a:lnTo>
                  <a:lnTo>
                    <a:pt x="93" y="182"/>
                  </a:lnTo>
                  <a:lnTo>
                    <a:pt x="104" y="172"/>
                  </a:lnTo>
                  <a:lnTo>
                    <a:pt x="95" y="172"/>
                  </a:lnTo>
                  <a:lnTo>
                    <a:pt x="79" y="178"/>
                  </a:lnTo>
                  <a:lnTo>
                    <a:pt x="77" y="182"/>
                  </a:lnTo>
                  <a:lnTo>
                    <a:pt x="64" y="178"/>
                  </a:lnTo>
                  <a:lnTo>
                    <a:pt x="45" y="180"/>
                  </a:lnTo>
                  <a:lnTo>
                    <a:pt x="24" y="174"/>
                  </a:lnTo>
                  <a:lnTo>
                    <a:pt x="20" y="167"/>
                  </a:lnTo>
                  <a:lnTo>
                    <a:pt x="0" y="153"/>
                  </a:lnTo>
                  <a:lnTo>
                    <a:pt x="20" y="142"/>
                  </a:lnTo>
                  <a:lnTo>
                    <a:pt x="50" y="132"/>
                  </a:lnTo>
                  <a:lnTo>
                    <a:pt x="62" y="132"/>
                  </a:lnTo>
                  <a:lnTo>
                    <a:pt x="60" y="142"/>
                  </a:lnTo>
                  <a:lnTo>
                    <a:pt x="91" y="142"/>
                  </a:lnTo>
                  <a:lnTo>
                    <a:pt x="79" y="128"/>
                  </a:lnTo>
                  <a:lnTo>
                    <a:pt x="62" y="121"/>
                  </a:lnTo>
                  <a:lnTo>
                    <a:pt x="52" y="107"/>
                  </a:lnTo>
                  <a:lnTo>
                    <a:pt x="39" y="98"/>
                  </a:lnTo>
                  <a:lnTo>
                    <a:pt x="20" y="90"/>
                  </a:lnTo>
                  <a:lnTo>
                    <a:pt x="27" y="76"/>
                  </a:lnTo>
                  <a:lnTo>
                    <a:pt x="52" y="76"/>
                  </a:lnTo>
                  <a:lnTo>
                    <a:pt x="70" y="65"/>
                  </a:lnTo>
                  <a:lnTo>
                    <a:pt x="73" y="53"/>
                  </a:lnTo>
                  <a:lnTo>
                    <a:pt x="87" y="40"/>
                  </a:lnTo>
                  <a:lnTo>
                    <a:pt x="100" y="38"/>
                  </a:lnTo>
                  <a:lnTo>
                    <a:pt x="127" y="27"/>
                  </a:lnTo>
                  <a:lnTo>
                    <a:pt x="141" y="29"/>
                  </a:lnTo>
                  <a:lnTo>
                    <a:pt x="162" y="17"/>
                  </a:lnTo>
                  <a:lnTo>
                    <a:pt x="183" y="21"/>
                  </a:lnTo>
                  <a:lnTo>
                    <a:pt x="192" y="32"/>
                  </a:lnTo>
                  <a:lnTo>
                    <a:pt x="200" y="27"/>
                  </a:lnTo>
                  <a:lnTo>
                    <a:pt x="223" y="29"/>
                  </a:lnTo>
                  <a:lnTo>
                    <a:pt x="221" y="34"/>
                  </a:lnTo>
                  <a:lnTo>
                    <a:pt x="242" y="38"/>
                  </a:lnTo>
                  <a:lnTo>
                    <a:pt x="258" y="36"/>
                  </a:lnTo>
                  <a:lnTo>
                    <a:pt x="286" y="44"/>
                  </a:lnTo>
                  <a:lnTo>
                    <a:pt x="313" y="46"/>
                  </a:lnTo>
                  <a:lnTo>
                    <a:pt x="325" y="50"/>
                  </a:lnTo>
                  <a:lnTo>
                    <a:pt x="344" y="46"/>
                  </a:lnTo>
                  <a:lnTo>
                    <a:pt x="363" y="53"/>
                  </a:lnTo>
                  <a:lnTo>
                    <a:pt x="378" y="55"/>
                  </a:lnTo>
                  <a:lnTo>
                    <a:pt x="405" y="63"/>
                  </a:lnTo>
                  <a:lnTo>
                    <a:pt x="426" y="75"/>
                  </a:lnTo>
                  <a:lnTo>
                    <a:pt x="442" y="76"/>
                  </a:lnTo>
                  <a:lnTo>
                    <a:pt x="453" y="65"/>
                  </a:lnTo>
                  <a:lnTo>
                    <a:pt x="471" y="59"/>
                  </a:lnTo>
                  <a:lnTo>
                    <a:pt x="490" y="61"/>
                  </a:lnTo>
                  <a:lnTo>
                    <a:pt x="513" y="52"/>
                  </a:lnTo>
                  <a:lnTo>
                    <a:pt x="534" y="44"/>
                  </a:lnTo>
                  <a:lnTo>
                    <a:pt x="544" y="55"/>
                  </a:lnTo>
                  <a:lnTo>
                    <a:pt x="553" y="50"/>
                  </a:lnTo>
                  <a:lnTo>
                    <a:pt x="557" y="38"/>
                  </a:lnTo>
                  <a:lnTo>
                    <a:pt x="568" y="38"/>
                  </a:lnTo>
                  <a:lnTo>
                    <a:pt x="591" y="63"/>
                  </a:lnTo>
                  <a:lnTo>
                    <a:pt x="609" y="46"/>
                  </a:lnTo>
                  <a:lnTo>
                    <a:pt x="611" y="65"/>
                  </a:lnTo>
                  <a:lnTo>
                    <a:pt x="628" y="59"/>
                  </a:lnTo>
                  <a:lnTo>
                    <a:pt x="634" y="53"/>
                  </a:lnTo>
                  <a:lnTo>
                    <a:pt x="651" y="55"/>
                  </a:lnTo>
                  <a:lnTo>
                    <a:pt x="672" y="65"/>
                  </a:lnTo>
                  <a:lnTo>
                    <a:pt x="705" y="75"/>
                  </a:lnTo>
                  <a:lnTo>
                    <a:pt x="722" y="78"/>
                  </a:lnTo>
                  <a:lnTo>
                    <a:pt x="737" y="76"/>
                  </a:lnTo>
                  <a:lnTo>
                    <a:pt x="757" y="88"/>
                  </a:lnTo>
                  <a:lnTo>
                    <a:pt x="737" y="101"/>
                  </a:lnTo>
                  <a:lnTo>
                    <a:pt x="760" y="105"/>
                  </a:lnTo>
                  <a:lnTo>
                    <a:pt x="799" y="103"/>
                  </a:lnTo>
                  <a:lnTo>
                    <a:pt x="812" y="98"/>
                  </a:lnTo>
                  <a:lnTo>
                    <a:pt x="826" y="113"/>
                  </a:lnTo>
                  <a:lnTo>
                    <a:pt x="841" y="101"/>
                  </a:lnTo>
                  <a:lnTo>
                    <a:pt x="826" y="92"/>
                  </a:lnTo>
                  <a:lnTo>
                    <a:pt x="835" y="82"/>
                  </a:lnTo>
                  <a:lnTo>
                    <a:pt x="854" y="80"/>
                  </a:lnTo>
                  <a:lnTo>
                    <a:pt x="864" y="80"/>
                  </a:lnTo>
                  <a:lnTo>
                    <a:pt x="875" y="84"/>
                  </a:lnTo>
                  <a:lnTo>
                    <a:pt x="889" y="98"/>
                  </a:lnTo>
                  <a:lnTo>
                    <a:pt x="904" y="96"/>
                  </a:lnTo>
                  <a:lnTo>
                    <a:pt x="929" y="105"/>
                  </a:lnTo>
                  <a:lnTo>
                    <a:pt x="950" y="103"/>
                  </a:lnTo>
                  <a:lnTo>
                    <a:pt x="970" y="103"/>
                  </a:lnTo>
                  <a:lnTo>
                    <a:pt x="968" y="88"/>
                  </a:lnTo>
                  <a:lnTo>
                    <a:pt x="983" y="84"/>
                  </a:lnTo>
                  <a:lnTo>
                    <a:pt x="1004" y="94"/>
                  </a:lnTo>
                  <a:lnTo>
                    <a:pt x="1004" y="103"/>
                  </a:lnTo>
                  <a:lnTo>
                    <a:pt x="1004" y="115"/>
                  </a:lnTo>
                  <a:lnTo>
                    <a:pt x="1012" y="96"/>
                  </a:lnTo>
                  <a:lnTo>
                    <a:pt x="1025" y="96"/>
                  </a:lnTo>
                  <a:lnTo>
                    <a:pt x="1029" y="73"/>
                  </a:lnTo>
                  <a:lnTo>
                    <a:pt x="1016" y="57"/>
                  </a:lnTo>
                  <a:lnTo>
                    <a:pt x="998" y="48"/>
                  </a:lnTo>
                  <a:lnTo>
                    <a:pt x="1000" y="19"/>
                  </a:lnTo>
                  <a:lnTo>
                    <a:pt x="1016" y="0"/>
                  </a:lnTo>
                  <a:lnTo>
                    <a:pt x="1035" y="4"/>
                  </a:lnTo>
                  <a:lnTo>
                    <a:pt x="1048" y="17"/>
                  </a:lnTo>
                  <a:lnTo>
                    <a:pt x="1067" y="44"/>
                  </a:lnTo>
                  <a:lnTo>
                    <a:pt x="1056" y="55"/>
                  </a:lnTo>
                  <a:lnTo>
                    <a:pt x="1081" y="61"/>
                  </a:lnTo>
                  <a:lnTo>
                    <a:pt x="1081" y="75"/>
                  </a:lnTo>
                  <a:lnTo>
                    <a:pt x="1081" y="86"/>
                  </a:lnTo>
                  <a:lnTo>
                    <a:pt x="1100" y="67"/>
                  </a:lnTo>
                  <a:lnTo>
                    <a:pt x="1115" y="82"/>
                  </a:lnTo>
                  <a:lnTo>
                    <a:pt x="1111" y="101"/>
                  </a:lnTo>
                  <a:lnTo>
                    <a:pt x="1127" y="119"/>
                  </a:lnTo>
                  <a:lnTo>
                    <a:pt x="1138" y="100"/>
                  </a:lnTo>
                  <a:lnTo>
                    <a:pt x="1150" y="80"/>
                  </a:lnTo>
                  <a:lnTo>
                    <a:pt x="1150" y="53"/>
                  </a:lnTo>
                  <a:lnTo>
                    <a:pt x="1171" y="55"/>
                  </a:lnTo>
                  <a:lnTo>
                    <a:pt x="1190" y="57"/>
                  </a:lnTo>
                  <a:lnTo>
                    <a:pt x="1209" y="69"/>
                  </a:lnTo>
                  <a:lnTo>
                    <a:pt x="1211" y="82"/>
                  </a:lnTo>
                  <a:lnTo>
                    <a:pt x="1202" y="94"/>
                  </a:lnTo>
                  <a:lnTo>
                    <a:pt x="1209" y="107"/>
                  </a:lnTo>
                  <a:lnTo>
                    <a:pt x="1207" y="121"/>
                  </a:lnTo>
                  <a:lnTo>
                    <a:pt x="1181" y="136"/>
                  </a:lnTo>
                  <a:lnTo>
                    <a:pt x="1163" y="140"/>
                  </a:lnTo>
                  <a:lnTo>
                    <a:pt x="1148" y="132"/>
                  </a:lnTo>
                  <a:lnTo>
                    <a:pt x="1142" y="142"/>
                  </a:lnTo>
                  <a:lnTo>
                    <a:pt x="1129" y="163"/>
                  </a:lnTo>
                  <a:lnTo>
                    <a:pt x="1127" y="172"/>
                  </a:lnTo>
                  <a:lnTo>
                    <a:pt x="1110" y="188"/>
                  </a:lnTo>
                  <a:lnTo>
                    <a:pt x="1088" y="190"/>
                  </a:lnTo>
                  <a:lnTo>
                    <a:pt x="1079" y="197"/>
                  </a:lnTo>
                  <a:lnTo>
                    <a:pt x="1077" y="213"/>
                  </a:lnTo>
                  <a:lnTo>
                    <a:pt x="1064" y="217"/>
                  </a:lnTo>
                  <a:lnTo>
                    <a:pt x="1044" y="234"/>
                  </a:lnTo>
                  <a:lnTo>
                    <a:pt x="1029" y="257"/>
                  </a:lnTo>
                  <a:lnTo>
                    <a:pt x="1025" y="274"/>
                  </a:lnTo>
                  <a:lnTo>
                    <a:pt x="1025" y="299"/>
                  </a:lnTo>
                  <a:lnTo>
                    <a:pt x="1044" y="301"/>
                  </a:lnTo>
                  <a:lnTo>
                    <a:pt x="1050" y="320"/>
                  </a:lnTo>
                  <a:lnTo>
                    <a:pt x="1058" y="336"/>
                  </a:lnTo>
                  <a:lnTo>
                    <a:pt x="1075" y="332"/>
                  </a:lnTo>
                  <a:lnTo>
                    <a:pt x="1102" y="339"/>
                  </a:lnTo>
                  <a:lnTo>
                    <a:pt x="1115" y="347"/>
                  </a:lnTo>
                  <a:lnTo>
                    <a:pt x="1127" y="357"/>
                  </a:lnTo>
                  <a:lnTo>
                    <a:pt x="1142" y="362"/>
                  </a:lnTo>
                  <a:lnTo>
                    <a:pt x="1158" y="370"/>
                  </a:lnTo>
                  <a:lnTo>
                    <a:pt x="1181" y="372"/>
                  </a:lnTo>
                  <a:lnTo>
                    <a:pt x="1196" y="374"/>
                  </a:lnTo>
                  <a:lnTo>
                    <a:pt x="1194" y="389"/>
                  </a:lnTo>
                  <a:lnTo>
                    <a:pt x="1198" y="409"/>
                  </a:lnTo>
                  <a:lnTo>
                    <a:pt x="1207" y="430"/>
                  </a:lnTo>
                  <a:lnTo>
                    <a:pt x="1230" y="447"/>
                  </a:lnTo>
                  <a:lnTo>
                    <a:pt x="1240" y="443"/>
                  </a:lnTo>
                  <a:lnTo>
                    <a:pt x="1248" y="422"/>
                  </a:lnTo>
                  <a:lnTo>
                    <a:pt x="1240" y="393"/>
                  </a:lnTo>
                  <a:lnTo>
                    <a:pt x="1230" y="382"/>
                  </a:lnTo>
                  <a:lnTo>
                    <a:pt x="1253" y="374"/>
                  </a:lnTo>
                  <a:lnTo>
                    <a:pt x="1269" y="361"/>
                  </a:lnTo>
                  <a:lnTo>
                    <a:pt x="1277" y="347"/>
                  </a:lnTo>
                  <a:lnTo>
                    <a:pt x="1275" y="334"/>
                  </a:lnTo>
                  <a:lnTo>
                    <a:pt x="1265" y="316"/>
                  </a:lnTo>
                  <a:lnTo>
                    <a:pt x="1248" y="301"/>
                  </a:lnTo>
                  <a:lnTo>
                    <a:pt x="1265" y="280"/>
                  </a:lnTo>
                  <a:lnTo>
                    <a:pt x="1257" y="261"/>
                  </a:lnTo>
                  <a:lnTo>
                    <a:pt x="1253" y="226"/>
                  </a:lnTo>
                  <a:lnTo>
                    <a:pt x="1265" y="222"/>
                  </a:lnTo>
                  <a:lnTo>
                    <a:pt x="1288" y="228"/>
                  </a:lnTo>
                  <a:lnTo>
                    <a:pt x="1301" y="230"/>
                  </a:lnTo>
                  <a:lnTo>
                    <a:pt x="1313" y="224"/>
                  </a:lnTo>
                  <a:lnTo>
                    <a:pt x="1326" y="232"/>
                  </a:lnTo>
                  <a:lnTo>
                    <a:pt x="1344" y="243"/>
                  </a:lnTo>
                  <a:lnTo>
                    <a:pt x="1348" y="251"/>
                  </a:lnTo>
                  <a:lnTo>
                    <a:pt x="1374" y="253"/>
                  </a:lnTo>
                  <a:lnTo>
                    <a:pt x="1372" y="272"/>
                  </a:lnTo>
                  <a:lnTo>
                    <a:pt x="1376" y="299"/>
                  </a:lnTo>
                  <a:lnTo>
                    <a:pt x="1390" y="301"/>
                  </a:lnTo>
                  <a:lnTo>
                    <a:pt x="1399" y="313"/>
                  </a:lnTo>
                  <a:lnTo>
                    <a:pt x="1420" y="301"/>
                  </a:lnTo>
                  <a:lnTo>
                    <a:pt x="1434" y="278"/>
                  </a:lnTo>
                  <a:lnTo>
                    <a:pt x="1443" y="270"/>
                  </a:lnTo>
                  <a:lnTo>
                    <a:pt x="1455" y="288"/>
                  </a:lnTo>
                  <a:lnTo>
                    <a:pt x="1472" y="313"/>
                  </a:lnTo>
                  <a:lnTo>
                    <a:pt x="1488" y="339"/>
                  </a:lnTo>
                  <a:lnTo>
                    <a:pt x="1482" y="349"/>
                  </a:lnTo>
                  <a:lnTo>
                    <a:pt x="1501" y="362"/>
                  </a:lnTo>
                  <a:lnTo>
                    <a:pt x="1513" y="372"/>
                  </a:lnTo>
                  <a:lnTo>
                    <a:pt x="1536" y="378"/>
                  </a:lnTo>
                  <a:lnTo>
                    <a:pt x="1545" y="384"/>
                  </a:lnTo>
                  <a:lnTo>
                    <a:pt x="1549" y="401"/>
                  </a:lnTo>
                  <a:lnTo>
                    <a:pt x="1561" y="403"/>
                  </a:lnTo>
                  <a:lnTo>
                    <a:pt x="1566" y="409"/>
                  </a:lnTo>
                  <a:lnTo>
                    <a:pt x="1566" y="430"/>
                  </a:lnTo>
                  <a:lnTo>
                    <a:pt x="1557" y="437"/>
                  </a:lnTo>
                  <a:lnTo>
                    <a:pt x="1547" y="443"/>
                  </a:lnTo>
                  <a:lnTo>
                    <a:pt x="1524" y="451"/>
                  </a:lnTo>
                  <a:lnTo>
                    <a:pt x="1507" y="466"/>
                  </a:lnTo>
                  <a:lnTo>
                    <a:pt x="1482" y="470"/>
                  </a:lnTo>
                  <a:lnTo>
                    <a:pt x="1453" y="466"/>
                  </a:lnTo>
                  <a:lnTo>
                    <a:pt x="1434" y="464"/>
                  </a:lnTo>
                  <a:lnTo>
                    <a:pt x="1417" y="466"/>
                  </a:lnTo>
                  <a:lnTo>
                    <a:pt x="1405" y="480"/>
                  </a:lnTo>
                  <a:lnTo>
                    <a:pt x="1388" y="487"/>
                  </a:lnTo>
                  <a:lnTo>
                    <a:pt x="1369" y="510"/>
                  </a:lnTo>
                  <a:lnTo>
                    <a:pt x="1351" y="528"/>
                  </a:lnTo>
                  <a:lnTo>
                    <a:pt x="1363" y="524"/>
                  </a:lnTo>
                  <a:lnTo>
                    <a:pt x="1386" y="501"/>
                  </a:lnTo>
                  <a:lnTo>
                    <a:pt x="1415" y="485"/>
                  </a:lnTo>
                  <a:lnTo>
                    <a:pt x="1436" y="483"/>
                  </a:lnTo>
                  <a:lnTo>
                    <a:pt x="1449" y="491"/>
                  </a:lnTo>
                  <a:lnTo>
                    <a:pt x="1436" y="504"/>
                  </a:lnTo>
                  <a:lnTo>
                    <a:pt x="1440" y="524"/>
                  </a:lnTo>
                  <a:lnTo>
                    <a:pt x="1443" y="537"/>
                  </a:lnTo>
                  <a:lnTo>
                    <a:pt x="1463" y="547"/>
                  </a:lnTo>
                  <a:lnTo>
                    <a:pt x="1486" y="543"/>
                  </a:lnTo>
                  <a:lnTo>
                    <a:pt x="1501" y="524"/>
                  </a:lnTo>
                  <a:lnTo>
                    <a:pt x="1501" y="535"/>
                  </a:lnTo>
                  <a:lnTo>
                    <a:pt x="1511" y="543"/>
                  </a:lnTo>
                  <a:lnTo>
                    <a:pt x="1493" y="554"/>
                  </a:lnTo>
                  <a:lnTo>
                    <a:pt x="1461" y="564"/>
                  </a:lnTo>
                  <a:lnTo>
                    <a:pt x="1447" y="572"/>
                  </a:lnTo>
                  <a:lnTo>
                    <a:pt x="1434" y="583"/>
                  </a:lnTo>
                  <a:lnTo>
                    <a:pt x="1420" y="583"/>
                  </a:lnTo>
                  <a:lnTo>
                    <a:pt x="1420" y="568"/>
                  </a:lnTo>
                  <a:lnTo>
                    <a:pt x="1445" y="554"/>
                  </a:lnTo>
                  <a:lnTo>
                    <a:pt x="1422" y="554"/>
                  </a:lnTo>
                  <a:lnTo>
                    <a:pt x="1407" y="556"/>
                  </a:lnTo>
                  <a:lnTo>
                    <a:pt x="1409" y="560"/>
                  </a:lnTo>
                  <a:lnTo>
                    <a:pt x="1395" y="570"/>
                  </a:lnTo>
                  <a:lnTo>
                    <a:pt x="1380" y="575"/>
                  </a:lnTo>
                  <a:lnTo>
                    <a:pt x="1365" y="581"/>
                  </a:lnTo>
                  <a:lnTo>
                    <a:pt x="1357" y="591"/>
                  </a:lnTo>
                  <a:lnTo>
                    <a:pt x="1355" y="595"/>
                  </a:lnTo>
                  <a:lnTo>
                    <a:pt x="1355" y="599"/>
                  </a:lnTo>
                  <a:lnTo>
                    <a:pt x="1355" y="604"/>
                  </a:lnTo>
                  <a:lnTo>
                    <a:pt x="1359" y="614"/>
                  </a:lnTo>
                  <a:lnTo>
                    <a:pt x="1367" y="614"/>
                  </a:lnTo>
                  <a:lnTo>
                    <a:pt x="1365" y="608"/>
                  </a:lnTo>
                  <a:lnTo>
                    <a:pt x="1369" y="612"/>
                  </a:lnTo>
                  <a:lnTo>
                    <a:pt x="1367" y="616"/>
                  </a:lnTo>
                  <a:lnTo>
                    <a:pt x="1357" y="618"/>
                  </a:lnTo>
                  <a:lnTo>
                    <a:pt x="1351" y="618"/>
                  </a:lnTo>
                  <a:lnTo>
                    <a:pt x="1342" y="622"/>
                  </a:lnTo>
                  <a:lnTo>
                    <a:pt x="1334" y="622"/>
                  </a:lnTo>
                  <a:lnTo>
                    <a:pt x="1326" y="623"/>
                  </a:lnTo>
                  <a:lnTo>
                    <a:pt x="1315" y="627"/>
                  </a:lnTo>
                  <a:lnTo>
                    <a:pt x="1336" y="623"/>
                  </a:lnTo>
                  <a:lnTo>
                    <a:pt x="1340" y="627"/>
                  </a:lnTo>
                  <a:lnTo>
                    <a:pt x="1319" y="633"/>
                  </a:lnTo>
                  <a:lnTo>
                    <a:pt x="1311" y="633"/>
                  </a:lnTo>
                  <a:lnTo>
                    <a:pt x="1311" y="629"/>
                  </a:lnTo>
                  <a:lnTo>
                    <a:pt x="1309" y="635"/>
                  </a:lnTo>
                  <a:lnTo>
                    <a:pt x="1311" y="635"/>
                  </a:lnTo>
                  <a:lnTo>
                    <a:pt x="1309" y="648"/>
                  </a:lnTo>
                  <a:lnTo>
                    <a:pt x="1298" y="660"/>
                  </a:lnTo>
                  <a:lnTo>
                    <a:pt x="1298" y="656"/>
                  </a:lnTo>
                  <a:lnTo>
                    <a:pt x="1294" y="654"/>
                  </a:lnTo>
                  <a:lnTo>
                    <a:pt x="1290" y="652"/>
                  </a:lnTo>
                  <a:lnTo>
                    <a:pt x="1294" y="660"/>
                  </a:lnTo>
                  <a:lnTo>
                    <a:pt x="1296" y="662"/>
                  </a:lnTo>
                  <a:lnTo>
                    <a:pt x="1296" y="668"/>
                  </a:lnTo>
                  <a:lnTo>
                    <a:pt x="1292" y="675"/>
                  </a:lnTo>
                  <a:lnTo>
                    <a:pt x="1284" y="689"/>
                  </a:lnTo>
                  <a:lnTo>
                    <a:pt x="1282" y="687"/>
                  </a:lnTo>
                  <a:lnTo>
                    <a:pt x="1288" y="677"/>
                  </a:lnTo>
                  <a:lnTo>
                    <a:pt x="1280" y="670"/>
                  </a:lnTo>
                  <a:lnTo>
                    <a:pt x="1278" y="656"/>
                  </a:lnTo>
                  <a:lnTo>
                    <a:pt x="1277" y="662"/>
                  </a:lnTo>
                  <a:lnTo>
                    <a:pt x="1280" y="673"/>
                  </a:lnTo>
                  <a:lnTo>
                    <a:pt x="1271" y="671"/>
                  </a:lnTo>
                  <a:lnTo>
                    <a:pt x="1280" y="677"/>
                  </a:lnTo>
                  <a:lnTo>
                    <a:pt x="1280" y="691"/>
                  </a:lnTo>
                  <a:lnTo>
                    <a:pt x="1282" y="693"/>
                  </a:lnTo>
                  <a:lnTo>
                    <a:pt x="1284" y="698"/>
                  </a:lnTo>
                  <a:lnTo>
                    <a:pt x="1288" y="716"/>
                  </a:lnTo>
                  <a:lnTo>
                    <a:pt x="1278" y="727"/>
                  </a:lnTo>
                  <a:lnTo>
                    <a:pt x="1265" y="729"/>
                  </a:lnTo>
                  <a:lnTo>
                    <a:pt x="1253" y="739"/>
                  </a:lnTo>
                  <a:lnTo>
                    <a:pt x="1248" y="741"/>
                  </a:lnTo>
                  <a:lnTo>
                    <a:pt x="1242" y="746"/>
                  </a:lnTo>
                  <a:lnTo>
                    <a:pt x="1240" y="752"/>
                  </a:lnTo>
                  <a:lnTo>
                    <a:pt x="1223" y="762"/>
                  </a:lnTo>
                  <a:lnTo>
                    <a:pt x="1215" y="769"/>
                  </a:lnTo>
                  <a:lnTo>
                    <a:pt x="1209" y="779"/>
                  </a:lnTo>
                  <a:lnTo>
                    <a:pt x="1207" y="790"/>
                  </a:lnTo>
                  <a:lnTo>
                    <a:pt x="1209" y="800"/>
                  </a:lnTo>
                  <a:lnTo>
                    <a:pt x="1215" y="813"/>
                  </a:lnTo>
                  <a:lnTo>
                    <a:pt x="1219" y="823"/>
                  </a:lnTo>
                  <a:lnTo>
                    <a:pt x="1219" y="827"/>
                  </a:lnTo>
                  <a:lnTo>
                    <a:pt x="1221" y="831"/>
                  </a:lnTo>
                  <a:lnTo>
                    <a:pt x="1227" y="846"/>
                  </a:lnTo>
                  <a:lnTo>
                    <a:pt x="1227" y="858"/>
                  </a:lnTo>
                  <a:lnTo>
                    <a:pt x="1227" y="863"/>
                  </a:lnTo>
                  <a:lnTo>
                    <a:pt x="1223" y="871"/>
                  </a:lnTo>
                  <a:lnTo>
                    <a:pt x="1217" y="873"/>
                  </a:lnTo>
                  <a:lnTo>
                    <a:pt x="1211" y="871"/>
                  </a:lnTo>
                  <a:lnTo>
                    <a:pt x="1209" y="865"/>
                  </a:lnTo>
                  <a:lnTo>
                    <a:pt x="1206" y="861"/>
                  </a:lnTo>
                  <a:lnTo>
                    <a:pt x="1196" y="850"/>
                  </a:lnTo>
                  <a:lnTo>
                    <a:pt x="1190" y="838"/>
                  </a:lnTo>
                  <a:lnTo>
                    <a:pt x="1188" y="831"/>
                  </a:lnTo>
                  <a:lnTo>
                    <a:pt x="1190" y="821"/>
                  </a:lnTo>
                  <a:lnTo>
                    <a:pt x="1188" y="813"/>
                  </a:lnTo>
                  <a:lnTo>
                    <a:pt x="1177" y="802"/>
                  </a:lnTo>
                  <a:lnTo>
                    <a:pt x="1171" y="798"/>
                  </a:lnTo>
                  <a:lnTo>
                    <a:pt x="1156" y="804"/>
                  </a:lnTo>
                  <a:lnTo>
                    <a:pt x="1154" y="804"/>
                  </a:lnTo>
                  <a:lnTo>
                    <a:pt x="1148" y="798"/>
                  </a:lnTo>
                  <a:lnTo>
                    <a:pt x="1138" y="794"/>
                  </a:lnTo>
                  <a:lnTo>
                    <a:pt x="1123" y="796"/>
                  </a:lnTo>
                  <a:lnTo>
                    <a:pt x="1110" y="794"/>
                  </a:lnTo>
                  <a:lnTo>
                    <a:pt x="1100" y="794"/>
                  </a:lnTo>
                  <a:lnTo>
                    <a:pt x="1094" y="798"/>
                  </a:lnTo>
                  <a:lnTo>
                    <a:pt x="1098" y="802"/>
                  </a:lnTo>
                  <a:lnTo>
                    <a:pt x="1096" y="808"/>
                  </a:lnTo>
                  <a:lnTo>
                    <a:pt x="1100" y="812"/>
                  </a:lnTo>
                  <a:lnTo>
                    <a:pt x="1098" y="813"/>
                  </a:lnTo>
                  <a:lnTo>
                    <a:pt x="1092" y="810"/>
                  </a:lnTo>
                  <a:lnTo>
                    <a:pt x="1087" y="813"/>
                  </a:lnTo>
                  <a:lnTo>
                    <a:pt x="1075" y="813"/>
                  </a:lnTo>
                  <a:lnTo>
                    <a:pt x="1065" y="804"/>
                  </a:lnTo>
                  <a:lnTo>
                    <a:pt x="1054" y="806"/>
                  </a:lnTo>
                  <a:lnTo>
                    <a:pt x="1044" y="804"/>
                  </a:lnTo>
                  <a:lnTo>
                    <a:pt x="1035" y="804"/>
                  </a:lnTo>
                  <a:lnTo>
                    <a:pt x="1025" y="808"/>
                  </a:lnTo>
                  <a:lnTo>
                    <a:pt x="1010" y="821"/>
                  </a:lnTo>
                  <a:lnTo>
                    <a:pt x="996" y="827"/>
                  </a:lnTo>
                  <a:lnTo>
                    <a:pt x="989" y="833"/>
                  </a:lnTo>
                  <a:lnTo>
                    <a:pt x="985" y="840"/>
                  </a:lnTo>
                  <a:lnTo>
                    <a:pt x="985" y="850"/>
                  </a:lnTo>
                  <a:lnTo>
                    <a:pt x="987" y="858"/>
                  </a:lnTo>
                  <a:lnTo>
                    <a:pt x="989" y="861"/>
                  </a:lnTo>
                  <a:lnTo>
                    <a:pt x="985" y="875"/>
                  </a:lnTo>
                  <a:lnTo>
                    <a:pt x="983" y="886"/>
                  </a:lnTo>
                  <a:lnTo>
                    <a:pt x="981" y="906"/>
                  </a:lnTo>
                  <a:lnTo>
                    <a:pt x="979" y="913"/>
                  </a:lnTo>
                  <a:lnTo>
                    <a:pt x="983" y="921"/>
                  </a:lnTo>
                  <a:lnTo>
                    <a:pt x="985" y="929"/>
                  </a:lnTo>
                  <a:lnTo>
                    <a:pt x="989" y="938"/>
                  </a:lnTo>
                  <a:lnTo>
                    <a:pt x="996" y="950"/>
                  </a:lnTo>
                  <a:lnTo>
                    <a:pt x="1000" y="959"/>
                  </a:lnTo>
                  <a:lnTo>
                    <a:pt x="1006" y="965"/>
                  </a:lnTo>
                  <a:lnTo>
                    <a:pt x="1021" y="969"/>
                  </a:lnTo>
                  <a:lnTo>
                    <a:pt x="1027" y="975"/>
                  </a:lnTo>
                  <a:lnTo>
                    <a:pt x="1039" y="971"/>
                  </a:lnTo>
                  <a:lnTo>
                    <a:pt x="1050" y="971"/>
                  </a:lnTo>
                  <a:lnTo>
                    <a:pt x="1062" y="967"/>
                  </a:lnTo>
                  <a:lnTo>
                    <a:pt x="1069" y="965"/>
                  </a:lnTo>
                  <a:lnTo>
                    <a:pt x="1077" y="959"/>
                  </a:lnTo>
                  <a:lnTo>
                    <a:pt x="1081" y="950"/>
                  </a:lnTo>
                  <a:lnTo>
                    <a:pt x="1083" y="938"/>
                  </a:lnTo>
                  <a:lnTo>
                    <a:pt x="1085" y="934"/>
                  </a:lnTo>
                  <a:lnTo>
                    <a:pt x="1094" y="931"/>
                  </a:lnTo>
                  <a:lnTo>
                    <a:pt x="1110" y="927"/>
                  </a:lnTo>
                  <a:lnTo>
                    <a:pt x="1121" y="927"/>
                  </a:lnTo>
                  <a:lnTo>
                    <a:pt x="1129" y="925"/>
                  </a:lnTo>
                  <a:lnTo>
                    <a:pt x="1133" y="929"/>
                  </a:lnTo>
                  <a:lnTo>
                    <a:pt x="1133" y="936"/>
                  </a:lnTo>
                  <a:lnTo>
                    <a:pt x="1125" y="946"/>
                  </a:lnTo>
                  <a:lnTo>
                    <a:pt x="1123" y="954"/>
                  </a:lnTo>
                  <a:lnTo>
                    <a:pt x="1125" y="955"/>
                  </a:lnTo>
                  <a:lnTo>
                    <a:pt x="1123" y="963"/>
                  </a:lnTo>
                  <a:lnTo>
                    <a:pt x="1119" y="973"/>
                  </a:lnTo>
                  <a:lnTo>
                    <a:pt x="1115" y="971"/>
                  </a:lnTo>
                  <a:lnTo>
                    <a:pt x="1111" y="971"/>
                  </a:lnTo>
                  <a:lnTo>
                    <a:pt x="1111" y="973"/>
                  </a:lnTo>
                  <a:lnTo>
                    <a:pt x="1113" y="973"/>
                  </a:lnTo>
                  <a:lnTo>
                    <a:pt x="1113" y="975"/>
                  </a:lnTo>
                  <a:lnTo>
                    <a:pt x="1111" y="982"/>
                  </a:lnTo>
                  <a:lnTo>
                    <a:pt x="1113" y="984"/>
                  </a:lnTo>
                  <a:lnTo>
                    <a:pt x="1111" y="990"/>
                  </a:lnTo>
                  <a:lnTo>
                    <a:pt x="1110" y="1000"/>
                  </a:lnTo>
                  <a:lnTo>
                    <a:pt x="1110" y="1002"/>
                  </a:lnTo>
                  <a:lnTo>
                    <a:pt x="1106" y="1002"/>
                  </a:lnTo>
                  <a:lnTo>
                    <a:pt x="1104" y="1007"/>
                  </a:lnTo>
                  <a:lnTo>
                    <a:pt x="1108" y="1011"/>
                  </a:lnTo>
                  <a:lnTo>
                    <a:pt x="1110" y="1007"/>
                  </a:lnTo>
                  <a:lnTo>
                    <a:pt x="1111" y="1011"/>
                  </a:lnTo>
                  <a:lnTo>
                    <a:pt x="1098" y="1025"/>
                  </a:lnTo>
                  <a:lnTo>
                    <a:pt x="1111" y="1011"/>
                  </a:lnTo>
                  <a:lnTo>
                    <a:pt x="1113" y="1011"/>
                  </a:lnTo>
                  <a:lnTo>
                    <a:pt x="1117" y="1007"/>
                  </a:lnTo>
                  <a:lnTo>
                    <a:pt x="1123" y="1007"/>
                  </a:lnTo>
                  <a:lnTo>
                    <a:pt x="1123" y="1009"/>
                  </a:lnTo>
                  <a:lnTo>
                    <a:pt x="1127" y="1009"/>
                  </a:lnTo>
                  <a:lnTo>
                    <a:pt x="1131" y="1009"/>
                  </a:lnTo>
                  <a:lnTo>
                    <a:pt x="1138" y="1009"/>
                  </a:lnTo>
                  <a:lnTo>
                    <a:pt x="1142" y="1007"/>
                  </a:lnTo>
                  <a:lnTo>
                    <a:pt x="1144" y="1005"/>
                  </a:lnTo>
                  <a:lnTo>
                    <a:pt x="1148" y="1007"/>
                  </a:lnTo>
                  <a:lnTo>
                    <a:pt x="1152" y="1007"/>
                  </a:lnTo>
                  <a:lnTo>
                    <a:pt x="1156" y="1007"/>
                  </a:lnTo>
                  <a:lnTo>
                    <a:pt x="1158" y="1005"/>
                  </a:lnTo>
                  <a:lnTo>
                    <a:pt x="1165" y="1007"/>
                  </a:lnTo>
                  <a:lnTo>
                    <a:pt x="1167" y="1009"/>
                  </a:lnTo>
                  <a:lnTo>
                    <a:pt x="1171" y="1011"/>
                  </a:lnTo>
                  <a:lnTo>
                    <a:pt x="1177" y="1013"/>
                  </a:lnTo>
                  <a:lnTo>
                    <a:pt x="1181" y="1015"/>
                  </a:lnTo>
                  <a:lnTo>
                    <a:pt x="1184" y="1021"/>
                  </a:lnTo>
                  <a:lnTo>
                    <a:pt x="1182" y="1023"/>
                  </a:lnTo>
                  <a:lnTo>
                    <a:pt x="1182" y="1026"/>
                  </a:lnTo>
                  <a:lnTo>
                    <a:pt x="1182" y="1030"/>
                  </a:lnTo>
                  <a:lnTo>
                    <a:pt x="1181" y="1036"/>
                  </a:lnTo>
                  <a:lnTo>
                    <a:pt x="1179" y="1040"/>
                  </a:lnTo>
                  <a:lnTo>
                    <a:pt x="1177" y="1048"/>
                  </a:lnTo>
                  <a:lnTo>
                    <a:pt x="1179" y="1050"/>
                  </a:lnTo>
                  <a:lnTo>
                    <a:pt x="1179" y="1057"/>
                  </a:lnTo>
                  <a:lnTo>
                    <a:pt x="1177" y="1057"/>
                  </a:lnTo>
                  <a:lnTo>
                    <a:pt x="1177" y="1065"/>
                  </a:lnTo>
                  <a:lnTo>
                    <a:pt x="1177" y="1067"/>
                  </a:lnTo>
                  <a:lnTo>
                    <a:pt x="1175" y="1071"/>
                  </a:lnTo>
                  <a:lnTo>
                    <a:pt x="1175" y="1076"/>
                  </a:lnTo>
                  <a:lnTo>
                    <a:pt x="1177" y="1078"/>
                  </a:lnTo>
                  <a:lnTo>
                    <a:pt x="1181" y="1086"/>
                  </a:lnTo>
                  <a:lnTo>
                    <a:pt x="1186" y="1090"/>
                  </a:lnTo>
                  <a:lnTo>
                    <a:pt x="1192" y="1098"/>
                  </a:lnTo>
                  <a:lnTo>
                    <a:pt x="1198" y="1103"/>
                  </a:lnTo>
                  <a:lnTo>
                    <a:pt x="1198" y="1105"/>
                  </a:lnTo>
                  <a:lnTo>
                    <a:pt x="1204" y="1105"/>
                  </a:lnTo>
                  <a:lnTo>
                    <a:pt x="1206" y="1105"/>
                  </a:lnTo>
                  <a:lnTo>
                    <a:pt x="1207" y="1107"/>
                  </a:lnTo>
                  <a:lnTo>
                    <a:pt x="1215" y="1107"/>
                  </a:lnTo>
                  <a:lnTo>
                    <a:pt x="1221" y="1103"/>
                  </a:lnTo>
                  <a:lnTo>
                    <a:pt x="1230" y="1101"/>
                  </a:lnTo>
                  <a:lnTo>
                    <a:pt x="1234" y="1096"/>
                  </a:lnTo>
                  <a:lnTo>
                    <a:pt x="1242" y="1098"/>
                  </a:lnTo>
                  <a:lnTo>
                    <a:pt x="1242" y="1099"/>
                  </a:lnTo>
                  <a:lnTo>
                    <a:pt x="1248" y="1099"/>
                  </a:lnTo>
                  <a:lnTo>
                    <a:pt x="1253" y="1101"/>
                  </a:lnTo>
                  <a:lnTo>
                    <a:pt x="1259" y="1105"/>
                  </a:lnTo>
                  <a:lnTo>
                    <a:pt x="1265" y="1109"/>
                  </a:lnTo>
                  <a:lnTo>
                    <a:pt x="1271" y="1109"/>
                  </a:lnTo>
                  <a:lnTo>
                    <a:pt x="1282" y="1101"/>
                  </a:lnTo>
                  <a:lnTo>
                    <a:pt x="1288" y="1099"/>
                  </a:lnTo>
                  <a:lnTo>
                    <a:pt x="1288" y="1094"/>
                  </a:lnTo>
                  <a:lnTo>
                    <a:pt x="1292" y="1082"/>
                  </a:lnTo>
                  <a:lnTo>
                    <a:pt x="1298" y="1076"/>
                  </a:lnTo>
                  <a:lnTo>
                    <a:pt x="1309" y="1076"/>
                  </a:lnTo>
                  <a:lnTo>
                    <a:pt x="1309" y="1073"/>
                  </a:lnTo>
                  <a:lnTo>
                    <a:pt x="1319" y="1074"/>
                  </a:lnTo>
                  <a:lnTo>
                    <a:pt x="1330" y="1067"/>
                  </a:lnTo>
                  <a:lnTo>
                    <a:pt x="1336" y="1065"/>
                  </a:lnTo>
                  <a:lnTo>
                    <a:pt x="1344" y="1055"/>
                  </a:lnTo>
                  <a:lnTo>
                    <a:pt x="1348" y="1057"/>
                  </a:lnTo>
                  <a:lnTo>
                    <a:pt x="1351" y="1061"/>
                  </a:lnTo>
                  <a:lnTo>
                    <a:pt x="1348" y="1067"/>
                  </a:lnTo>
                  <a:lnTo>
                    <a:pt x="1348" y="1069"/>
                  </a:lnTo>
                  <a:lnTo>
                    <a:pt x="1340" y="1071"/>
                  </a:lnTo>
                  <a:lnTo>
                    <a:pt x="1346" y="1078"/>
                  </a:lnTo>
                  <a:lnTo>
                    <a:pt x="1346" y="1084"/>
                  </a:lnTo>
                  <a:lnTo>
                    <a:pt x="1338" y="1092"/>
                  </a:lnTo>
                  <a:lnTo>
                    <a:pt x="1344" y="1105"/>
                  </a:lnTo>
                  <a:lnTo>
                    <a:pt x="1349" y="1103"/>
                  </a:lnTo>
                  <a:lnTo>
                    <a:pt x="1353" y="1092"/>
                  </a:lnTo>
                  <a:lnTo>
                    <a:pt x="1348" y="1088"/>
                  </a:lnTo>
                  <a:lnTo>
                    <a:pt x="1348" y="1078"/>
                  </a:lnTo>
                  <a:lnTo>
                    <a:pt x="1365" y="1071"/>
                  </a:lnTo>
                  <a:lnTo>
                    <a:pt x="1363" y="1065"/>
                  </a:lnTo>
                  <a:lnTo>
                    <a:pt x="1369" y="1061"/>
                  </a:lnTo>
                  <a:lnTo>
                    <a:pt x="1374" y="1071"/>
                  </a:lnTo>
                  <a:lnTo>
                    <a:pt x="1382" y="1071"/>
                  </a:lnTo>
                  <a:lnTo>
                    <a:pt x="1392" y="1078"/>
                  </a:lnTo>
                  <a:lnTo>
                    <a:pt x="1392" y="1082"/>
                  </a:lnTo>
                  <a:lnTo>
                    <a:pt x="1405" y="1082"/>
                  </a:lnTo>
                  <a:lnTo>
                    <a:pt x="1420" y="1082"/>
                  </a:lnTo>
                  <a:lnTo>
                    <a:pt x="1428" y="1088"/>
                  </a:lnTo>
                  <a:lnTo>
                    <a:pt x="1440" y="1088"/>
                  </a:lnTo>
                  <a:lnTo>
                    <a:pt x="1445" y="1086"/>
                  </a:lnTo>
                  <a:lnTo>
                    <a:pt x="1445" y="1082"/>
                  </a:lnTo>
                  <a:lnTo>
                    <a:pt x="1465" y="1080"/>
                  </a:lnTo>
                  <a:lnTo>
                    <a:pt x="1482" y="1080"/>
                  </a:lnTo>
                  <a:lnTo>
                    <a:pt x="1470" y="1084"/>
                  </a:lnTo>
                  <a:lnTo>
                    <a:pt x="1474" y="1090"/>
                  </a:lnTo>
                  <a:lnTo>
                    <a:pt x="1484" y="1092"/>
                  </a:lnTo>
                  <a:lnTo>
                    <a:pt x="1497" y="1099"/>
                  </a:lnTo>
                  <a:lnTo>
                    <a:pt x="1499" y="1111"/>
                  </a:lnTo>
                  <a:lnTo>
                    <a:pt x="1505" y="1111"/>
                  </a:lnTo>
                  <a:lnTo>
                    <a:pt x="1511" y="1115"/>
                  </a:lnTo>
                  <a:lnTo>
                    <a:pt x="1520" y="1119"/>
                  </a:lnTo>
                  <a:lnTo>
                    <a:pt x="1528" y="1128"/>
                  </a:lnTo>
                  <a:lnTo>
                    <a:pt x="1528" y="1136"/>
                  </a:lnTo>
                  <a:lnTo>
                    <a:pt x="1534" y="1136"/>
                  </a:lnTo>
                  <a:lnTo>
                    <a:pt x="1541" y="1144"/>
                  </a:lnTo>
                  <a:lnTo>
                    <a:pt x="1547" y="1147"/>
                  </a:lnTo>
                  <a:lnTo>
                    <a:pt x="1562" y="1149"/>
                  </a:lnTo>
                  <a:lnTo>
                    <a:pt x="1564" y="1147"/>
                  </a:lnTo>
                  <a:lnTo>
                    <a:pt x="1576" y="1145"/>
                  </a:lnTo>
                  <a:lnTo>
                    <a:pt x="1591" y="1151"/>
                  </a:lnTo>
                  <a:lnTo>
                    <a:pt x="1597" y="1151"/>
                  </a:lnTo>
                  <a:lnTo>
                    <a:pt x="1607" y="1153"/>
                  </a:lnTo>
                  <a:lnTo>
                    <a:pt x="1622" y="1169"/>
                  </a:lnTo>
                  <a:lnTo>
                    <a:pt x="1624" y="1172"/>
                  </a:lnTo>
                  <a:lnTo>
                    <a:pt x="1628" y="1172"/>
                  </a:lnTo>
                  <a:lnTo>
                    <a:pt x="1632" y="1180"/>
                  </a:lnTo>
                  <a:lnTo>
                    <a:pt x="1639" y="1205"/>
                  </a:lnTo>
                  <a:lnTo>
                    <a:pt x="1647" y="1207"/>
                  </a:lnTo>
                  <a:lnTo>
                    <a:pt x="1647" y="1216"/>
                  </a:lnTo>
                  <a:lnTo>
                    <a:pt x="1637" y="1228"/>
                  </a:lnTo>
                  <a:lnTo>
                    <a:pt x="1641" y="1232"/>
                  </a:lnTo>
                  <a:lnTo>
                    <a:pt x="1666" y="1234"/>
                  </a:lnTo>
                  <a:lnTo>
                    <a:pt x="1666" y="1247"/>
                  </a:lnTo>
                  <a:lnTo>
                    <a:pt x="1678" y="1238"/>
                  </a:lnTo>
                  <a:lnTo>
                    <a:pt x="1693" y="1243"/>
                  </a:lnTo>
                  <a:lnTo>
                    <a:pt x="1718" y="1251"/>
                  </a:lnTo>
                  <a:lnTo>
                    <a:pt x="1724" y="1259"/>
                  </a:lnTo>
                  <a:lnTo>
                    <a:pt x="1722" y="1268"/>
                  </a:lnTo>
                  <a:lnTo>
                    <a:pt x="1737" y="1263"/>
                  </a:lnTo>
                  <a:lnTo>
                    <a:pt x="1766" y="1272"/>
                  </a:lnTo>
                  <a:lnTo>
                    <a:pt x="1785" y="1270"/>
                  </a:lnTo>
                  <a:lnTo>
                    <a:pt x="1806" y="1282"/>
                  </a:lnTo>
                  <a:lnTo>
                    <a:pt x="1823" y="1297"/>
                  </a:lnTo>
                  <a:lnTo>
                    <a:pt x="1833" y="1301"/>
                  </a:lnTo>
                  <a:lnTo>
                    <a:pt x="1848" y="1301"/>
                  </a:lnTo>
                  <a:lnTo>
                    <a:pt x="1852" y="1307"/>
                  </a:lnTo>
                  <a:lnTo>
                    <a:pt x="1856" y="1324"/>
                  </a:lnTo>
                  <a:lnTo>
                    <a:pt x="1860" y="1334"/>
                  </a:lnTo>
                  <a:lnTo>
                    <a:pt x="1852" y="1357"/>
                  </a:lnTo>
                  <a:lnTo>
                    <a:pt x="1846" y="1364"/>
                  </a:lnTo>
                  <a:lnTo>
                    <a:pt x="1827" y="1385"/>
                  </a:lnTo>
                  <a:lnTo>
                    <a:pt x="1818" y="1399"/>
                  </a:lnTo>
                  <a:lnTo>
                    <a:pt x="1808" y="1414"/>
                  </a:lnTo>
                  <a:lnTo>
                    <a:pt x="1804" y="1414"/>
                  </a:lnTo>
                  <a:lnTo>
                    <a:pt x="1800" y="1424"/>
                  </a:lnTo>
                  <a:lnTo>
                    <a:pt x="1800" y="1451"/>
                  </a:lnTo>
                  <a:lnTo>
                    <a:pt x="1797" y="1472"/>
                  </a:lnTo>
                  <a:lnTo>
                    <a:pt x="1795" y="1481"/>
                  </a:lnTo>
                  <a:lnTo>
                    <a:pt x="1791" y="1487"/>
                  </a:lnTo>
                  <a:lnTo>
                    <a:pt x="1789" y="1506"/>
                  </a:lnTo>
                  <a:lnTo>
                    <a:pt x="1773" y="1525"/>
                  </a:lnTo>
                  <a:lnTo>
                    <a:pt x="1772" y="1541"/>
                  </a:lnTo>
                  <a:lnTo>
                    <a:pt x="1760" y="1547"/>
                  </a:lnTo>
                  <a:lnTo>
                    <a:pt x="1756" y="1556"/>
                  </a:lnTo>
                  <a:lnTo>
                    <a:pt x="1743" y="1556"/>
                  </a:lnTo>
                  <a:lnTo>
                    <a:pt x="1720" y="1560"/>
                  </a:lnTo>
                  <a:lnTo>
                    <a:pt x="1710" y="1568"/>
                  </a:lnTo>
                  <a:lnTo>
                    <a:pt x="1695" y="1572"/>
                  </a:lnTo>
                  <a:lnTo>
                    <a:pt x="1679" y="1583"/>
                  </a:lnTo>
                  <a:lnTo>
                    <a:pt x="1666" y="1598"/>
                  </a:lnTo>
                  <a:lnTo>
                    <a:pt x="1666" y="1608"/>
                  </a:lnTo>
                  <a:lnTo>
                    <a:pt x="1666" y="1618"/>
                  </a:lnTo>
                  <a:lnTo>
                    <a:pt x="1666" y="1633"/>
                  </a:lnTo>
                  <a:lnTo>
                    <a:pt x="1662" y="1641"/>
                  </a:lnTo>
                  <a:lnTo>
                    <a:pt x="1653" y="1648"/>
                  </a:lnTo>
                  <a:lnTo>
                    <a:pt x="1637" y="1675"/>
                  </a:lnTo>
                  <a:lnTo>
                    <a:pt x="1624" y="1687"/>
                  </a:lnTo>
                  <a:lnTo>
                    <a:pt x="1614" y="1696"/>
                  </a:lnTo>
                  <a:lnTo>
                    <a:pt x="1608" y="1710"/>
                  </a:lnTo>
                  <a:lnTo>
                    <a:pt x="1601" y="1719"/>
                  </a:lnTo>
                  <a:lnTo>
                    <a:pt x="1593" y="1729"/>
                  </a:lnTo>
                  <a:lnTo>
                    <a:pt x="1578" y="1739"/>
                  </a:lnTo>
                  <a:lnTo>
                    <a:pt x="1566" y="1735"/>
                  </a:lnTo>
                  <a:lnTo>
                    <a:pt x="1561" y="1737"/>
                  </a:lnTo>
                  <a:lnTo>
                    <a:pt x="1547" y="1729"/>
                  </a:lnTo>
                  <a:lnTo>
                    <a:pt x="1537" y="1729"/>
                  </a:lnTo>
                  <a:lnTo>
                    <a:pt x="1530" y="1721"/>
                  </a:lnTo>
                  <a:lnTo>
                    <a:pt x="1528" y="1729"/>
                  </a:lnTo>
                  <a:lnTo>
                    <a:pt x="1547" y="1742"/>
                  </a:lnTo>
                  <a:lnTo>
                    <a:pt x="1543" y="1752"/>
                  </a:lnTo>
                  <a:lnTo>
                    <a:pt x="1553" y="1762"/>
                  </a:lnTo>
                  <a:lnTo>
                    <a:pt x="1551" y="1767"/>
                  </a:lnTo>
                  <a:lnTo>
                    <a:pt x="1537" y="1788"/>
                  </a:lnTo>
                  <a:lnTo>
                    <a:pt x="1518" y="1798"/>
                  </a:lnTo>
                  <a:lnTo>
                    <a:pt x="1490" y="1802"/>
                  </a:lnTo>
                  <a:lnTo>
                    <a:pt x="1474" y="1800"/>
                  </a:lnTo>
                  <a:lnTo>
                    <a:pt x="1478" y="1810"/>
                  </a:lnTo>
                  <a:lnTo>
                    <a:pt x="1474" y="1821"/>
                  </a:lnTo>
                  <a:lnTo>
                    <a:pt x="1478" y="1829"/>
                  </a:lnTo>
                  <a:lnTo>
                    <a:pt x="1470" y="1834"/>
                  </a:lnTo>
                  <a:lnTo>
                    <a:pt x="1455" y="1838"/>
                  </a:lnTo>
                  <a:lnTo>
                    <a:pt x="1442" y="1831"/>
                  </a:lnTo>
                  <a:lnTo>
                    <a:pt x="1436" y="1836"/>
                  </a:lnTo>
                  <a:lnTo>
                    <a:pt x="1438" y="1854"/>
                  </a:lnTo>
                  <a:lnTo>
                    <a:pt x="1447" y="1858"/>
                  </a:lnTo>
                  <a:lnTo>
                    <a:pt x="1455" y="1854"/>
                  </a:lnTo>
                  <a:lnTo>
                    <a:pt x="1459" y="1861"/>
                  </a:lnTo>
                  <a:lnTo>
                    <a:pt x="1445" y="1867"/>
                  </a:lnTo>
                  <a:lnTo>
                    <a:pt x="1434" y="1877"/>
                  </a:lnTo>
                  <a:lnTo>
                    <a:pt x="1434" y="1892"/>
                  </a:lnTo>
                  <a:lnTo>
                    <a:pt x="1430" y="1904"/>
                  </a:lnTo>
                  <a:lnTo>
                    <a:pt x="1415" y="1904"/>
                  </a:lnTo>
                  <a:lnTo>
                    <a:pt x="1405" y="1911"/>
                  </a:lnTo>
                  <a:lnTo>
                    <a:pt x="1399" y="1925"/>
                  </a:lnTo>
                  <a:lnTo>
                    <a:pt x="1415" y="1938"/>
                  </a:lnTo>
                  <a:lnTo>
                    <a:pt x="1428" y="1942"/>
                  </a:lnTo>
                  <a:lnTo>
                    <a:pt x="1424" y="1957"/>
                  </a:lnTo>
                  <a:lnTo>
                    <a:pt x="1407" y="1969"/>
                  </a:lnTo>
                  <a:lnTo>
                    <a:pt x="1395" y="1988"/>
                  </a:lnTo>
                  <a:lnTo>
                    <a:pt x="1386" y="1996"/>
                  </a:lnTo>
                  <a:lnTo>
                    <a:pt x="1378" y="2005"/>
                  </a:lnTo>
                  <a:lnTo>
                    <a:pt x="1384" y="2023"/>
                  </a:lnTo>
                  <a:lnTo>
                    <a:pt x="1394" y="2034"/>
                  </a:lnTo>
                  <a:lnTo>
                    <a:pt x="1386" y="2032"/>
                  </a:lnTo>
                  <a:lnTo>
                    <a:pt x="1376" y="2032"/>
                  </a:lnTo>
                  <a:lnTo>
                    <a:pt x="1369" y="2038"/>
                  </a:lnTo>
                  <a:lnTo>
                    <a:pt x="1355" y="2046"/>
                  </a:lnTo>
                  <a:lnTo>
                    <a:pt x="1353" y="2063"/>
                  </a:lnTo>
                  <a:lnTo>
                    <a:pt x="1348" y="2063"/>
                  </a:lnTo>
                  <a:lnTo>
                    <a:pt x="1332" y="2057"/>
                  </a:lnTo>
                  <a:lnTo>
                    <a:pt x="1315" y="2044"/>
                  </a:lnTo>
                  <a:lnTo>
                    <a:pt x="1298" y="2032"/>
                  </a:lnTo>
                  <a:lnTo>
                    <a:pt x="1294" y="2023"/>
                  </a:lnTo>
                  <a:lnTo>
                    <a:pt x="1298" y="2011"/>
                  </a:lnTo>
                  <a:lnTo>
                    <a:pt x="1292" y="1998"/>
                  </a:lnTo>
                  <a:lnTo>
                    <a:pt x="1290" y="1969"/>
                  </a:lnTo>
                  <a:lnTo>
                    <a:pt x="1294" y="1950"/>
                  </a:lnTo>
                  <a:lnTo>
                    <a:pt x="1309" y="1936"/>
                  </a:lnTo>
                  <a:lnTo>
                    <a:pt x="1288" y="1930"/>
                  </a:lnTo>
                  <a:lnTo>
                    <a:pt x="1301" y="1915"/>
                  </a:lnTo>
                  <a:lnTo>
                    <a:pt x="1307" y="1886"/>
                  </a:lnTo>
                  <a:lnTo>
                    <a:pt x="1321" y="1892"/>
                  </a:lnTo>
                  <a:lnTo>
                    <a:pt x="1330" y="1858"/>
                  </a:lnTo>
                  <a:lnTo>
                    <a:pt x="1319" y="1854"/>
                  </a:lnTo>
                  <a:lnTo>
                    <a:pt x="1315" y="1875"/>
                  </a:lnTo>
                  <a:lnTo>
                    <a:pt x="1307" y="1871"/>
                  </a:lnTo>
                  <a:lnTo>
                    <a:pt x="1311" y="1848"/>
                  </a:lnTo>
                  <a:lnTo>
                    <a:pt x="1317" y="1817"/>
                  </a:lnTo>
                  <a:lnTo>
                    <a:pt x="1321" y="1806"/>
                  </a:lnTo>
                  <a:lnTo>
                    <a:pt x="1319" y="1790"/>
                  </a:lnTo>
                  <a:lnTo>
                    <a:pt x="1317" y="1773"/>
                  </a:lnTo>
                  <a:lnTo>
                    <a:pt x="1323" y="1771"/>
                  </a:lnTo>
                  <a:lnTo>
                    <a:pt x="1332" y="1746"/>
                  </a:lnTo>
                  <a:lnTo>
                    <a:pt x="1342" y="1721"/>
                  </a:lnTo>
                  <a:lnTo>
                    <a:pt x="1348" y="1698"/>
                  </a:lnTo>
                  <a:lnTo>
                    <a:pt x="1344" y="1673"/>
                  </a:lnTo>
                  <a:lnTo>
                    <a:pt x="1348" y="1664"/>
                  </a:lnTo>
                  <a:lnTo>
                    <a:pt x="1348" y="1644"/>
                  </a:lnTo>
                  <a:lnTo>
                    <a:pt x="1355" y="1625"/>
                  </a:lnTo>
                  <a:lnTo>
                    <a:pt x="1357" y="1596"/>
                  </a:lnTo>
                  <a:lnTo>
                    <a:pt x="1361" y="1566"/>
                  </a:lnTo>
                  <a:lnTo>
                    <a:pt x="1365" y="1531"/>
                  </a:lnTo>
                  <a:lnTo>
                    <a:pt x="1365" y="1508"/>
                  </a:lnTo>
                  <a:lnTo>
                    <a:pt x="1361" y="1489"/>
                  </a:lnTo>
                  <a:lnTo>
                    <a:pt x="1348" y="1479"/>
                  </a:lnTo>
                  <a:lnTo>
                    <a:pt x="1348" y="1476"/>
                  </a:lnTo>
                  <a:lnTo>
                    <a:pt x="1319" y="1460"/>
                  </a:lnTo>
                  <a:lnTo>
                    <a:pt x="1294" y="1445"/>
                  </a:lnTo>
                  <a:lnTo>
                    <a:pt x="1282" y="1435"/>
                  </a:lnTo>
                  <a:lnTo>
                    <a:pt x="1278" y="1424"/>
                  </a:lnTo>
                  <a:lnTo>
                    <a:pt x="1280" y="1420"/>
                  </a:lnTo>
                  <a:lnTo>
                    <a:pt x="1269" y="1401"/>
                  </a:lnTo>
                  <a:lnTo>
                    <a:pt x="1253" y="1376"/>
                  </a:lnTo>
                  <a:lnTo>
                    <a:pt x="1242" y="1349"/>
                  </a:lnTo>
                  <a:lnTo>
                    <a:pt x="1236" y="1341"/>
                  </a:lnTo>
                  <a:lnTo>
                    <a:pt x="1232" y="1332"/>
                  </a:lnTo>
                  <a:lnTo>
                    <a:pt x="1219" y="1322"/>
                  </a:lnTo>
                  <a:lnTo>
                    <a:pt x="1211" y="1316"/>
                  </a:lnTo>
                  <a:lnTo>
                    <a:pt x="1215" y="1311"/>
                  </a:lnTo>
                  <a:lnTo>
                    <a:pt x="1207" y="1295"/>
                  </a:lnTo>
                  <a:lnTo>
                    <a:pt x="1213" y="1286"/>
                  </a:lnTo>
                  <a:lnTo>
                    <a:pt x="1223" y="1278"/>
                  </a:lnTo>
                  <a:lnTo>
                    <a:pt x="1232" y="1268"/>
                  </a:lnTo>
                  <a:lnTo>
                    <a:pt x="1229" y="1261"/>
                  </a:lnTo>
                  <a:lnTo>
                    <a:pt x="1223" y="1268"/>
                  </a:lnTo>
                  <a:lnTo>
                    <a:pt x="1215" y="1261"/>
                  </a:lnTo>
                  <a:lnTo>
                    <a:pt x="1217" y="1257"/>
                  </a:lnTo>
                  <a:lnTo>
                    <a:pt x="1215" y="1245"/>
                  </a:lnTo>
                  <a:lnTo>
                    <a:pt x="1219" y="1243"/>
                  </a:lnTo>
                  <a:lnTo>
                    <a:pt x="1223" y="1234"/>
                  </a:lnTo>
                  <a:lnTo>
                    <a:pt x="1229" y="1226"/>
                  </a:lnTo>
                  <a:lnTo>
                    <a:pt x="1227" y="1218"/>
                  </a:lnTo>
                  <a:lnTo>
                    <a:pt x="1234" y="1216"/>
                  </a:lnTo>
                  <a:lnTo>
                    <a:pt x="1244" y="1211"/>
                  </a:lnTo>
                  <a:lnTo>
                    <a:pt x="1242" y="1207"/>
                  </a:lnTo>
                  <a:lnTo>
                    <a:pt x="1246" y="1207"/>
                  </a:lnTo>
                  <a:lnTo>
                    <a:pt x="1246" y="1199"/>
                  </a:lnTo>
                  <a:lnTo>
                    <a:pt x="1250" y="1193"/>
                  </a:lnTo>
                  <a:lnTo>
                    <a:pt x="1255" y="1192"/>
                  </a:lnTo>
                  <a:lnTo>
                    <a:pt x="1263" y="1184"/>
                  </a:lnTo>
                  <a:lnTo>
                    <a:pt x="1269" y="1176"/>
                  </a:lnTo>
                  <a:lnTo>
                    <a:pt x="1263" y="1172"/>
                  </a:lnTo>
                  <a:lnTo>
                    <a:pt x="1265" y="1167"/>
                  </a:lnTo>
                  <a:lnTo>
                    <a:pt x="1261" y="1153"/>
                  </a:lnTo>
                  <a:lnTo>
                    <a:pt x="1265" y="1149"/>
                  </a:lnTo>
                  <a:lnTo>
                    <a:pt x="1263" y="1138"/>
                  </a:lnTo>
                  <a:lnTo>
                    <a:pt x="1257" y="1128"/>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177">
              <a:extLst>
                <a:ext uri="{FF2B5EF4-FFF2-40B4-BE49-F238E27FC236}">
                  <a16:creationId xmlns:a16="http://schemas.microsoft.com/office/drawing/2014/main" id="{6112A44A-335F-4B73-BAEA-4CACB1FB60FB}"/>
                </a:ext>
              </a:extLst>
            </p:cNvPr>
            <p:cNvSpPr>
              <a:spLocks/>
            </p:cNvSpPr>
            <p:nvPr/>
          </p:nvSpPr>
          <p:spPr bwMode="auto">
            <a:xfrm>
              <a:off x="1728789" y="2489343"/>
              <a:ext cx="404813" cy="192175"/>
            </a:xfrm>
            <a:custGeom>
              <a:avLst/>
              <a:gdLst>
                <a:gd name="T0" fmla="*/ 57 w 255"/>
                <a:gd name="T1" fmla="*/ 0 h 121"/>
                <a:gd name="T2" fmla="*/ 73 w 255"/>
                <a:gd name="T3" fmla="*/ 6 h 121"/>
                <a:gd name="T4" fmla="*/ 65 w 255"/>
                <a:gd name="T5" fmla="*/ 18 h 121"/>
                <a:gd name="T6" fmla="*/ 98 w 255"/>
                <a:gd name="T7" fmla="*/ 12 h 121"/>
                <a:gd name="T8" fmla="*/ 115 w 255"/>
                <a:gd name="T9" fmla="*/ 25 h 121"/>
                <a:gd name="T10" fmla="*/ 132 w 255"/>
                <a:gd name="T11" fmla="*/ 12 h 121"/>
                <a:gd name="T12" fmla="*/ 144 w 255"/>
                <a:gd name="T13" fmla="*/ 19 h 121"/>
                <a:gd name="T14" fmla="*/ 155 w 255"/>
                <a:gd name="T15" fmla="*/ 44 h 121"/>
                <a:gd name="T16" fmla="*/ 161 w 255"/>
                <a:gd name="T17" fmla="*/ 35 h 121"/>
                <a:gd name="T18" fmla="*/ 153 w 255"/>
                <a:gd name="T19" fmla="*/ 6 h 121"/>
                <a:gd name="T20" fmla="*/ 165 w 255"/>
                <a:gd name="T21" fmla="*/ 2 h 121"/>
                <a:gd name="T22" fmla="*/ 178 w 255"/>
                <a:gd name="T23" fmla="*/ 8 h 121"/>
                <a:gd name="T24" fmla="*/ 194 w 255"/>
                <a:gd name="T25" fmla="*/ 18 h 121"/>
                <a:gd name="T26" fmla="*/ 203 w 255"/>
                <a:gd name="T27" fmla="*/ 42 h 121"/>
                <a:gd name="T28" fmla="*/ 207 w 255"/>
                <a:gd name="T29" fmla="*/ 62 h 121"/>
                <a:gd name="T30" fmla="*/ 230 w 255"/>
                <a:gd name="T31" fmla="*/ 75 h 121"/>
                <a:gd name="T32" fmla="*/ 255 w 255"/>
                <a:gd name="T33" fmla="*/ 87 h 121"/>
                <a:gd name="T34" fmla="*/ 253 w 255"/>
                <a:gd name="T35" fmla="*/ 96 h 121"/>
                <a:gd name="T36" fmla="*/ 232 w 255"/>
                <a:gd name="T37" fmla="*/ 98 h 121"/>
                <a:gd name="T38" fmla="*/ 242 w 255"/>
                <a:gd name="T39" fmla="*/ 108 h 121"/>
                <a:gd name="T40" fmla="*/ 236 w 255"/>
                <a:gd name="T41" fmla="*/ 117 h 121"/>
                <a:gd name="T42" fmla="*/ 211 w 255"/>
                <a:gd name="T43" fmla="*/ 113 h 121"/>
                <a:gd name="T44" fmla="*/ 186 w 255"/>
                <a:gd name="T45" fmla="*/ 106 h 121"/>
                <a:gd name="T46" fmla="*/ 171 w 255"/>
                <a:gd name="T47" fmla="*/ 108 h 121"/>
                <a:gd name="T48" fmla="*/ 146 w 255"/>
                <a:gd name="T49" fmla="*/ 117 h 121"/>
                <a:gd name="T50" fmla="*/ 107 w 255"/>
                <a:gd name="T51" fmla="*/ 119 h 121"/>
                <a:gd name="T52" fmla="*/ 84 w 255"/>
                <a:gd name="T53" fmla="*/ 121 h 121"/>
                <a:gd name="T54" fmla="*/ 77 w 255"/>
                <a:gd name="T55" fmla="*/ 112 h 121"/>
                <a:gd name="T56" fmla="*/ 57 w 255"/>
                <a:gd name="T57" fmla="*/ 104 h 121"/>
                <a:gd name="T58" fmla="*/ 44 w 255"/>
                <a:gd name="T59" fmla="*/ 106 h 121"/>
                <a:gd name="T60" fmla="*/ 29 w 255"/>
                <a:gd name="T61" fmla="*/ 89 h 121"/>
                <a:gd name="T62" fmla="*/ 38 w 255"/>
                <a:gd name="T63" fmla="*/ 85 h 121"/>
                <a:gd name="T64" fmla="*/ 59 w 255"/>
                <a:gd name="T65" fmla="*/ 79 h 121"/>
                <a:gd name="T66" fmla="*/ 78 w 255"/>
                <a:gd name="T67" fmla="*/ 81 h 121"/>
                <a:gd name="T68" fmla="*/ 98 w 255"/>
                <a:gd name="T69" fmla="*/ 77 h 121"/>
                <a:gd name="T70" fmla="*/ 71 w 255"/>
                <a:gd name="T71" fmla="*/ 71 h 121"/>
                <a:gd name="T72" fmla="*/ 40 w 255"/>
                <a:gd name="T73" fmla="*/ 73 h 121"/>
                <a:gd name="T74" fmla="*/ 19 w 255"/>
                <a:gd name="T75" fmla="*/ 73 h 121"/>
                <a:gd name="T76" fmla="*/ 13 w 255"/>
                <a:gd name="T77" fmla="*/ 64 h 121"/>
                <a:gd name="T78" fmla="*/ 44 w 255"/>
                <a:gd name="T79" fmla="*/ 54 h 121"/>
                <a:gd name="T80" fmla="*/ 23 w 255"/>
                <a:gd name="T81" fmla="*/ 54 h 121"/>
                <a:gd name="T82" fmla="*/ 0 w 255"/>
                <a:gd name="T83" fmla="*/ 46 h 121"/>
                <a:gd name="T84" fmla="*/ 11 w 255"/>
                <a:gd name="T85" fmla="*/ 27 h 121"/>
                <a:gd name="T86" fmla="*/ 21 w 255"/>
                <a:gd name="T87" fmla="*/ 18 h 121"/>
                <a:gd name="T88" fmla="*/ 57 w 255"/>
                <a:gd name="T8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5" h="121">
                  <a:moveTo>
                    <a:pt x="57" y="0"/>
                  </a:moveTo>
                  <a:lnTo>
                    <a:pt x="73" y="6"/>
                  </a:lnTo>
                  <a:lnTo>
                    <a:pt x="65" y="18"/>
                  </a:lnTo>
                  <a:lnTo>
                    <a:pt x="98" y="12"/>
                  </a:lnTo>
                  <a:lnTo>
                    <a:pt x="115" y="25"/>
                  </a:lnTo>
                  <a:lnTo>
                    <a:pt x="132" y="12"/>
                  </a:lnTo>
                  <a:lnTo>
                    <a:pt x="144" y="19"/>
                  </a:lnTo>
                  <a:lnTo>
                    <a:pt x="155" y="44"/>
                  </a:lnTo>
                  <a:lnTo>
                    <a:pt x="161" y="35"/>
                  </a:lnTo>
                  <a:lnTo>
                    <a:pt x="153" y="6"/>
                  </a:lnTo>
                  <a:lnTo>
                    <a:pt x="165" y="2"/>
                  </a:lnTo>
                  <a:lnTo>
                    <a:pt x="178" y="8"/>
                  </a:lnTo>
                  <a:lnTo>
                    <a:pt x="194" y="18"/>
                  </a:lnTo>
                  <a:lnTo>
                    <a:pt x="203" y="42"/>
                  </a:lnTo>
                  <a:lnTo>
                    <a:pt x="207" y="62"/>
                  </a:lnTo>
                  <a:lnTo>
                    <a:pt x="230" y="75"/>
                  </a:lnTo>
                  <a:lnTo>
                    <a:pt x="255" y="87"/>
                  </a:lnTo>
                  <a:lnTo>
                    <a:pt x="253" y="96"/>
                  </a:lnTo>
                  <a:lnTo>
                    <a:pt x="232" y="98"/>
                  </a:lnTo>
                  <a:lnTo>
                    <a:pt x="242" y="108"/>
                  </a:lnTo>
                  <a:lnTo>
                    <a:pt x="236" y="117"/>
                  </a:lnTo>
                  <a:lnTo>
                    <a:pt x="211" y="113"/>
                  </a:lnTo>
                  <a:lnTo>
                    <a:pt x="186" y="106"/>
                  </a:lnTo>
                  <a:lnTo>
                    <a:pt x="171" y="108"/>
                  </a:lnTo>
                  <a:lnTo>
                    <a:pt x="146" y="117"/>
                  </a:lnTo>
                  <a:lnTo>
                    <a:pt x="107" y="119"/>
                  </a:lnTo>
                  <a:lnTo>
                    <a:pt x="84" y="121"/>
                  </a:lnTo>
                  <a:lnTo>
                    <a:pt x="77" y="112"/>
                  </a:lnTo>
                  <a:lnTo>
                    <a:pt x="57" y="104"/>
                  </a:lnTo>
                  <a:lnTo>
                    <a:pt x="44" y="106"/>
                  </a:lnTo>
                  <a:lnTo>
                    <a:pt x="29" y="89"/>
                  </a:lnTo>
                  <a:lnTo>
                    <a:pt x="38" y="85"/>
                  </a:lnTo>
                  <a:lnTo>
                    <a:pt x="59" y="79"/>
                  </a:lnTo>
                  <a:lnTo>
                    <a:pt x="78" y="81"/>
                  </a:lnTo>
                  <a:lnTo>
                    <a:pt x="98" y="77"/>
                  </a:lnTo>
                  <a:lnTo>
                    <a:pt x="71" y="71"/>
                  </a:lnTo>
                  <a:lnTo>
                    <a:pt x="40" y="73"/>
                  </a:lnTo>
                  <a:lnTo>
                    <a:pt x="19" y="73"/>
                  </a:lnTo>
                  <a:lnTo>
                    <a:pt x="13" y="64"/>
                  </a:lnTo>
                  <a:lnTo>
                    <a:pt x="44" y="54"/>
                  </a:lnTo>
                  <a:lnTo>
                    <a:pt x="23" y="54"/>
                  </a:lnTo>
                  <a:lnTo>
                    <a:pt x="0" y="46"/>
                  </a:lnTo>
                  <a:lnTo>
                    <a:pt x="11" y="27"/>
                  </a:lnTo>
                  <a:lnTo>
                    <a:pt x="21" y="18"/>
                  </a:lnTo>
                  <a:lnTo>
                    <a:pt x="5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179">
              <a:extLst>
                <a:ext uri="{FF2B5EF4-FFF2-40B4-BE49-F238E27FC236}">
                  <a16:creationId xmlns:a16="http://schemas.microsoft.com/office/drawing/2014/main" id="{715656F8-4EEB-4023-9780-802C01877039}"/>
                </a:ext>
              </a:extLst>
            </p:cNvPr>
            <p:cNvSpPr>
              <a:spLocks/>
            </p:cNvSpPr>
            <p:nvPr/>
          </p:nvSpPr>
          <p:spPr bwMode="auto">
            <a:xfrm>
              <a:off x="2005014" y="2478225"/>
              <a:ext cx="52388" cy="36530"/>
            </a:xfrm>
            <a:custGeom>
              <a:avLst/>
              <a:gdLst>
                <a:gd name="T0" fmla="*/ 23 w 33"/>
                <a:gd name="T1" fmla="*/ 0 h 23"/>
                <a:gd name="T2" fmla="*/ 33 w 33"/>
                <a:gd name="T3" fmla="*/ 5 h 23"/>
                <a:gd name="T4" fmla="*/ 21 w 33"/>
                <a:gd name="T5" fmla="*/ 23 h 23"/>
                <a:gd name="T6" fmla="*/ 0 w 33"/>
                <a:gd name="T7" fmla="*/ 5 h 23"/>
                <a:gd name="T8" fmla="*/ 4 w 33"/>
                <a:gd name="T9" fmla="*/ 0 h 23"/>
                <a:gd name="T10" fmla="*/ 23 w 33"/>
                <a:gd name="T11" fmla="*/ 0 h 23"/>
              </a:gdLst>
              <a:ahLst/>
              <a:cxnLst>
                <a:cxn ang="0">
                  <a:pos x="T0" y="T1"/>
                </a:cxn>
                <a:cxn ang="0">
                  <a:pos x="T2" y="T3"/>
                </a:cxn>
                <a:cxn ang="0">
                  <a:pos x="T4" y="T5"/>
                </a:cxn>
                <a:cxn ang="0">
                  <a:pos x="T6" y="T7"/>
                </a:cxn>
                <a:cxn ang="0">
                  <a:pos x="T8" y="T9"/>
                </a:cxn>
                <a:cxn ang="0">
                  <a:pos x="T10" y="T11"/>
                </a:cxn>
              </a:cxnLst>
              <a:rect l="0" t="0" r="r" b="b"/>
              <a:pathLst>
                <a:path w="33" h="23">
                  <a:moveTo>
                    <a:pt x="23" y="0"/>
                  </a:moveTo>
                  <a:lnTo>
                    <a:pt x="33" y="5"/>
                  </a:lnTo>
                  <a:lnTo>
                    <a:pt x="21" y="23"/>
                  </a:lnTo>
                  <a:lnTo>
                    <a:pt x="0" y="5"/>
                  </a:lnTo>
                  <a:lnTo>
                    <a:pt x="4" y="0"/>
                  </a:lnTo>
                  <a:lnTo>
                    <a:pt x="2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181">
              <a:extLst>
                <a:ext uri="{FF2B5EF4-FFF2-40B4-BE49-F238E27FC236}">
                  <a16:creationId xmlns:a16="http://schemas.microsoft.com/office/drawing/2014/main" id="{C6EC7315-601E-46FD-86BB-3EA57901B836}"/>
                </a:ext>
              </a:extLst>
            </p:cNvPr>
            <p:cNvSpPr>
              <a:spLocks/>
            </p:cNvSpPr>
            <p:nvPr/>
          </p:nvSpPr>
          <p:spPr bwMode="auto">
            <a:xfrm>
              <a:off x="2578101" y="2471872"/>
              <a:ext cx="103188" cy="42882"/>
            </a:xfrm>
            <a:custGeom>
              <a:avLst/>
              <a:gdLst>
                <a:gd name="T0" fmla="*/ 8 w 65"/>
                <a:gd name="T1" fmla="*/ 0 h 27"/>
                <a:gd name="T2" fmla="*/ 38 w 65"/>
                <a:gd name="T3" fmla="*/ 2 h 27"/>
                <a:gd name="T4" fmla="*/ 63 w 65"/>
                <a:gd name="T5" fmla="*/ 17 h 27"/>
                <a:gd name="T6" fmla="*/ 65 w 65"/>
                <a:gd name="T7" fmla="*/ 25 h 27"/>
                <a:gd name="T8" fmla="*/ 50 w 65"/>
                <a:gd name="T9" fmla="*/ 25 h 27"/>
                <a:gd name="T10" fmla="*/ 35 w 65"/>
                <a:gd name="T11" fmla="*/ 25 h 27"/>
                <a:gd name="T12" fmla="*/ 19 w 65"/>
                <a:gd name="T13" fmla="*/ 27 h 27"/>
                <a:gd name="T14" fmla="*/ 17 w 65"/>
                <a:gd name="T15" fmla="*/ 25 h 27"/>
                <a:gd name="T16" fmla="*/ 0 w 65"/>
                <a:gd name="T17" fmla="*/ 11 h 27"/>
                <a:gd name="T18" fmla="*/ 0 w 65"/>
                <a:gd name="T19" fmla="*/ 2 h 27"/>
                <a:gd name="T20" fmla="*/ 8 w 65"/>
                <a:gd name="T2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27">
                  <a:moveTo>
                    <a:pt x="8" y="0"/>
                  </a:moveTo>
                  <a:lnTo>
                    <a:pt x="38" y="2"/>
                  </a:lnTo>
                  <a:lnTo>
                    <a:pt x="63" y="17"/>
                  </a:lnTo>
                  <a:lnTo>
                    <a:pt x="65" y="25"/>
                  </a:lnTo>
                  <a:lnTo>
                    <a:pt x="50" y="25"/>
                  </a:lnTo>
                  <a:lnTo>
                    <a:pt x="35" y="25"/>
                  </a:lnTo>
                  <a:lnTo>
                    <a:pt x="19" y="27"/>
                  </a:lnTo>
                  <a:lnTo>
                    <a:pt x="17" y="25"/>
                  </a:lnTo>
                  <a:lnTo>
                    <a:pt x="0" y="11"/>
                  </a:lnTo>
                  <a:lnTo>
                    <a:pt x="0" y="2"/>
                  </a:lnTo>
                  <a:lnTo>
                    <a:pt x="8"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183">
              <a:extLst>
                <a:ext uri="{FF2B5EF4-FFF2-40B4-BE49-F238E27FC236}">
                  <a16:creationId xmlns:a16="http://schemas.microsoft.com/office/drawing/2014/main" id="{8E91D79F-3901-44AD-8320-B0A898FFDA4D}"/>
                </a:ext>
              </a:extLst>
            </p:cNvPr>
            <p:cNvSpPr>
              <a:spLocks/>
            </p:cNvSpPr>
            <p:nvPr/>
          </p:nvSpPr>
          <p:spPr bwMode="auto">
            <a:xfrm>
              <a:off x="2374902" y="2471872"/>
              <a:ext cx="627063" cy="451054"/>
            </a:xfrm>
            <a:custGeom>
              <a:avLst/>
              <a:gdLst>
                <a:gd name="T0" fmla="*/ 49 w 395"/>
                <a:gd name="T1" fmla="*/ 15 h 284"/>
                <a:gd name="T2" fmla="*/ 74 w 395"/>
                <a:gd name="T3" fmla="*/ 9 h 284"/>
                <a:gd name="T4" fmla="*/ 132 w 395"/>
                <a:gd name="T5" fmla="*/ 27 h 284"/>
                <a:gd name="T6" fmla="*/ 157 w 395"/>
                <a:gd name="T7" fmla="*/ 38 h 284"/>
                <a:gd name="T8" fmla="*/ 203 w 395"/>
                <a:gd name="T9" fmla="*/ 40 h 284"/>
                <a:gd name="T10" fmla="*/ 222 w 395"/>
                <a:gd name="T11" fmla="*/ 65 h 284"/>
                <a:gd name="T12" fmla="*/ 262 w 395"/>
                <a:gd name="T13" fmla="*/ 75 h 284"/>
                <a:gd name="T14" fmla="*/ 308 w 395"/>
                <a:gd name="T15" fmla="*/ 94 h 284"/>
                <a:gd name="T16" fmla="*/ 297 w 395"/>
                <a:gd name="T17" fmla="*/ 128 h 284"/>
                <a:gd name="T18" fmla="*/ 353 w 395"/>
                <a:gd name="T19" fmla="*/ 149 h 284"/>
                <a:gd name="T20" fmla="*/ 395 w 395"/>
                <a:gd name="T21" fmla="*/ 172 h 284"/>
                <a:gd name="T22" fmla="*/ 366 w 395"/>
                <a:gd name="T23" fmla="*/ 217 h 284"/>
                <a:gd name="T24" fmla="*/ 326 w 395"/>
                <a:gd name="T25" fmla="*/ 184 h 284"/>
                <a:gd name="T26" fmla="*/ 307 w 395"/>
                <a:gd name="T27" fmla="*/ 201 h 284"/>
                <a:gd name="T28" fmla="*/ 341 w 395"/>
                <a:gd name="T29" fmla="*/ 224 h 284"/>
                <a:gd name="T30" fmla="*/ 356 w 395"/>
                <a:gd name="T31" fmla="*/ 251 h 284"/>
                <a:gd name="T32" fmla="*/ 332 w 395"/>
                <a:gd name="T33" fmla="*/ 261 h 284"/>
                <a:gd name="T34" fmla="*/ 316 w 395"/>
                <a:gd name="T35" fmla="*/ 263 h 284"/>
                <a:gd name="T36" fmla="*/ 333 w 395"/>
                <a:gd name="T37" fmla="*/ 284 h 284"/>
                <a:gd name="T38" fmla="*/ 266 w 395"/>
                <a:gd name="T39" fmla="*/ 263 h 284"/>
                <a:gd name="T40" fmla="*/ 253 w 395"/>
                <a:gd name="T41" fmla="*/ 245 h 284"/>
                <a:gd name="T42" fmla="*/ 213 w 395"/>
                <a:gd name="T43" fmla="*/ 222 h 284"/>
                <a:gd name="T44" fmla="*/ 172 w 395"/>
                <a:gd name="T45" fmla="*/ 232 h 284"/>
                <a:gd name="T46" fmla="*/ 168 w 395"/>
                <a:gd name="T47" fmla="*/ 209 h 284"/>
                <a:gd name="T48" fmla="*/ 224 w 395"/>
                <a:gd name="T49" fmla="*/ 207 h 284"/>
                <a:gd name="T50" fmla="*/ 224 w 395"/>
                <a:gd name="T51" fmla="*/ 186 h 284"/>
                <a:gd name="T52" fmla="*/ 239 w 395"/>
                <a:gd name="T53" fmla="*/ 151 h 284"/>
                <a:gd name="T54" fmla="*/ 213 w 395"/>
                <a:gd name="T55" fmla="*/ 132 h 284"/>
                <a:gd name="T56" fmla="*/ 193 w 395"/>
                <a:gd name="T57" fmla="*/ 119 h 284"/>
                <a:gd name="T58" fmla="*/ 166 w 395"/>
                <a:gd name="T59" fmla="*/ 103 h 284"/>
                <a:gd name="T60" fmla="*/ 147 w 395"/>
                <a:gd name="T61" fmla="*/ 101 h 284"/>
                <a:gd name="T62" fmla="*/ 72 w 395"/>
                <a:gd name="T63" fmla="*/ 100 h 284"/>
                <a:gd name="T64" fmla="*/ 21 w 395"/>
                <a:gd name="T65" fmla="*/ 86 h 284"/>
                <a:gd name="T66" fmla="*/ 23 w 395"/>
                <a:gd name="T67" fmla="*/ 67 h 284"/>
                <a:gd name="T68" fmla="*/ 0 w 395"/>
                <a:gd name="T69" fmla="*/ 40 h 284"/>
                <a:gd name="T70" fmla="*/ 23 w 395"/>
                <a:gd name="T71" fmla="*/ 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284">
                  <a:moveTo>
                    <a:pt x="59" y="0"/>
                  </a:moveTo>
                  <a:lnTo>
                    <a:pt x="49" y="15"/>
                  </a:lnTo>
                  <a:lnTo>
                    <a:pt x="61" y="32"/>
                  </a:lnTo>
                  <a:lnTo>
                    <a:pt x="74" y="9"/>
                  </a:lnTo>
                  <a:lnTo>
                    <a:pt x="109" y="0"/>
                  </a:lnTo>
                  <a:lnTo>
                    <a:pt x="132" y="27"/>
                  </a:lnTo>
                  <a:lnTo>
                    <a:pt x="130" y="46"/>
                  </a:lnTo>
                  <a:lnTo>
                    <a:pt x="157" y="38"/>
                  </a:lnTo>
                  <a:lnTo>
                    <a:pt x="170" y="27"/>
                  </a:lnTo>
                  <a:lnTo>
                    <a:pt x="203" y="40"/>
                  </a:lnTo>
                  <a:lnTo>
                    <a:pt x="222" y="52"/>
                  </a:lnTo>
                  <a:lnTo>
                    <a:pt x="222" y="65"/>
                  </a:lnTo>
                  <a:lnTo>
                    <a:pt x="249" y="57"/>
                  </a:lnTo>
                  <a:lnTo>
                    <a:pt x="262" y="75"/>
                  </a:lnTo>
                  <a:lnTo>
                    <a:pt x="297" y="84"/>
                  </a:lnTo>
                  <a:lnTo>
                    <a:pt x="308" y="94"/>
                  </a:lnTo>
                  <a:lnTo>
                    <a:pt x="322" y="117"/>
                  </a:lnTo>
                  <a:lnTo>
                    <a:pt x="297" y="128"/>
                  </a:lnTo>
                  <a:lnTo>
                    <a:pt x="330" y="144"/>
                  </a:lnTo>
                  <a:lnTo>
                    <a:pt x="353" y="149"/>
                  </a:lnTo>
                  <a:lnTo>
                    <a:pt x="372" y="171"/>
                  </a:lnTo>
                  <a:lnTo>
                    <a:pt x="395" y="172"/>
                  </a:lnTo>
                  <a:lnTo>
                    <a:pt x="389" y="190"/>
                  </a:lnTo>
                  <a:lnTo>
                    <a:pt x="366" y="217"/>
                  </a:lnTo>
                  <a:lnTo>
                    <a:pt x="349" y="207"/>
                  </a:lnTo>
                  <a:lnTo>
                    <a:pt x="326" y="184"/>
                  </a:lnTo>
                  <a:lnTo>
                    <a:pt x="308" y="188"/>
                  </a:lnTo>
                  <a:lnTo>
                    <a:pt x="307" y="201"/>
                  </a:lnTo>
                  <a:lnTo>
                    <a:pt x="320" y="213"/>
                  </a:lnTo>
                  <a:lnTo>
                    <a:pt x="341" y="224"/>
                  </a:lnTo>
                  <a:lnTo>
                    <a:pt x="347" y="230"/>
                  </a:lnTo>
                  <a:lnTo>
                    <a:pt x="356" y="251"/>
                  </a:lnTo>
                  <a:lnTo>
                    <a:pt x="351" y="268"/>
                  </a:lnTo>
                  <a:lnTo>
                    <a:pt x="332" y="261"/>
                  </a:lnTo>
                  <a:lnTo>
                    <a:pt x="297" y="245"/>
                  </a:lnTo>
                  <a:lnTo>
                    <a:pt x="316" y="263"/>
                  </a:lnTo>
                  <a:lnTo>
                    <a:pt x="332" y="276"/>
                  </a:lnTo>
                  <a:lnTo>
                    <a:pt x="333" y="284"/>
                  </a:lnTo>
                  <a:lnTo>
                    <a:pt x="297" y="274"/>
                  </a:lnTo>
                  <a:lnTo>
                    <a:pt x="266" y="263"/>
                  </a:lnTo>
                  <a:lnTo>
                    <a:pt x="249" y="251"/>
                  </a:lnTo>
                  <a:lnTo>
                    <a:pt x="253" y="245"/>
                  </a:lnTo>
                  <a:lnTo>
                    <a:pt x="232" y="234"/>
                  </a:lnTo>
                  <a:lnTo>
                    <a:pt x="213" y="222"/>
                  </a:lnTo>
                  <a:lnTo>
                    <a:pt x="213" y="230"/>
                  </a:lnTo>
                  <a:lnTo>
                    <a:pt x="172" y="232"/>
                  </a:lnTo>
                  <a:lnTo>
                    <a:pt x="161" y="226"/>
                  </a:lnTo>
                  <a:lnTo>
                    <a:pt x="168" y="209"/>
                  </a:lnTo>
                  <a:lnTo>
                    <a:pt x="195" y="207"/>
                  </a:lnTo>
                  <a:lnTo>
                    <a:pt x="224" y="207"/>
                  </a:lnTo>
                  <a:lnTo>
                    <a:pt x="220" y="197"/>
                  </a:lnTo>
                  <a:lnTo>
                    <a:pt x="224" y="186"/>
                  </a:lnTo>
                  <a:lnTo>
                    <a:pt x="243" y="163"/>
                  </a:lnTo>
                  <a:lnTo>
                    <a:pt x="239" y="151"/>
                  </a:lnTo>
                  <a:lnTo>
                    <a:pt x="234" y="144"/>
                  </a:lnTo>
                  <a:lnTo>
                    <a:pt x="213" y="132"/>
                  </a:lnTo>
                  <a:lnTo>
                    <a:pt x="184" y="124"/>
                  </a:lnTo>
                  <a:lnTo>
                    <a:pt x="193" y="119"/>
                  </a:lnTo>
                  <a:lnTo>
                    <a:pt x="180" y="103"/>
                  </a:lnTo>
                  <a:lnTo>
                    <a:pt x="166" y="103"/>
                  </a:lnTo>
                  <a:lnTo>
                    <a:pt x="157" y="94"/>
                  </a:lnTo>
                  <a:lnTo>
                    <a:pt x="147" y="101"/>
                  </a:lnTo>
                  <a:lnTo>
                    <a:pt x="122" y="103"/>
                  </a:lnTo>
                  <a:lnTo>
                    <a:pt x="72" y="100"/>
                  </a:lnTo>
                  <a:lnTo>
                    <a:pt x="42" y="90"/>
                  </a:lnTo>
                  <a:lnTo>
                    <a:pt x="21" y="86"/>
                  </a:lnTo>
                  <a:lnTo>
                    <a:pt x="9" y="78"/>
                  </a:lnTo>
                  <a:lnTo>
                    <a:pt x="23" y="67"/>
                  </a:lnTo>
                  <a:lnTo>
                    <a:pt x="3" y="67"/>
                  </a:lnTo>
                  <a:lnTo>
                    <a:pt x="0" y="40"/>
                  </a:lnTo>
                  <a:lnTo>
                    <a:pt x="9" y="17"/>
                  </a:lnTo>
                  <a:lnTo>
                    <a:pt x="23" y="6"/>
                  </a:lnTo>
                  <a:lnTo>
                    <a:pt x="5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185">
              <a:extLst>
                <a:ext uri="{FF2B5EF4-FFF2-40B4-BE49-F238E27FC236}">
                  <a16:creationId xmlns:a16="http://schemas.microsoft.com/office/drawing/2014/main" id="{9D2524F4-8479-42FB-84D2-0D7FB71DC105}"/>
                </a:ext>
              </a:extLst>
            </p:cNvPr>
            <p:cNvSpPr>
              <a:spLocks/>
            </p:cNvSpPr>
            <p:nvPr/>
          </p:nvSpPr>
          <p:spPr bwMode="auto">
            <a:xfrm>
              <a:off x="2103439" y="2468695"/>
              <a:ext cx="127000" cy="109588"/>
            </a:xfrm>
            <a:custGeom>
              <a:avLst/>
              <a:gdLst>
                <a:gd name="T0" fmla="*/ 27 w 80"/>
                <a:gd name="T1" fmla="*/ 0 h 69"/>
                <a:gd name="T2" fmla="*/ 44 w 80"/>
                <a:gd name="T3" fmla="*/ 6 h 69"/>
                <a:gd name="T4" fmla="*/ 69 w 80"/>
                <a:gd name="T5" fmla="*/ 2 h 69"/>
                <a:gd name="T6" fmla="*/ 73 w 80"/>
                <a:gd name="T7" fmla="*/ 9 h 69"/>
                <a:gd name="T8" fmla="*/ 61 w 80"/>
                <a:gd name="T9" fmla="*/ 23 h 69"/>
                <a:gd name="T10" fmla="*/ 80 w 80"/>
                <a:gd name="T11" fmla="*/ 34 h 69"/>
                <a:gd name="T12" fmla="*/ 80 w 80"/>
                <a:gd name="T13" fmla="*/ 57 h 69"/>
                <a:gd name="T14" fmla="*/ 55 w 80"/>
                <a:gd name="T15" fmla="*/ 69 h 69"/>
                <a:gd name="T16" fmla="*/ 42 w 80"/>
                <a:gd name="T17" fmla="*/ 67 h 69"/>
                <a:gd name="T18" fmla="*/ 32 w 80"/>
                <a:gd name="T19" fmla="*/ 55 h 69"/>
                <a:gd name="T20" fmla="*/ 0 w 80"/>
                <a:gd name="T21" fmla="*/ 36 h 69"/>
                <a:gd name="T22" fmla="*/ 0 w 80"/>
                <a:gd name="T23" fmla="*/ 27 h 69"/>
                <a:gd name="T24" fmla="*/ 27 w 80"/>
                <a:gd name="T25" fmla="*/ 31 h 69"/>
                <a:gd name="T26" fmla="*/ 13 w 80"/>
                <a:gd name="T27" fmla="*/ 11 h 69"/>
                <a:gd name="T28" fmla="*/ 27 w 80"/>
                <a:gd name="T2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69">
                  <a:moveTo>
                    <a:pt x="27" y="0"/>
                  </a:moveTo>
                  <a:lnTo>
                    <a:pt x="44" y="6"/>
                  </a:lnTo>
                  <a:lnTo>
                    <a:pt x="69" y="2"/>
                  </a:lnTo>
                  <a:lnTo>
                    <a:pt x="73" y="9"/>
                  </a:lnTo>
                  <a:lnTo>
                    <a:pt x="61" y="23"/>
                  </a:lnTo>
                  <a:lnTo>
                    <a:pt x="80" y="34"/>
                  </a:lnTo>
                  <a:lnTo>
                    <a:pt x="80" y="57"/>
                  </a:lnTo>
                  <a:lnTo>
                    <a:pt x="55" y="69"/>
                  </a:lnTo>
                  <a:lnTo>
                    <a:pt x="42" y="67"/>
                  </a:lnTo>
                  <a:lnTo>
                    <a:pt x="32" y="55"/>
                  </a:lnTo>
                  <a:lnTo>
                    <a:pt x="0" y="36"/>
                  </a:lnTo>
                  <a:lnTo>
                    <a:pt x="0" y="27"/>
                  </a:lnTo>
                  <a:lnTo>
                    <a:pt x="27" y="31"/>
                  </a:lnTo>
                  <a:lnTo>
                    <a:pt x="13" y="11"/>
                  </a:lnTo>
                  <a:lnTo>
                    <a:pt x="2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187">
              <a:extLst>
                <a:ext uri="{FF2B5EF4-FFF2-40B4-BE49-F238E27FC236}">
                  <a16:creationId xmlns:a16="http://schemas.microsoft.com/office/drawing/2014/main" id="{E98ECBA8-55B8-4823-B34F-2C0540EE350A}"/>
                </a:ext>
              </a:extLst>
            </p:cNvPr>
            <p:cNvSpPr>
              <a:spLocks/>
            </p:cNvSpPr>
            <p:nvPr/>
          </p:nvSpPr>
          <p:spPr bwMode="auto">
            <a:xfrm>
              <a:off x="7461250" y="2468695"/>
              <a:ext cx="82550" cy="27000"/>
            </a:xfrm>
            <a:custGeom>
              <a:avLst/>
              <a:gdLst>
                <a:gd name="T0" fmla="*/ 31 w 52"/>
                <a:gd name="T1" fmla="*/ 0 h 17"/>
                <a:gd name="T2" fmla="*/ 50 w 52"/>
                <a:gd name="T3" fmla="*/ 9 h 17"/>
                <a:gd name="T4" fmla="*/ 52 w 52"/>
                <a:gd name="T5" fmla="*/ 17 h 17"/>
                <a:gd name="T6" fmla="*/ 31 w 52"/>
                <a:gd name="T7" fmla="*/ 17 h 17"/>
                <a:gd name="T8" fmla="*/ 2 w 52"/>
                <a:gd name="T9" fmla="*/ 13 h 17"/>
                <a:gd name="T10" fmla="*/ 0 w 52"/>
                <a:gd name="T11" fmla="*/ 11 h 17"/>
                <a:gd name="T12" fmla="*/ 13 w 52"/>
                <a:gd name="T13" fmla="*/ 2 h 17"/>
                <a:gd name="T14" fmla="*/ 31 w 52"/>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7">
                  <a:moveTo>
                    <a:pt x="31" y="0"/>
                  </a:moveTo>
                  <a:lnTo>
                    <a:pt x="50" y="9"/>
                  </a:lnTo>
                  <a:lnTo>
                    <a:pt x="52" y="17"/>
                  </a:lnTo>
                  <a:lnTo>
                    <a:pt x="31" y="17"/>
                  </a:lnTo>
                  <a:lnTo>
                    <a:pt x="2" y="13"/>
                  </a:lnTo>
                  <a:lnTo>
                    <a:pt x="0" y="11"/>
                  </a:lnTo>
                  <a:lnTo>
                    <a:pt x="13" y="2"/>
                  </a:lnTo>
                  <a:lnTo>
                    <a:pt x="3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189">
              <a:extLst>
                <a:ext uri="{FF2B5EF4-FFF2-40B4-BE49-F238E27FC236}">
                  <a16:creationId xmlns:a16="http://schemas.microsoft.com/office/drawing/2014/main" id="{DE52EE6F-A916-4DA0-AF9A-45CA9DBD0737}"/>
                </a:ext>
              </a:extLst>
            </p:cNvPr>
            <p:cNvSpPr>
              <a:spLocks/>
            </p:cNvSpPr>
            <p:nvPr/>
          </p:nvSpPr>
          <p:spPr bwMode="auto">
            <a:xfrm>
              <a:off x="2243139" y="2455990"/>
              <a:ext cx="122238" cy="88940"/>
            </a:xfrm>
            <a:custGeom>
              <a:avLst/>
              <a:gdLst>
                <a:gd name="T0" fmla="*/ 21 w 77"/>
                <a:gd name="T1" fmla="*/ 0 h 56"/>
                <a:gd name="T2" fmla="*/ 52 w 77"/>
                <a:gd name="T3" fmla="*/ 0 h 56"/>
                <a:gd name="T4" fmla="*/ 77 w 77"/>
                <a:gd name="T5" fmla="*/ 8 h 56"/>
                <a:gd name="T6" fmla="*/ 58 w 77"/>
                <a:gd name="T7" fmla="*/ 31 h 56"/>
                <a:gd name="T8" fmla="*/ 40 w 77"/>
                <a:gd name="T9" fmla="*/ 37 h 56"/>
                <a:gd name="T10" fmla="*/ 25 w 77"/>
                <a:gd name="T11" fmla="*/ 56 h 56"/>
                <a:gd name="T12" fmla="*/ 10 w 77"/>
                <a:gd name="T13" fmla="*/ 56 h 56"/>
                <a:gd name="T14" fmla="*/ 0 w 77"/>
                <a:gd name="T15" fmla="*/ 33 h 56"/>
                <a:gd name="T16" fmla="*/ 0 w 77"/>
                <a:gd name="T17" fmla="*/ 25 h 56"/>
                <a:gd name="T18" fmla="*/ 2 w 77"/>
                <a:gd name="T19" fmla="*/ 19 h 56"/>
                <a:gd name="T20" fmla="*/ 8 w 77"/>
                <a:gd name="T21" fmla="*/ 8 h 56"/>
                <a:gd name="T22" fmla="*/ 21 w 77"/>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56">
                  <a:moveTo>
                    <a:pt x="21" y="0"/>
                  </a:moveTo>
                  <a:lnTo>
                    <a:pt x="52" y="0"/>
                  </a:lnTo>
                  <a:lnTo>
                    <a:pt x="77" y="8"/>
                  </a:lnTo>
                  <a:lnTo>
                    <a:pt x="58" y="31"/>
                  </a:lnTo>
                  <a:lnTo>
                    <a:pt x="40" y="37"/>
                  </a:lnTo>
                  <a:lnTo>
                    <a:pt x="25" y="56"/>
                  </a:lnTo>
                  <a:lnTo>
                    <a:pt x="10" y="56"/>
                  </a:lnTo>
                  <a:lnTo>
                    <a:pt x="0" y="33"/>
                  </a:lnTo>
                  <a:lnTo>
                    <a:pt x="0" y="25"/>
                  </a:lnTo>
                  <a:lnTo>
                    <a:pt x="2" y="19"/>
                  </a:lnTo>
                  <a:lnTo>
                    <a:pt x="8" y="8"/>
                  </a:lnTo>
                  <a:lnTo>
                    <a:pt x="2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191">
              <a:extLst>
                <a:ext uri="{FF2B5EF4-FFF2-40B4-BE49-F238E27FC236}">
                  <a16:creationId xmlns:a16="http://schemas.microsoft.com/office/drawing/2014/main" id="{735ABB14-CFAE-4FFA-97BD-6413E5A59946}"/>
                </a:ext>
              </a:extLst>
            </p:cNvPr>
            <p:cNvSpPr>
              <a:spLocks/>
            </p:cNvSpPr>
            <p:nvPr/>
          </p:nvSpPr>
          <p:spPr bwMode="auto">
            <a:xfrm>
              <a:off x="1585914" y="2441696"/>
              <a:ext cx="227013" cy="149292"/>
            </a:xfrm>
            <a:custGeom>
              <a:avLst/>
              <a:gdLst>
                <a:gd name="T0" fmla="*/ 59 w 143"/>
                <a:gd name="T1" fmla="*/ 0 h 94"/>
                <a:gd name="T2" fmla="*/ 80 w 143"/>
                <a:gd name="T3" fmla="*/ 5 h 94"/>
                <a:gd name="T4" fmla="*/ 115 w 143"/>
                <a:gd name="T5" fmla="*/ 7 h 94"/>
                <a:gd name="T6" fmla="*/ 128 w 143"/>
                <a:gd name="T7" fmla="*/ 17 h 94"/>
                <a:gd name="T8" fmla="*/ 143 w 143"/>
                <a:gd name="T9" fmla="*/ 26 h 94"/>
                <a:gd name="T10" fmla="*/ 126 w 143"/>
                <a:gd name="T11" fmla="*/ 32 h 94"/>
                <a:gd name="T12" fmla="*/ 92 w 143"/>
                <a:gd name="T13" fmla="*/ 51 h 94"/>
                <a:gd name="T14" fmla="*/ 74 w 143"/>
                <a:gd name="T15" fmla="*/ 69 h 94"/>
                <a:gd name="T16" fmla="*/ 74 w 143"/>
                <a:gd name="T17" fmla="*/ 82 h 94"/>
                <a:gd name="T18" fmla="*/ 38 w 143"/>
                <a:gd name="T19" fmla="*/ 94 h 94"/>
                <a:gd name="T20" fmla="*/ 30 w 143"/>
                <a:gd name="T21" fmla="*/ 84 h 94"/>
                <a:gd name="T22" fmla="*/ 0 w 143"/>
                <a:gd name="T23" fmla="*/ 69 h 94"/>
                <a:gd name="T24" fmla="*/ 3 w 143"/>
                <a:gd name="T25" fmla="*/ 57 h 94"/>
                <a:gd name="T26" fmla="*/ 15 w 143"/>
                <a:gd name="T27" fmla="*/ 40 h 94"/>
                <a:gd name="T28" fmla="*/ 26 w 143"/>
                <a:gd name="T29" fmla="*/ 21 h 94"/>
                <a:gd name="T30" fmla="*/ 13 w 143"/>
                <a:gd name="T31" fmla="*/ 3 h 94"/>
                <a:gd name="T32" fmla="*/ 59 w 143"/>
                <a:gd name="T3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3" h="94">
                  <a:moveTo>
                    <a:pt x="59" y="0"/>
                  </a:moveTo>
                  <a:lnTo>
                    <a:pt x="80" y="5"/>
                  </a:lnTo>
                  <a:lnTo>
                    <a:pt x="115" y="7"/>
                  </a:lnTo>
                  <a:lnTo>
                    <a:pt x="128" y="17"/>
                  </a:lnTo>
                  <a:lnTo>
                    <a:pt x="143" y="26"/>
                  </a:lnTo>
                  <a:lnTo>
                    <a:pt x="126" y="32"/>
                  </a:lnTo>
                  <a:lnTo>
                    <a:pt x="92" y="51"/>
                  </a:lnTo>
                  <a:lnTo>
                    <a:pt x="74" y="69"/>
                  </a:lnTo>
                  <a:lnTo>
                    <a:pt x="74" y="82"/>
                  </a:lnTo>
                  <a:lnTo>
                    <a:pt x="38" y="94"/>
                  </a:lnTo>
                  <a:lnTo>
                    <a:pt x="30" y="84"/>
                  </a:lnTo>
                  <a:lnTo>
                    <a:pt x="0" y="69"/>
                  </a:lnTo>
                  <a:lnTo>
                    <a:pt x="3" y="57"/>
                  </a:lnTo>
                  <a:lnTo>
                    <a:pt x="15" y="40"/>
                  </a:lnTo>
                  <a:lnTo>
                    <a:pt x="26" y="21"/>
                  </a:lnTo>
                  <a:lnTo>
                    <a:pt x="13" y="3"/>
                  </a:lnTo>
                  <a:lnTo>
                    <a:pt x="5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193">
              <a:extLst>
                <a:ext uri="{FF2B5EF4-FFF2-40B4-BE49-F238E27FC236}">
                  <a16:creationId xmlns:a16="http://schemas.microsoft.com/office/drawing/2014/main" id="{1ADF7794-E522-4612-BA91-FFCB8B55227A}"/>
                </a:ext>
              </a:extLst>
            </p:cNvPr>
            <p:cNvSpPr>
              <a:spLocks/>
            </p:cNvSpPr>
            <p:nvPr/>
          </p:nvSpPr>
          <p:spPr bwMode="auto">
            <a:xfrm>
              <a:off x="7597775" y="2395637"/>
              <a:ext cx="104775" cy="36530"/>
            </a:xfrm>
            <a:custGeom>
              <a:avLst/>
              <a:gdLst>
                <a:gd name="T0" fmla="*/ 4 w 66"/>
                <a:gd name="T1" fmla="*/ 0 h 23"/>
                <a:gd name="T2" fmla="*/ 31 w 66"/>
                <a:gd name="T3" fmla="*/ 6 h 23"/>
                <a:gd name="T4" fmla="*/ 66 w 66"/>
                <a:gd name="T5" fmla="*/ 11 h 23"/>
                <a:gd name="T6" fmla="*/ 50 w 66"/>
                <a:gd name="T7" fmla="*/ 23 h 23"/>
                <a:gd name="T8" fmla="*/ 27 w 66"/>
                <a:gd name="T9" fmla="*/ 19 h 23"/>
                <a:gd name="T10" fmla="*/ 0 w 66"/>
                <a:gd name="T11" fmla="*/ 9 h 23"/>
                <a:gd name="T12" fmla="*/ 4 w 66"/>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66" h="23">
                  <a:moveTo>
                    <a:pt x="4" y="0"/>
                  </a:moveTo>
                  <a:lnTo>
                    <a:pt x="31" y="6"/>
                  </a:lnTo>
                  <a:lnTo>
                    <a:pt x="66" y="11"/>
                  </a:lnTo>
                  <a:lnTo>
                    <a:pt x="50" y="23"/>
                  </a:lnTo>
                  <a:lnTo>
                    <a:pt x="27" y="19"/>
                  </a:lnTo>
                  <a:lnTo>
                    <a:pt x="0" y="9"/>
                  </a:lnTo>
                  <a:lnTo>
                    <a:pt x="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195">
              <a:extLst>
                <a:ext uri="{FF2B5EF4-FFF2-40B4-BE49-F238E27FC236}">
                  <a16:creationId xmlns:a16="http://schemas.microsoft.com/office/drawing/2014/main" id="{D2CCD40D-183A-4C03-9BE0-87F16EEE6D53}"/>
                </a:ext>
              </a:extLst>
            </p:cNvPr>
            <p:cNvSpPr>
              <a:spLocks/>
            </p:cNvSpPr>
            <p:nvPr/>
          </p:nvSpPr>
          <p:spPr bwMode="auto">
            <a:xfrm>
              <a:off x="2227264" y="2389285"/>
              <a:ext cx="71438" cy="46059"/>
            </a:xfrm>
            <a:custGeom>
              <a:avLst/>
              <a:gdLst>
                <a:gd name="T0" fmla="*/ 27 w 45"/>
                <a:gd name="T1" fmla="*/ 0 h 29"/>
                <a:gd name="T2" fmla="*/ 41 w 45"/>
                <a:gd name="T3" fmla="*/ 10 h 29"/>
                <a:gd name="T4" fmla="*/ 45 w 45"/>
                <a:gd name="T5" fmla="*/ 19 h 29"/>
                <a:gd name="T6" fmla="*/ 37 w 45"/>
                <a:gd name="T7" fmla="*/ 29 h 29"/>
                <a:gd name="T8" fmla="*/ 16 w 45"/>
                <a:gd name="T9" fmla="*/ 27 h 29"/>
                <a:gd name="T10" fmla="*/ 0 w 45"/>
                <a:gd name="T11" fmla="*/ 21 h 29"/>
                <a:gd name="T12" fmla="*/ 6 w 45"/>
                <a:gd name="T13" fmla="*/ 8 h 29"/>
                <a:gd name="T14" fmla="*/ 27 w 45"/>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29">
                  <a:moveTo>
                    <a:pt x="27" y="0"/>
                  </a:moveTo>
                  <a:lnTo>
                    <a:pt x="41" y="10"/>
                  </a:lnTo>
                  <a:lnTo>
                    <a:pt x="45" y="19"/>
                  </a:lnTo>
                  <a:lnTo>
                    <a:pt x="37" y="29"/>
                  </a:lnTo>
                  <a:lnTo>
                    <a:pt x="16" y="27"/>
                  </a:lnTo>
                  <a:lnTo>
                    <a:pt x="0" y="21"/>
                  </a:lnTo>
                  <a:lnTo>
                    <a:pt x="6" y="8"/>
                  </a:lnTo>
                  <a:lnTo>
                    <a:pt x="2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197">
              <a:extLst>
                <a:ext uri="{FF2B5EF4-FFF2-40B4-BE49-F238E27FC236}">
                  <a16:creationId xmlns:a16="http://schemas.microsoft.com/office/drawing/2014/main" id="{AF0F44B0-BAE2-4A86-9326-F0EF27D97A13}"/>
                </a:ext>
              </a:extLst>
            </p:cNvPr>
            <p:cNvSpPr>
              <a:spLocks/>
            </p:cNvSpPr>
            <p:nvPr/>
          </p:nvSpPr>
          <p:spPr bwMode="auto">
            <a:xfrm>
              <a:off x="7397750" y="2367049"/>
              <a:ext cx="179388" cy="68294"/>
            </a:xfrm>
            <a:custGeom>
              <a:avLst/>
              <a:gdLst>
                <a:gd name="T0" fmla="*/ 25 w 113"/>
                <a:gd name="T1" fmla="*/ 0 h 43"/>
                <a:gd name="T2" fmla="*/ 61 w 113"/>
                <a:gd name="T3" fmla="*/ 0 h 43"/>
                <a:gd name="T4" fmla="*/ 113 w 113"/>
                <a:gd name="T5" fmla="*/ 16 h 43"/>
                <a:gd name="T6" fmla="*/ 101 w 113"/>
                <a:gd name="T7" fmla="*/ 37 h 43"/>
                <a:gd name="T8" fmla="*/ 50 w 113"/>
                <a:gd name="T9" fmla="*/ 37 h 43"/>
                <a:gd name="T10" fmla="*/ 27 w 113"/>
                <a:gd name="T11" fmla="*/ 43 h 43"/>
                <a:gd name="T12" fmla="*/ 0 w 113"/>
                <a:gd name="T13" fmla="*/ 25 h 43"/>
                <a:gd name="T14" fmla="*/ 7 w 113"/>
                <a:gd name="T15" fmla="*/ 4 h 43"/>
                <a:gd name="T16" fmla="*/ 25 w 113"/>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43">
                  <a:moveTo>
                    <a:pt x="25" y="0"/>
                  </a:moveTo>
                  <a:lnTo>
                    <a:pt x="61" y="0"/>
                  </a:lnTo>
                  <a:lnTo>
                    <a:pt x="113" y="16"/>
                  </a:lnTo>
                  <a:lnTo>
                    <a:pt x="101" y="37"/>
                  </a:lnTo>
                  <a:lnTo>
                    <a:pt x="50" y="37"/>
                  </a:lnTo>
                  <a:lnTo>
                    <a:pt x="27" y="43"/>
                  </a:lnTo>
                  <a:lnTo>
                    <a:pt x="0" y="25"/>
                  </a:lnTo>
                  <a:lnTo>
                    <a:pt x="7" y="4"/>
                  </a:lnTo>
                  <a:lnTo>
                    <a:pt x="25"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199">
              <a:extLst>
                <a:ext uri="{FF2B5EF4-FFF2-40B4-BE49-F238E27FC236}">
                  <a16:creationId xmlns:a16="http://schemas.microsoft.com/office/drawing/2014/main" id="{72C70C40-A0C6-4798-AB2D-C5EFC9FA9297}"/>
                </a:ext>
              </a:extLst>
            </p:cNvPr>
            <p:cNvSpPr>
              <a:spLocks/>
            </p:cNvSpPr>
            <p:nvPr/>
          </p:nvSpPr>
          <p:spPr bwMode="auto">
            <a:xfrm>
              <a:off x="2100264" y="2340050"/>
              <a:ext cx="109538" cy="82587"/>
            </a:xfrm>
            <a:custGeom>
              <a:avLst/>
              <a:gdLst>
                <a:gd name="T0" fmla="*/ 56 w 69"/>
                <a:gd name="T1" fmla="*/ 0 h 52"/>
                <a:gd name="T2" fmla="*/ 67 w 69"/>
                <a:gd name="T3" fmla="*/ 14 h 52"/>
                <a:gd name="T4" fmla="*/ 69 w 69"/>
                <a:gd name="T5" fmla="*/ 27 h 52"/>
                <a:gd name="T6" fmla="*/ 61 w 69"/>
                <a:gd name="T7" fmla="*/ 48 h 52"/>
                <a:gd name="T8" fmla="*/ 38 w 69"/>
                <a:gd name="T9" fmla="*/ 52 h 52"/>
                <a:gd name="T10" fmla="*/ 23 w 69"/>
                <a:gd name="T11" fmla="*/ 46 h 52"/>
                <a:gd name="T12" fmla="*/ 23 w 69"/>
                <a:gd name="T13" fmla="*/ 31 h 52"/>
                <a:gd name="T14" fmla="*/ 2 w 69"/>
                <a:gd name="T15" fmla="*/ 33 h 52"/>
                <a:gd name="T16" fmla="*/ 0 w 69"/>
                <a:gd name="T17" fmla="*/ 12 h 52"/>
                <a:gd name="T18" fmla="*/ 15 w 69"/>
                <a:gd name="T19" fmla="*/ 12 h 52"/>
                <a:gd name="T20" fmla="*/ 36 w 69"/>
                <a:gd name="T21" fmla="*/ 2 h 52"/>
                <a:gd name="T22" fmla="*/ 54 w 69"/>
                <a:gd name="T23" fmla="*/ 4 h 52"/>
                <a:gd name="T24" fmla="*/ 56 w 69"/>
                <a:gd name="T2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52">
                  <a:moveTo>
                    <a:pt x="56" y="0"/>
                  </a:moveTo>
                  <a:lnTo>
                    <a:pt x="67" y="14"/>
                  </a:lnTo>
                  <a:lnTo>
                    <a:pt x="69" y="27"/>
                  </a:lnTo>
                  <a:lnTo>
                    <a:pt x="61" y="48"/>
                  </a:lnTo>
                  <a:lnTo>
                    <a:pt x="38" y="52"/>
                  </a:lnTo>
                  <a:lnTo>
                    <a:pt x="23" y="46"/>
                  </a:lnTo>
                  <a:lnTo>
                    <a:pt x="23" y="31"/>
                  </a:lnTo>
                  <a:lnTo>
                    <a:pt x="2" y="33"/>
                  </a:lnTo>
                  <a:lnTo>
                    <a:pt x="0" y="12"/>
                  </a:lnTo>
                  <a:lnTo>
                    <a:pt x="15" y="12"/>
                  </a:lnTo>
                  <a:lnTo>
                    <a:pt x="36" y="2"/>
                  </a:lnTo>
                  <a:lnTo>
                    <a:pt x="54" y="4"/>
                  </a:lnTo>
                  <a:lnTo>
                    <a:pt x="5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201">
              <a:extLst>
                <a:ext uri="{FF2B5EF4-FFF2-40B4-BE49-F238E27FC236}">
                  <a16:creationId xmlns:a16="http://schemas.microsoft.com/office/drawing/2014/main" id="{8C56CAD5-6EE1-4261-A7E5-294EEE36D4E4}"/>
                </a:ext>
              </a:extLst>
            </p:cNvPr>
            <p:cNvSpPr>
              <a:spLocks/>
            </p:cNvSpPr>
            <p:nvPr/>
          </p:nvSpPr>
          <p:spPr bwMode="auto">
            <a:xfrm>
              <a:off x="1765302" y="2336874"/>
              <a:ext cx="265113" cy="106411"/>
            </a:xfrm>
            <a:custGeom>
              <a:avLst/>
              <a:gdLst>
                <a:gd name="T0" fmla="*/ 113 w 167"/>
                <a:gd name="T1" fmla="*/ 0 h 67"/>
                <a:gd name="T2" fmla="*/ 126 w 167"/>
                <a:gd name="T3" fmla="*/ 4 h 67"/>
                <a:gd name="T4" fmla="*/ 132 w 167"/>
                <a:gd name="T5" fmla="*/ 18 h 67"/>
                <a:gd name="T6" fmla="*/ 136 w 167"/>
                <a:gd name="T7" fmla="*/ 27 h 67"/>
                <a:gd name="T8" fmla="*/ 151 w 167"/>
                <a:gd name="T9" fmla="*/ 21 h 67"/>
                <a:gd name="T10" fmla="*/ 165 w 167"/>
                <a:gd name="T11" fmla="*/ 23 h 67"/>
                <a:gd name="T12" fmla="*/ 167 w 167"/>
                <a:gd name="T13" fmla="*/ 37 h 67"/>
                <a:gd name="T14" fmla="*/ 159 w 167"/>
                <a:gd name="T15" fmla="*/ 50 h 67"/>
                <a:gd name="T16" fmla="*/ 113 w 167"/>
                <a:gd name="T17" fmla="*/ 56 h 67"/>
                <a:gd name="T18" fmla="*/ 77 w 167"/>
                <a:gd name="T19" fmla="*/ 67 h 67"/>
                <a:gd name="T20" fmla="*/ 55 w 167"/>
                <a:gd name="T21" fmla="*/ 67 h 67"/>
                <a:gd name="T22" fmla="*/ 54 w 167"/>
                <a:gd name="T23" fmla="*/ 58 h 67"/>
                <a:gd name="T24" fmla="*/ 82 w 167"/>
                <a:gd name="T25" fmla="*/ 46 h 67"/>
                <a:gd name="T26" fmla="*/ 19 w 167"/>
                <a:gd name="T27" fmla="*/ 50 h 67"/>
                <a:gd name="T28" fmla="*/ 0 w 167"/>
                <a:gd name="T29" fmla="*/ 46 h 67"/>
                <a:gd name="T30" fmla="*/ 19 w 167"/>
                <a:gd name="T31" fmla="*/ 18 h 67"/>
                <a:gd name="T32" fmla="*/ 32 w 167"/>
                <a:gd name="T33" fmla="*/ 8 h 67"/>
                <a:gd name="T34" fmla="*/ 73 w 167"/>
                <a:gd name="T35" fmla="*/ 19 h 67"/>
                <a:gd name="T36" fmla="*/ 96 w 167"/>
                <a:gd name="T37" fmla="*/ 35 h 67"/>
                <a:gd name="T38" fmla="*/ 121 w 167"/>
                <a:gd name="T39" fmla="*/ 37 h 67"/>
                <a:gd name="T40" fmla="*/ 100 w 167"/>
                <a:gd name="T41" fmla="*/ 10 h 67"/>
                <a:gd name="T42" fmla="*/ 113 w 167"/>
                <a:gd name="T4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7" h="67">
                  <a:moveTo>
                    <a:pt x="113" y="0"/>
                  </a:moveTo>
                  <a:lnTo>
                    <a:pt x="126" y="4"/>
                  </a:lnTo>
                  <a:lnTo>
                    <a:pt x="132" y="18"/>
                  </a:lnTo>
                  <a:lnTo>
                    <a:pt x="136" y="27"/>
                  </a:lnTo>
                  <a:lnTo>
                    <a:pt x="151" y="21"/>
                  </a:lnTo>
                  <a:lnTo>
                    <a:pt x="165" y="23"/>
                  </a:lnTo>
                  <a:lnTo>
                    <a:pt x="167" y="37"/>
                  </a:lnTo>
                  <a:lnTo>
                    <a:pt x="159" y="50"/>
                  </a:lnTo>
                  <a:lnTo>
                    <a:pt x="113" y="56"/>
                  </a:lnTo>
                  <a:lnTo>
                    <a:pt x="77" y="67"/>
                  </a:lnTo>
                  <a:lnTo>
                    <a:pt x="55" y="67"/>
                  </a:lnTo>
                  <a:lnTo>
                    <a:pt x="54" y="58"/>
                  </a:lnTo>
                  <a:lnTo>
                    <a:pt x="82" y="46"/>
                  </a:lnTo>
                  <a:lnTo>
                    <a:pt x="19" y="50"/>
                  </a:lnTo>
                  <a:lnTo>
                    <a:pt x="0" y="46"/>
                  </a:lnTo>
                  <a:lnTo>
                    <a:pt x="19" y="18"/>
                  </a:lnTo>
                  <a:lnTo>
                    <a:pt x="32" y="8"/>
                  </a:lnTo>
                  <a:lnTo>
                    <a:pt x="73" y="19"/>
                  </a:lnTo>
                  <a:lnTo>
                    <a:pt x="96" y="35"/>
                  </a:lnTo>
                  <a:lnTo>
                    <a:pt x="121" y="37"/>
                  </a:lnTo>
                  <a:lnTo>
                    <a:pt x="100" y="10"/>
                  </a:lnTo>
                  <a:lnTo>
                    <a:pt x="11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203">
              <a:extLst>
                <a:ext uri="{FF2B5EF4-FFF2-40B4-BE49-F238E27FC236}">
                  <a16:creationId xmlns:a16="http://schemas.microsoft.com/office/drawing/2014/main" id="{5651E49C-8CD8-4626-B972-04C76B2B8015}"/>
                </a:ext>
              </a:extLst>
            </p:cNvPr>
            <p:cNvSpPr>
              <a:spLocks/>
            </p:cNvSpPr>
            <p:nvPr/>
          </p:nvSpPr>
          <p:spPr bwMode="auto">
            <a:xfrm>
              <a:off x="5505451" y="2328932"/>
              <a:ext cx="387350" cy="273173"/>
            </a:xfrm>
            <a:custGeom>
              <a:avLst/>
              <a:gdLst>
                <a:gd name="T0" fmla="*/ 234 w 244"/>
                <a:gd name="T1" fmla="*/ 0 h 172"/>
                <a:gd name="T2" fmla="*/ 244 w 244"/>
                <a:gd name="T3" fmla="*/ 13 h 172"/>
                <a:gd name="T4" fmla="*/ 234 w 244"/>
                <a:gd name="T5" fmla="*/ 23 h 172"/>
                <a:gd name="T6" fmla="*/ 184 w 244"/>
                <a:gd name="T7" fmla="*/ 34 h 172"/>
                <a:gd name="T8" fmla="*/ 142 w 244"/>
                <a:gd name="T9" fmla="*/ 49 h 172"/>
                <a:gd name="T10" fmla="*/ 98 w 244"/>
                <a:gd name="T11" fmla="*/ 74 h 172"/>
                <a:gd name="T12" fmla="*/ 77 w 244"/>
                <a:gd name="T13" fmla="*/ 101 h 172"/>
                <a:gd name="T14" fmla="*/ 56 w 244"/>
                <a:gd name="T15" fmla="*/ 128 h 172"/>
                <a:gd name="T16" fmla="*/ 58 w 244"/>
                <a:gd name="T17" fmla="*/ 149 h 172"/>
                <a:gd name="T18" fmla="*/ 85 w 244"/>
                <a:gd name="T19" fmla="*/ 168 h 172"/>
                <a:gd name="T20" fmla="*/ 77 w 244"/>
                <a:gd name="T21" fmla="*/ 172 h 172"/>
                <a:gd name="T22" fmla="*/ 31 w 244"/>
                <a:gd name="T23" fmla="*/ 168 h 172"/>
                <a:gd name="T24" fmla="*/ 29 w 244"/>
                <a:gd name="T25" fmla="*/ 157 h 172"/>
                <a:gd name="T26" fmla="*/ 2 w 244"/>
                <a:gd name="T27" fmla="*/ 151 h 172"/>
                <a:gd name="T28" fmla="*/ 0 w 244"/>
                <a:gd name="T29" fmla="*/ 136 h 172"/>
                <a:gd name="T30" fmla="*/ 15 w 244"/>
                <a:gd name="T31" fmla="*/ 130 h 172"/>
                <a:gd name="T32" fmla="*/ 14 w 244"/>
                <a:gd name="T33" fmla="*/ 115 h 172"/>
                <a:gd name="T34" fmla="*/ 42 w 244"/>
                <a:gd name="T35" fmla="*/ 94 h 172"/>
                <a:gd name="T36" fmla="*/ 29 w 244"/>
                <a:gd name="T37" fmla="*/ 90 h 172"/>
                <a:gd name="T38" fmla="*/ 62 w 244"/>
                <a:gd name="T39" fmla="*/ 67 h 172"/>
                <a:gd name="T40" fmla="*/ 58 w 244"/>
                <a:gd name="T41" fmla="*/ 53 h 172"/>
                <a:gd name="T42" fmla="*/ 90 w 244"/>
                <a:gd name="T43" fmla="*/ 38 h 172"/>
                <a:gd name="T44" fmla="*/ 134 w 244"/>
                <a:gd name="T45" fmla="*/ 21 h 172"/>
                <a:gd name="T46" fmla="*/ 182 w 244"/>
                <a:gd name="T47" fmla="*/ 15 h 172"/>
                <a:gd name="T48" fmla="*/ 205 w 244"/>
                <a:gd name="T49" fmla="*/ 5 h 172"/>
                <a:gd name="T50" fmla="*/ 234 w 244"/>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4" h="172">
                  <a:moveTo>
                    <a:pt x="234" y="0"/>
                  </a:moveTo>
                  <a:lnTo>
                    <a:pt x="244" y="13"/>
                  </a:lnTo>
                  <a:lnTo>
                    <a:pt x="234" y="23"/>
                  </a:lnTo>
                  <a:lnTo>
                    <a:pt x="184" y="34"/>
                  </a:lnTo>
                  <a:lnTo>
                    <a:pt x="142" y="49"/>
                  </a:lnTo>
                  <a:lnTo>
                    <a:pt x="98" y="74"/>
                  </a:lnTo>
                  <a:lnTo>
                    <a:pt x="77" y="101"/>
                  </a:lnTo>
                  <a:lnTo>
                    <a:pt x="56" y="128"/>
                  </a:lnTo>
                  <a:lnTo>
                    <a:pt x="58" y="149"/>
                  </a:lnTo>
                  <a:lnTo>
                    <a:pt x="85" y="168"/>
                  </a:lnTo>
                  <a:lnTo>
                    <a:pt x="77" y="172"/>
                  </a:lnTo>
                  <a:lnTo>
                    <a:pt x="31" y="168"/>
                  </a:lnTo>
                  <a:lnTo>
                    <a:pt x="29" y="157"/>
                  </a:lnTo>
                  <a:lnTo>
                    <a:pt x="2" y="151"/>
                  </a:lnTo>
                  <a:lnTo>
                    <a:pt x="0" y="136"/>
                  </a:lnTo>
                  <a:lnTo>
                    <a:pt x="15" y="130"/>
                  </a:lnTo>
                  <a:lnTo>
                    <a:pt x="14" y="115"/>
                  </a:lnTo>
                  <a:lnTo>
                    <a:pt x="42" y="94"/>
                  </a:lnTo>
                  <a:lnTo>
                    <a:pt x="29" y="90"/>
                  </a:lnTo>
                  <a:lnTo>
                    <a:pt x="62" y="67"/>
                  </a:lnTo>
                  <a:lnTo>
                    <a:pt x="58" y="53"/>
                  </a:lnTo>
                  <a:lnTo>
                    <a:pt x="90" y="38"/>
                  </a:lnTo>
                  <a:lnTo>
                    <a:pt x="134" y="21"/>
                  </a:lnTo>
                  <a:lnTo>
                    <a:pt x="182" y="15"/>
                  </a:lnTo>
                  <a:lnTo>
                    <a:pt x="205" y="5"/>
                  </a:lnTo>
                  <a:lnTo>
                    <a:pt x="23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205">
              <a:extLst>
                <a:ext uri="{FF2B5EF4-FFF2-40B4-BE49-F238E27FC236}">
                  <a16:creationId xmlns:a16="http://schemas.microsoft.com/office/drawing/2014/main" id="{21FCCF8F-91E0-46E5-820A-C5CDBCF09926}"/>
                </a:ext>
              </a:extLst>
            </p:cNvPr>
            <p:cNvSpPr>
              <a:spLocks/>
            </p:cNvSpPr>
            <p:nvPr/>
          </p:nvSpPr>
          <p:spPr bwMode="auto">
            <a:xfrm>
              <a:off x="2219327" y="2319403"/>
              <a:ext cx="382588" cy="123881"/>
            </a:xfrm>
            <a:custGeom>
              <a:avLst/>
              <a:gdLst>
                <a:gd name="T0" fmla="*/ 7 w 241"/>
                <a:gd name="T1" fmla="*/ 0 h 78"/>
                <a:gd name="T2" fmla="*/ 36 w 241"/>
                <a:gd name="T3" fmla="*/ 2 h 78"/>
                <a:gd name="T4" fmla="*/ 50 w 241"/>
                <a:gd name="T5" fmla="*/ 11 h 78"/>
                <a:gd name="T6" fmla="*/ 76 w 241"/>
                <a:gd name="T7" fmla="*/ 11 h 78"/>
                <a:gd name="T8" fmla="*/ 90 w 241"/>
                <a:gd name="T9" fmla="*/ 21 h 78"/>
                <a:gd name="T10" fmla="*/ 86 w 241"/>
                <a:gd name="T11" fmla="*/ 30 h 78"/>
                <a:gd name="T12" fmla="*/ 101 w 241"/>
                <a:gd name="T13" fmla="*/ 38 h 78"/>
                <a:gd name="T14" fmla="*/ 111 w 241"/>
                <a:gd name="T15" fmla="*/ 44 h 78"/>
                <a:gd name="T16" fmla="*/ 130 w 241"/>
                <a:gd name="T17" fmla="*/ 46 h 78"/>
                <a:gd name="T18" fmla="*/ 149 w 241"/>
                <a:gd name="T19" fmla="*/ 48 h 78"/>
                <a:gd name="T20" fmla="*/ 172 w 241"/>
                <a:gd name="T21" fmla="*/ 42 h 78"/>
                <a:gd name="T22" fmla="*/ 201 w 241"/>
                <a:gd name="T23" fmla="*/ 38 h 78"/>
                <a:gd name="T24" fmla="*/ 224 w 241"/>
                <a:gd name="T25" fmla="*/ 40 h 78"/>
                <a:gd name="T26" fmla="*/ 238 w 241"/>
                <a:gd name="T27" fmla="*/ 54 h 78"/>
                <a:gd name="T28" fmla="*/ 241 w 241"/>
                <a:gd name="T29" fmla="*/ 65 h 78"/>
                <a:gd name="T30" fmla="*/ 232 w 241"/>
                <a:gd name="T31" fmla="*/ 71 h 78"/>
                <a:gd name="T32" fmla="*/ 213 w 241"/>
                <a:gd name="T33" fmla="*/ 78 h 78"/>
                <a:gd name="T34" fmla="*/ 193 w 241"/>
                <a:gd name="T35" fmla="*/ 75 h 78"/>
                <a:gd name="T36" fmla="*/ 153 w 241"/>
                <a:gd name="T37" fmla="*/ 78 h 78"/>
                <a:gd name="T38" fmla="*/ 124 w 241"/>
                <a:gd name="T39" fmla="*/ 78 h 78"/>
                <a:gd name="T40" fmla="*/ 103 w 241"/>
                <a:gd name="T41" fmla="*/ 75 h 78"/>
                <a:gd name="T42" fmla="*/ 67 w 241"/>
                <a:gd name="T43" fmla="*/ 67 h 78"/>
                <a:gd name="T44" fmla="*/ 61 w 241"/>
                <a:gd name="T45" fmla="*/ 52 h 78"/>
                <a:gd name="T46" fmla="*/ 59 w 241"/>
                <a:gd name="T47" fmla="*/ 38 h 78"/>
                <a:gd name="T48" fmla="*/ 46 w 241"/>
                <a:gd name="T49" fmla="*/ 25 h 78"/>
                <a:gd name="T50" fmla="*/ 17 w 241"/>
                <a:gd name="T51" fmla="*/ 21 h 78"/>
                <a:gd name="T52" fmla="*/ 0 w 241"/>
                <a:gd name="T53" fmla="*/ 13 h 78"/>
                <a:gd name="T54" fmla="*/ 7 w 241"/>
                <a:gd name="T55"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1" h="78">
                  <a:moveTo>
                    <a:pt x="7" y="0"/>
                  </a:moveTo>
                  <a:lnTo>
                    <a:pt x="36" y="2"/>
                  </a:lnTo>
                  <a:lnTo>
                    <a:pt x="50" y="11"/>
                  </a:lnTo>
                  <a:lnTo>
                    <a:pt x="76" y="11"/>
                  </a:lnTo>
                  <a:lnTo>
                    <a:pt x="90" y="21"/>
                  </a:lnTo>
                  <a:lnTo>
                    <a:pt x="86" y="30"/>
                  </a:lnTo>
                  <a:lnTo>
                    <a:pt x="101" y="38"/>
                  </a:lnTo>
                  <a:lnTo>
                    <a:pt x="111" y="44"/>
                  </a:lnTo>
                  <a:lnTo>
                    <a:pt x="130" y="46"/>
                  </a:lnTo>
                  <a:lnTo>
                    <a:pt x="149" y="48"/>
                  </a:lnTo>
                  <a:lnTo>
                    <a:pt x="172" y="42"/>
                  </a:lnTo>
                  <a:lnTo>
                    <a:pt x="201" y="38"/>
                  </a:lnTo>
                  <a:lnTo>
                    <a:pt x="224" y="40"/>
                  </a:lnTo>
                  <a:lnTo>
                    <a:pt x="238" y="54"/>
                  </a:lnTo>
                  <a:lnTo>
                    <a:pt x="241" y="65"/>
                  </a:lnTo>
                  <a:lnTo>
                    <a:pt x="232" y="71"/>
                  </a:lnTo>
                  <a:lnTo>
                    <a:pt x="213" y="78"/>
                  </a:lnTo>
                  <a:lnTo>
                    <a:pt x="193" y="75"/>
                  </a:lnTo>
                  <a:lnTo>
                    <a:pt x="153" y="78"/>
                  </a:lnTo>
                  <a:lnTo>
                    <a:pt x="124" y="78"/>
                  </a:lnTo>
                  <a:lnTo>
                    <a:pt x="103" y="75"/>
                  </a:lnTo>
                  <a:lnTo>
                    <a:pt x="67" y="67"/>
                  </a:lnTo>
                  <a:lnTo>
                    <a:pt x="61" y="52"/>
                  </a:lnTo>
                  <a:lnTo>
                    <a:pt x="59" y="38"/>
                  </a:lnTo>
                  <a:lnTo>
                    <a:pt x="46" y="25"/>
                  </a:lnTo>
                  <a:lnTo>
                    <a:pt x="17" y="21"/>
                  </a:lnTo>
                  <a:lnTo>
                    <a:pt x="0" y="13"/>
                  </a:lnTo>
                  <a:lnTo>
                    <a:pt x="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208">
              <a:extLst>
                <a:ext uri="{FF2B5EF4-FFF2-40B4-BE49-F238E27FC236}">
                  <a16:creationId xmlns:a16="http://schemas.microsoft.com/office/drawing/2014/main" id="{EC48CBA0-0CF8-4143-B7A9-A005C7200B11}"/>
                </a:ext>
              </a:extLst>
            </p:cNvPr>
            <p:cNvSpPr>
              <a:spLocks/>
            </p:cNvSpPr>
            <p:nvPr/>
          </p:nvSpPr>
          <p:spPr bwMode="auto">
            <a:xfrm>
              <a:off x="1652589" y="2293991"/>
              <a:ext cx="146050" cy="82587"/>
            </a:xfrm>
            <a:custGeom>
              <a:avLst/>
              <a:gdLst>
                <a:gd name="T0" fmla="*/ 92 w 92"/>
                <a:gd name="T1" fmla="*/ 0 h 52"/>
                <a:gd name="T2" fmla="*/ 90 w 92"/>
                <a:gd name="T3" fmla="*/ 23 h 52"/>
                <a:gd name="T4" fmla="*/ 80 w 92"/>
                <a:gd name="T5" fmla="*/ 35 h 52"/>
                <a:gd name="T6" fmla="*/ 65 w 92"/>
                <a:gd name="T7" fmla="*/ 35 h 52"/>
                <a:gd name="T8" fmla="*/ 42 w 92"/>
                <a:gd name="T9" fmla="*/ 48 h 52"/>
                <a:gd name="T10" fmla="*/ 17 w 92"/>
                <a:gd name="T11" fmla="*/ 52 h 52"/>
                <a:gd name="T12" fmla="*/ 0 w 92"/>
                <a:gd name="T13" fmla="*/ 46 h 52"/>
                <a:gd name="T14" fmla="*/ 23 w 92"/>
                <a:gd name="T15" fmla="*/ 25 h 52"/>
                <a:gd name="T16" fmla="*/ 52 w 92"/>
                <a:gd name="T17" fmla="*/ 6 h 52"/>
                <a:gd name="T18" fmla="*/ 73 w 92"/>
                <a:gd name="T19" fmla="*/ 6 h 52"/>
                <a:gd name="T20" fmla="*/ 92 w 92"/>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52">
                  <a:moveTo>
                    <a:pt x="92" y="0"/>
                  </a:moveTo>
                  <a:lnTo>
                    <a:pt x="90" y="23"/>
                  </a:lnTo>
                  <a:lnTo>
                    <a:pt x="80" y="35"/>
                  </a:lnTo>
                  <a:lnTo>
                    <a:pt x="65" y="35"/>
                  </a:lnTo>
                  <a:lnTo>
                    <a:pt x="42" y="48"/>
                  </a:lnTo>
                  <a:lnTo>
                    <a:pt x="17" y="52"/>
                  </a:lnTo>
                  <a:lnTo>
                    <a:pt x="0" y="46"/>
                  </a:lnTo>
                  <a:lnTo>
                    <a:pt x="23" y="25"/>
                  </a:lnTo>
                  <a:lnTo>
                    <a:pt x="52" y="6"/>
                  </a:lnTo>
                  <a:lnTo>
                    <a:pt x="73" y="6"/>
                  </a:lnTo>
                  <a:lnTo>
                    <a:pt x="92"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210">
              <a:extLst>
                <a:ext uri="{FF2B5EF4-FFF2-40B4-BE49-F238E27FC236}">
                  <a16:creationId xmlns:a16="http://schemas.microsoft.com/office/drawing/2014/main" id="{552F1385-1EAB-4C32-8F56-3DDE8417BF7A}"/>
                </a:ext>
              </a:extLst>
            </p:cNvPr>
            <p:cNvSpPr>
              <a:spLocks/>
            </p:cNvSpPr>
            <p:nvPr/>
          </p:nvSpPr>
          <p:spPr bwMode="auto">
            <a:xfrm>
              <a:off x="3979863" y="2292403"/>
              <a:ext cx="4592637" cy="3014437"/>
            </a:xfrm>
            <a:custGeom>
              <a:avLst/>
              <a:gdLst/>
              <a:ahLst/>
              <a:cxnLst/>
              <a:rect l="l" t="t" r="r" b="b"/>
              <a:pathLst>
                <a:path w="4592637" h="3014437">
                  <a:moveTo>
                    <a:pt x="1519229" y="1084753"/>
                  </a:moveTo>
                  <a:lnTo>
                    <a:pt x="1492251" y="1099040"/>
                  </a:lnTo>
                  <a:lnTo>
                    <a:pt x="1476374" y="1102218"/>
                  </a:lnTo>
                  <a:lnTo>
                    <a:pt x="1465255" y="1121287"/>
                  </a:lnTo>
                  <a:lnTo>
                    <a:pt x="1443035" y="1127643"/>
                  </a:lnTo>
                  <a:lnTo>
                    <a:pt x="1422400" y="1154642"/>
                  </a:lnTo>
                  <a:lnTo>
                    <a:pt x="1439863" y="1178463"/>
                  </a:lnTo>
                  <a:lnTo>
                    <a:pt x="1436691" y="1197504"/>
                  </a:lnTo>
                  <a:lnTo>
                    <a:pt x="1462083" y="1230859"/>
                  </a:lnTo>
                  <a:lnTo>
                    <a:pt x="1476374" y="1243571"/>
                  </a:lnTo>
                  <a:lnTo>
                    <a:pt x="1485907" y="1261037"/>
                  </a:lnTo>
                  <a:lnTo>
                    <a:pt x="1495423" y="1264215"/>
                  </a:lnTo>
                  <a:lnTo>
                    <a:pt x="1501784" y="1267393"/>
                  </a:lnTo>
                  <a:lnTo>
                    <a:pt x="1485907" y="1270571"/>
                  </a:lnTo>
                  <a:lnTo>
                    <a:pt x="1479546" y="1291214"/>
                  </a:lnTo>
                  <a:lnTo>
                    <a:pt x="1476374" y="1300748"/>
                  </a:lnTo>
                  <a:lnTo>
                    <a:pt x="1471617" y="1307104"/>
                  </a:lnTo>
                  <a:lnTo>
                    <a:pt x="1471617" y="1319816"/>
                  </a:lnTo>
                  <a:lnTo>
                    <a:pt x="1476374" y="1337282"/>
                  </a:lnTo>
                  <a:lnTo>
                    <a:pt x="1495423" y="1343638"/>
                  </a:lnTo>
                  <a:lnTo>
                    <a:pt x="1511300" y="1356350"/>
                  </a:lnTo>
                  <a:lnTo>
                    <a:pt x="1544639" y="1361103"/>
                  </a:lnTo>
                  <a:lnTo>
                    <a:pt x="1577979" y="1353172"/>
                  </a:lnTo>
                  <a:lnTo>
                    <a:pt x="1581151" y="1349994"/>
                  </a:lnTo>
                  <a:lnTo>
                    <a:pt x="1574807" y="1330926"/>
                  </a:lnTo>
                  <a:lnTo>
                    <a:pt x="1577979" y="1303926"/>
                  </a:lnTo>
                  <a:lnTo>
                    <a:pt x="1562102" y="1294392"/>
                  </a:lnTo>
                  <a:lnTo>
                    <a:pt x="1568446" y="1276927"/>
                  </a:lnTo>
                  <a:lnTo>
                    <a:pt x="1552569" y="1273749"/>
                  </a:lnTo>
                  <a:cubicBezTo>
                    <a:pt x="1553626" y="1266343"/>
                    <a:pt x="1554701" y="1258909"/>
                    <a:pt x="1555758" y="1251503"/>
                  </a:cubicBezTo>
                  <a:lnTo>
                    <a:pt x="1577979" y="1261037"/>
                  </a:lnTo>
                  <a:lnTo>
                    <a:pt x="1598613" y="1248352"/>
                  </a:lnTo>
                  <a:lnTo>
                    <a:pt x="1584322" y="1234037"/>
                  </a:lnTo>
                  <a:lnTo>
                    <a:pt x="1574807" y="1221353"/>
                  </a:lnTo>
                  <a:lnTo>
                    <a:pt x="1555758" y="1227681"/>
                  </a:lnTo>
                  <a:lnTo>
                    <a:pt x="1555758" y="1245174"/>
                  </a:lnTo>
                  <a:lnTo>
                    <a:pt x="1549397" y="1230859"/>
                  </a:lnTo>
                  <a:lnTo>
                    <a:pt x="1549397" y="1224503"/>
                  </a:lnTo>
                  <a:lnTo>
                    <a:pt x="1552569" y="1211819"/>
                  </a:lnTo>
                  <a:lnTo>
                    <a:pt x="1549397" y="1200682"/>
                  </a:lnTo>
                  <a:lnTo>
                    <a:pt x="1522419" y="1194354"/>
                  </a:lnTo>
                  <a:lnTo>
                    <a:pt x="1512886" y="1167354"/>
                  </a:lnTo>
                  <a:lnTo>
                    <a:pt x="1501784" y="1164176"/>
                  </a:lnTo>
                  <a:lnTo>
                    <a:pt x="1501784" y="1154642"/>
                  </a:lnTo>
                  <a:lnTo>
                    <a:pt x="1522419" y="1157820"/>
                  </a:lnTo>
                  <a:lnTo>
                    <a:pt x="1522419" y="1135574"/>
                  </a:lnTo>
                  <a:lnTo>
                    <a:pt x="1541467" y="1130821"/>
                  </a:lnTo>
                  <a:lnTo>
                    <a:pt x="1558930" y="1135574"/>
                  </a:lnTo>
                  <a:lnTo>
                    <a:pt x="1565274" y="1108574"/>
                  </a:lnTo>
                  <a:lnTo>
                    <a:pt x="1558930" y="1091109"/>
                  </a:lnTo>
                  <a:lnTo>
                    <a:pt x="1538296" y="1094287"/>
                  </a:lnTo>
                  <a:close/>
                  <a:moveTo>
                    <a:pt x="2695419" y="0"/>
                  </a:moveTo>
                  <a:cubicBezTo>
                    <a:pt x="2707819" y="5728"/>
                    <a:pt x="2719760" y="11756"/>
                    <a:pt x="2732160" y="17484"/>
                  </a:cubicBezTo>
                  <a:cubicBezTo>
                    <a:pt x="2722975" y="21704"/>
                    <a:pt x="2714249" y="25924"/>
                    <a:pt x="2705063" y="30144"/>
                  </a:cubicBezTo>
                  <a:lnTo>
                    <a:pt x="2752827" y="36475"/>
                  </a:lnTo>
                  <a:cubicBezTo>
                    <a:pt x="2755123" y="43408"/>
                    <a:pt x="2756960" y="50341"/>
                    <a:pt x="2759256" y="57274"/>
                  </a:cubicBezTo>
                  <a:cubicBezTo>
                    <a:pt x="2766605" y="53959"/>
                    <a:pt x="2773953" y="50944"/>
                    <a:pt x="2781301" y="47628"/>
                  </a:cubicBezTo>
                  <a:lnTo>
                    <a:pt x="2844679" y="47628"/>
                  </a:lnTo>
                  <a:lnTo>
                    <a:pt x="2893821" y="72950"/>
                  </a:lnTo>
                  <a:lnTo>
                    <a:pt x="2914488" y="87419"/>
                  </a:lnTo>
                  <a:cubicBezTo>
                    <a:pt x="2911273" y="95859"/>
                    <a:pt x="2908517" y="104300"/>
                    <a:pt x="2905302" y="112740"/>
                  </a:cubicBezTo>
                  <a:lnTo>
                    <a:pt x="2881421" y="123893"/>
                  </a:lnTo>
                  <a:lnTo>
                    <a:pt x="2824013" y="149215"/>
                  </a:lnTo>
                  <a:lnTo>
                    <a:pt x="2808398" y="160368"/>
                  </a:lnTo>
                  <a:lnTo>
                    <a:pt x="2832279" y="166698"/>
                  </a:lnTo>
                  <a:lnTo>
                    <a:pt x="2868561" y="179359"/>
                  </a:lnTo>
                  <a:cubicBezTo>
                    <a:pt x="2874991" y="176345"/>
                    <a:pt x="2881421" y="173029"/>
                    <a:pt x="2887850" y="170014"/>
                  </a:cubicBezTo>
                  <a:cubicBezTo>
                    <a:pt x="2891065" y="179058"/>
                    <a:pt x="2893821" y="187800"/>
                    <a:pt x="2897036" y="196843"/>
                  </a:cubicBezTo>
                  <a:cubicBezTo>
                    <a:pt x="2900710" y="193226"/>
                    <a:pt x="2904843" y="189307"/>
                    <a:pt x="2908517" y="185689"/>
                  </a:cubicBezTo>
                  <a:lnTo>
                    <a:pt x="2941584" y="179359"/>
                  </a:lnTo>
                  <a:lnTo>
                    <a:pt x="3014607" y="185689"/>
                  </a:lnTo>
                  <a:cubicBezTo>
                    <a:pt x="3015526" y="192623"/>
                    <a:pt x="3016903" y="199556"/>
                    <a:pt x="3017822" y="206489"/>
                  </a:cubicBezTo>
                  <a:lnTo>
                    <a:pt x="3112889" y="212819"/>
                  </a:lnTo>
                  <a:lnTo>
                    <a:pt x="3112889" y="179359"/>
                  </a:lnTo>
                  <a:lnTo>
                    <a:pt x="3162490" y="189005"/>
                  </a:lnTo>
                  <a:lnTo>
                    <a:pt x="3195557" y="189005"/>
                  </a:lnTo>
                  <a:lnTo>
                    <a:pt x="3232298" y="209504"/>
                  </a:lnTo>
                  <a:lnTo>
                    <a:pt x="3243320" y="236633"/>
                  </a:lnTo>
                  <a:cubicBezTo>
                    <a:pt x="3238728" y="242964"/>
                    <a:pt x="3233676" y="249294"/>
                    <a:pt x="3229083" y="255624"/>
                  </a:cubicBezTo>
                  <a:cubicBezTo>
                    <a:pt x="3238268" y="265572"/>
                    <a:pt x="3246995" y="275821"/>
                    <a:pt x="3256180" y="285769"/>
                  </a:cubicBezTo>
                  <a:cubicBezTo>
                    <a:pt x="3267202" y="291195"/>
                    <a:pt x="3278224" y="296319"/>
                    <a:pt x="3289247" y="301745"/>
                  </a:cubicBezTo>
                  <a:cubicBezTo>
                    <a:pt x="3296595" y="287577"/>
                    <a:pt x="3304402" y="273108"/>
                    <a:pt x="3311751" y="258940"/>
                  </a:cubicBezTo>
                  <a:cubicBezTo>
                    <a:pt x="3323692" y="265873"/>
                    <a:pt x="3336092" y="272505"/>
                    <a:pt x="3348033" y="279438"/>
                  </a:cubicBezTo>
                  <a:lnTo>
                    <a:pt x="3387529" y="266778"/>
                  </a:lnTo>
                  <a:cubicBezTo>
                    <a:pt x="3401307" y="272204"/>
                    <a:pt x="3415085" y="277328"/>
                    <a:pt x="3428863" y="282754"/>
                  </a:cubicBezTo>
                  <a:cubicBezTo>
                    <a:pt x="3434374" y="277328"/>
                    <a:pt x="3439426" y="272204"/>
                    <a:pt x="3444937" y="266778"/>
                  </a:cubicBezTo>
                  <a:cubicBezTo>
                    <a:pt x="3456878" y="270094"/>
                    <a:pt x="3469278" y="273108"/>
                    <a:pt x="3481219" y="276424"/>
                  </a:cubicBezTo>
                  <a:cubicBezTo>
                    <a:pt x="3476167" y="263160"/>
                    <a:pt x="3470656" y="249897"/>
                    <a:pt x="3465604" y="236633"/>
                  </a:cubicBezTo>
                  <a:cubicBezTo>
                    <a:pt x="3475249" y="230906"/>
                    <a:pt x="3484434" y="224877"/>
                    <a:pt x="3494078" y="219150"/>
                  </a:cubicBezTo>
                  <a:lnTo>
                    <a:pt x="3694317" y="242964"/>
                  </a:lnTo>
                  <a:cubicBezTo>
                    <a:pt x="3700747" y="252007"/>
                    <a:pt x="3706717" y="261050"/>
                    <a:pt x="3713147" y="270094"/>
                  </a:cubicBezTo>
                  <a:cubicBezTo>
                    <a:pt x="3731977" y="279740"/>
                    <a:pt x="3751266" y="289085"/>
                    <a:pt x="3770096" y="298731"/>
                  </a:cubicBezTo>
                  <a:lnTo>
                    <a:pt x="3859193" y="292099"/>
                  </a:lnTo>
                  <a:lnTo>
                    <a:pt x="3905119" y="298731"/>
                  </a:lnTo>
                  <a:cubicBezTo>
                    <a:pt x="3911090" y="304458"/>
                    <a:pt x="3916601" y="310186"/>
                    <a:pt x="3922571" y="315913"/>
                  </a:cubicBezTo>
                  <a:cubicBezTo>
                    <a:pt x="3921653" y="324956"/>
                    <a:pt x="3920275" y="334000"/>
                    <a:pt x="3919357" y="343043"/>
                  </a:cubicBezTo>
                  <a:lnTo>
                    <a:pt x="3948290" y="355704"/>
                  </a:lnTo>
                  <a:cubicBezTo>
                    <a:pt x="3958394" y="352689"/>
                    <a:pt x="3968039" y="349373"/>
                    <a:pt x="3978142" y="346359"/>
                  </a:cubicBezTo>
                  <a:lnTo>
                    <a:pt x="4018098" y="346359"/>
                  </a:lnTo>
                  <a:cubicBezTo>
                    <a:pt x="4032335" y="349373"/>
                    <a:pt x="4046573" y="352689"/>
                    <a:pt x="4060810" y="355704"/>
                  </a:cubicBezTo>
                  <a:lnTo>
                    <a:pt x="4100306" y="349373"/>
                  </a:lnTo>
                  <a:cubicBezTo>
                    <a:pt x="4113166" y="360527"/>
                    <a:pt x="4125566" y="371680"/>
                    <a:pt x="4138425" y="382834"/>
                  </a:cubicBezTo>
                  <a:lnTo>
                    <a:pt x="4164144" y="374695"/>
                  </a:lnTo>
                  <a:cubicBezTo>
                    <a:pt x="4158633" y="365350"/>
                    <a:pt x="4153581" y="355704"/>
                    <a:pt x="4148070" y="346359"/>
                  </a:cubicBezTo>
                  <a:lnTo>
                    <a:pt x="4157714" y="331890"/>
                  </a:lnTo>
                  <a:lnTo>
                    <a:pt x="4230737" y="343043"/>
                  </a:lnTo>
                  <a:cubicBezTo>
                    <a:pt x="4244975" y="342139"/>
                    <a:pt x="4259212" y="340933"/>
                    <a:pt x="4273449" y="340029"/>
                  </a:cubicBezTo>
                  <a:lnTo>
                    <a:pt x="4336827" y="359020"/>
                  </a:lnTo>
                  <a:lnTo>
                    <a:pt x="4370354" y="374695"/>
                  </a:lnTo>
                  <a:lnTo>
                    <a:pt x="4422709" y="405140"/>
                  </a:lnTo>
                  <a:cubicBezTo>
                    <a:pt x="4441999" y="417198"/>
                    <a:pt x="4460829" y="429557"/>
                    <a:pt x="4480117" y="441615"/>
                  </a:cubicBezTo>
                  <a:cubicBezTo>
                    <a:pt x="4479199" y="449453"/>
                    <a:pt x="4477821" y="457592"/>
                    <a:pt x="4476903" y="465429"/>
                  </a:cubicBezTo>
                  <a:lnTo>
                    <a:pt x="4492517" y="474774"/>
                  </a:lnTo>
                  <a:cubicBezTo>
                    <a:pt x="4491599" y="465731"/>
                    <a:pt x="4490221" y="456989"/>
                    <a:pt x="4489303" y="447945"/>
                  </a:cubicBezTo>
                  <a:lnTo>
                    <a:pt x="4551303" y="452769"/>
                  </a:lnTo>
                  <a:cubicBezTo>
                    <a:pt x="4565081" y="464223"/>
                    <a:pt x="4578859" y="475980"/>
                    <a:pt x="4592637" y="487435"/>
                  </a:cubicBezTo>
                  <a:cubicBezTo>
                    <a:pt x="4585748" y="493162"/>
                    <a:pt x="4578859" y="499191"/>
                    <a:pt x="4571970" y="504918"/>
                  </a:cubicBezTo>
                  <a:cubicBezTo>
                    <a:pt x="4560029" y="506124"/>
                    <a:pt x="4547629" y="507028"/>
                    <a:pt x="4535689" y="508234"/>
                  </a:cubicBezTo>
                  <a:lnTo>
                    <a:pt x="4535689" y="541694"/>
                  </a:lnTo>
                  <a:cubicBezTo>
                    <a:pt x="4531555" y="543805"/>
                    <a:pt x="4526963" y="545915"/>
                    <a:pt x="4522829" y="548025"/>
                  </a:cubicBezTo>
                  <a:lnTo>
                    <a:pt x="4505377" y="548025"/>
                  </a:lnTo>
                  <a:lnTo>
                    <a:pt x="4486088" y="535364"/>
                  </a:lnTo>
                  <a:lnTo>
                    <a:pt x="4459451" y="524211"/>
                  </a:lnTo>
                  <a:cubicBezTo>
                    <a:pt x="4457154" y="518785"/>
                    <a:pt x="4455317" y="513660"/>
                    <a:pt x="4453021" y="508234"/>
                  </a:cubicBezTo>
                  <a:cubicBezTo>
                    <a:pt x="4445213" y="507028"/>
                    <a:pt x="4436947" y="506124"/>
                    <a:pt x="4429139" y="504918"/>
                  </a:cubicBezTo>
                  <a:cubicBezTo>
                    <a:pt x="4420873" y="506124"/>
                    <a:pt x="4412147" y="507028"/>
                    <a:pt x="4403880" y="508234"/>
                  </a:cubicBezTo>
                  <a:cubicBezTo>
                    <a:pt x="4400206" y="504014"/>
                    <a:pt x="4396072" y="499794"/>
                    <a:pt x="4392398" y="495574"/>
                  </a:cubicBezTo>
                  <a:cubicBezTo>
                    <a:pt x="4394695" y="490750"/>
                    <a:pt x="4396532" y="485927"/>
                    <a:pt x="4398828" y="481104"/>
                  </a:cubicBezTo>
                  <a:lnTo>
                    <a:pt x="4370354" y="490750"/>
                  </a:lnTo>
                  <a:cubicBezTo>
                    <a:pt x="4374487" y="496478"/>
                    <a:pt x="4379080" y="502507"/>
                    <a:pt x="4383213" y="508234"/>
                  </a:cubicBezTo>
                  <a:cubicBezTo>
                    <a:pt x="4379080" y="513660"/>
                    <a:pt x="4374487" y="518785"/>
                    <a:pt x="4370354" y="524211"/>
                  </a:cubicBezTo>
                  <a:cubicBezTo>
                    <a:pt x="4360250" y="529034"/>
                    <a:pt x="4350146" y="533555"/>
                    <a:pt x="4340042" y="538379"/>
                  </a:cubicBezTo>
                  <a:cubicBezTo>
                    <a:pt x="4329938" y="537474"/>
                    <a:pt x="4320294" y="536268"/>
                    <a:pt x="4310190" y="535364"/>
                  </a:cubicBezTo>
                  <a:lnTo>
                    <a:pt x="4330857" y="554355"/>
                  </a:lnTo>
                  <a:cubicBezTo>
                    <a:pt x="4335909" y="564303"/>
                    <a:pt x="4341420" y="574552"/>
                    <a:pt x="4346472" y="584499"/>
                  </a:cubicBezTo>
                  <a:cubicBezTo>
                    <a:pt x="4349687" y="587514"/>
                    <a:pt x="4352902" y="590830"/>
                    <a:pt x="4356116" y="593844"/>
                  </a:cubicBezTo>
                  <a:cubicBezTo>
                    <a:pt x="4357035" y="598667"/>
                    <a:pt x="4358413" y="603490"/>
                    <a:pt x="4359331" y="608314"/>
                  </a:cubicBezTo>
                  <a:cubicBezTo>
                    <a:pt x="4357035" y="611629"/>
                    <a:pt x="4355198" y="614644"/>
                    <a:pt x="4352902" y="617960"/>
                  </a:cubicBezTo>
                  <a:cubicBezTo>
                    <a:pt x="4338664" y="615850"/>
                    <a:pt x="4324427" y="613438"/>
                    <a:pt x="4310190" y="611328"/>
                  </a:cubicBezTo>
                  <a:lnTo>
                    <a:pt x="4249567" y="633635"/>
                  </a:lnTo>
                  <a:cubicBezTo>
                    <a:pt x="4243138" y="635745"/>
                    <a:pt x="4237167" y="637855"/>
                    <a:pt x="4230737" y="639965"/>
                  </a:cubicBezTo>
                  <a:cubicBezTo>
                    <a:pt x="4218337" y="647803"/>
                    <a:pt x="4206397" y="655942"/>
                    <a:pt x="4193996" y="663779"/>
                  </a:cubicBezTo>
                  <a:cubicBezTo>
                    <a:pt x="4183892" y="670712"/>
                    <a:pt x="4174248" y="677646"/>
                    <a:pt x="4164144" y="684579"/>
                  </a:cubicBezTo>
                  <a:lnTo>
                    <a:pt x="4154500" y="697239"/>
                  </a:lnTo>
                  <a:lnTo>
                    <a:pt x="4124188" y="676440"/>
                  </a:lnTo>
                  <a:cubicBezTo>
                    <a:pt x="4104440" y="684277"/>
                    <a:pt x="4085151" y="692416"/>
                    <a:pt x="4065402" y="700254"/>
                  </a:cubicBezTo>
                  <a:cubicBezTo>
                    <a:pt x="4062647" y="697239"/>
                    <a:pt x="4060351" y="693924"/>
                    <a:pt x="4057595" y="690909"/>
                  </a:cubicBezTo>
                  <a:lnTo>
                    <a:pt x="4035550" y="703570"/>
                  </a:lnTo>
                  <a:lnTo>
                    <a:pt x="4005239" y="697239"/>
                  </a:lnTo>
                  <a:cubicBezTo>
                    <a:pt x="4002943" y="704173"/>
                    <a:pt x="4001106" y="710804"/>
                    <a:pt x="3998809" y="717738"/>
                  </a:cubicBezTo>
                  <a:cubicBezTo>
                    <a:pt x="3989624" y="728288"/>
                    <a:pt x="3980898" y="739140"/>
                    <a:pt x="3971713" y="749691"/>
                  </a:cubicBezTo>
                  <a:lnTo>
                    <a:pt x="3971713" y="763858"/>
                  </a:lnTo>
                  <a:lnTo>
                    <a:pt x="3998809" y="773505"/>
                  </a:lnTo>
                  <a:cubicBezTo>
                    <a:pt x="3997891" y="787673"/>
                    <a:pt x="3996513" y="802142"/>
                    <a:pt x="3995594" y="816310"/>
                  </a:cubicBezTo>
                  <a:cubicBezTo>
                    <a:pt x="3988705" y="817515"/>
                    <a:pt x="3981816" y="818420"/>
                    <a:pt x="3974927" y="819626"/>
                  </a:cubicBezTo>
                  <a:cubicBezTo>
                    <a:pt x="3970794" y="827463"/>
                    <a:pt x="3966661" y="835602"/>
                    <a:pt x="3962527" y="843440"/>
                  </a:cubicBezTo>
                  <a:lnTo>
                    <a:pt x="3974927" y="856100"/>
                  </a:lnTo>
                  <a:lnTo>
                    <a:pt x="3935431" y="870268"/>
                  </a:lnTo>
                  <a:cubicBezTo>
                    <a:pt x="3933134" y="882326"/>
                    <a:pt x="3931297" y="894685"/>
                    <a:pt x="3929001" y="906743"/>
                  </a:cubicBezTo>
                  <a:cubicBezTo>
                    <a:pt x="3917979" y="910059"/>
                    <a:pt x="3906956" y="913073"/>
                    <a:pt x="3895934" y="916389"/>
                  </a:cubicBezTo>
                  <a:cubicBezTo>
                    <a:pt x="3893638" y="925432"/>
                    <a:pt x="3891801" y="934476"/>
                    <a:pt x="3889504" y="943519"/>
                  </a:cubicBezTo>
                  <a:lnTo>
                    <a:pt x="3859193" y="975171"/>
                  </a:lnTo>
                  <a:cubicBezTo>
                    <a:pt x="3855978" y="967634"/>
                    <a:pt x="3852763" y="960400"/>
                    <a:pt x="3849548" y="952864"/>
                  </a:cubicBezTo>
                  <a:cubicBezTo>
                    <a:pt x="3845874" y="938696"/>
                    <a:pt x="3842200" y="924227"/>
                    <a:pt x="3838526" y="910059"/>
                  </a:cubicBezTo>
                  <a:cubicBezTo>
                    <a:pt x="3834393" y="886848"/>
                    <a:pt x="3829800" y="863335"/>
                    <a:pt x="3825667" y="840124"/>
                  </a:cubicBezTo>
                  <a:cubicBezTo>
                    <a:pt x="3829800" y="825956"/>
                    <a:pt x="3834393" y="811487"/>
                    <a:pt x="3838526" y="797319"/>
                  </a:cubicBezTo>
                  <a:cubicBezTo>
                    <a:pt x="3844497" y="791591"/>
                    <a:pt x="3850008" y="785562"/>
                    <a:pt x="3855978" y="779835"/>
                  </a:cubicBezTo>
                  <a:cubicBezTo>
                    <a:pt x="3856897" y="774409"/>
                    <a:pt x="3858274" y="769284"/>
                    <a:pt x="3859193" y="763858"/>
                  </a:cubicBezTo>
                  <a:lnTo>
                    <a:pt x="3892719" y="757528"/>
                  </a:lnTo>
                  <a:lnTo>
                    <a:pt x="3932216" y="716230"/>
                  </a:lnTo>
                  <a:lnTo>
                    <a:pt x="3968957" y="681263"/>
                  </a:lnTo>
                  <a:lnTo>
                    <a:pt x="4008454" y="654434"/>
                  </a:lnTo>
                  <a:cubicBezTo>
                    <a:pt x="4014883" y="639061"/>
                    <a:pt x="4020854" y="623687"/>
                    <a:pt x="4027284" y="608314"/>
                  </a:cubicBezTo>
                  <a:cubicBezTo>
                    <a:pt x="4017639" y="609218"/>
                    <a:pt x="4008454" y="610424"/>
                    <a:pt x="3998809" y="611328"/>
                  </a:cubicBezTo>
                  <a:cubicBezTo>
                    <a:pt x="3994217" y="620974"/>
                    <a:pt x="3989165" y="630319"/>
                    <a:pt x="3984572" y="639965"/>
                  </a:cubicBezTo>
                  <a:lnTo>
                    <a:pt x="3929001" y="676440"/>
                  </a:lnTo>
                  <a:cubicBezTo>
                    <a:pt x="3924408" y="662272"/>
                    <a:pt x="3919357" y="647803"/>
                    <a:pt x="3914764" y="633635"/>
                  </a:cubicBezTo>
                  <a:lnTo>
                    <a:pt x="3855978" y="644788"/>
                  </a:lnTo>
                  <a:cubicBezTo>
                    <a:pt x="3837148" y="664382"/>
                    <a:pt x="3817859" y="683976"/>
                    <a:pt x="3799029" y="703570"/>
                  </a:cubicBezTo>
                  <a:cubicBezTo>
                    <a:pt x="3805000" y="709297"/>
                    <a:pt x="3810511" y="715326"/>
                    <a:pt x="3816481" y="721053"/>
                  </a:cubicBezTo>
                  <a:lnTo>
                    <a:pt x="3767340" y="730700"/>
                  </a:lnTo>
                  <a:cubicBezTo>
                    <a:pt x="3757236" y="731604"/>
                    <a:pt x="3747133" y="732810"/>
                    <a:pt x="3737029" y="733714"/>
                  </a:cubicBezTo>
                  <a:lnTo>
                    <a:pt x="3737029" y="709900"/>
                  </a:lnTo>
                  <a:cubicBezTo>
                    <a:pt x="3724629" y="708996"/>
                    <a:pt x="3712688" y="707790"/>
                    <a:pt x="3700288" y="706886"/>
                  </a:cubicBezTo>
                  <a:cubicBezTo>
                    <a:pt x="3691562" y="711709"/>
                    <a:pt x="3682376" y="716230"/>
                    <a:pt x="3673650" y="721053"/>
                  </a:cubicBezTo>
                  <a:lnTo>
                    <a:pt x="3606598" y="716230"/>
                  </a:lnTo>
                  <a:lnTo>
                    <a:pt x="3533575" y="727384"/>
                  </a:lnTo>
                  <a:lnTo>
                    <a:pt x="3460552" y="789481"/>
                  </a:lnTo>
                  <a:lnTo>
                    <a:pt x="3375129" y="862431"/>
                  </a:lnTo>
                  <a:cubicBezTo>
                    <a:pt x="3386151" y="863335"/>
                    <a:pt x="3397174" y="864541"/>
                    <a:pt x="3408196" y="865445"/>
                  </a:cubicBezTo>
                  <a:cubicBezTo>
                    <a:pt x="3412329" y="871172"/>
                    <a:pt x="3416922" y="877201"/>
                    <a:pt x="3421055" y="882929"/>
                  </a:cubicBezTo>
                  <a:cubicBezTo>
                    <a:pt x="3428863" y="886245"/>
                    <a:pt x="3437130" y="889259"/>
                    <a:pt x="3444937" y="892575"/>
                  </a:cubicBezTo>
                  <a:cubicBezTo>
                    <a:pt x="3449071" y="886245"/>
                    <a:pt x="3453663" y="879914"/>
                    <a:pt x="3457797" y="873584"/>
                  </a:cubicBezTo>
                  <a:cubicBezTo>
                    <a:pt x="3465604" y="874488"/>
                    <a:pt x="3473412" y="875694"/>
                    <a:pt x="3481219" y="876598"/>
                  </a:cubicBezTo>
                  <a:lnTo>
                    <a:pt x="3511530" y="910059"/>
                  </a:lnTo>
                  <a:lnTo>
                    <a:pt x="3511530" y="938696"/>
                  </a:lnTo>
                  <a:cubicBezTo>
                    <a:pt x="3506938" y="947739"/>
                    <a:pt x="3501886" y="956481"/>
                    <a:pt x="3497293" y="965524"/>
                  </a:cubicBezTo>
                  <a:cubicBezTo>
                    <a:pt x="3496375" y="977884"/>
                    <a:pt x="3494997" y="989941"/>
                    <a:pt x="3494078" y="1002300"/>
                  </a:cubicBezTo>
                  <a:cubicBezTo>
                    <a:pt x="3490864" y="1016468"/>
                    <a:pt x="3487649" y="1030938"/>
                    <a:pt x="3484434" y="1045105"/>
                  </a:cubicBezTo>
                  <a:cubicBezTo>
                    <a:pt x="3473412" y="1059273"/>
                    <a:pt x="3462389" y="1073743"/>
                    <a:pt x="3451367" y="1087910"/>
                  </a:cubicBezTo>
                  <a:cubicBezTo>
                    <a:pt x="3449071" y="1093638"/>
                    <a:pt x="3447233" y="1099667"/>
                    <a:pt x="3444937" y="1105394"/>
                  </a:cubicBezTo>
                  <a:lnTo>
                    <a:pt x="3414626" y="1138854"/>
                  </a:lnTo>
                  <a:cubicBezTo>
                    <a:pt x="3405440" y="1148802"/>
                    <a:pt x="3396714" y="1159051"/>
                    <a:pt x="3387529" y="1168999"/>
                  </a:cubicBezTo>
                  <a:cubicBezTo>
                    <a:pt x="3382477" y="1174123"/>
                    <a:pt x="3376966" y="1179549"/>
                    <a:pt x="3371914" y="1184674"/>
                  </a:cubicBezTo>
                  <a:cubicBezTo>
                    <a:pt x="3361810" y="1190100"/>
                    <a:pt x="3351707" y="1195224"/>
                    <a:pt x="3341603" y="1200650"/>
                  </a:cubicBezTo>
                  <a:lnTo>
                    <a:pt x="3329203" y="1200650"/>
                  </a:lnTo>
                  <a:cubicBezTo>
                    <a:pt x="3323692" y="1196430"/>
                    <a:pt x="3318640" y="1192210"/>
                    <a:pt x="3313128" y="1187990"/>
                  </a:cubicBezTo>
                  <a:lnTo>
                    <a:pt x="3282817" y="1206981"/>
                  </a:lnTo>
                  <a:cubicBezTo>
                    <a:pt x="3281899" y="1210598"/>
                    <a:pt x="3280521" y="1214517"/>
                    <a:pt x="3279602" y="1218134"/>
                  </a:cubicBezTo>
                  <a:cubicBezTo>
                    <a:pt x="3276847" y="1217230"/>
                    <a:pt x="3274550" y="1216024"/>
                    <a:pt x="3271795" y="1215120"/>
                  </a:cubicBezTo>
                  <a:lnTo>
                    <a:pt x="3262150" y="1227780"/>
                  </a:lnTo>
                  <a:cubicBezTo>
                    <a:pt x="3260313" y="1229890"/>
                    <a:pt x="3258017" y="1232001"/>
                    <a:pt x="3256180" y="1234111"/>
                  </a:cubicBezTo>
                  <a:lnTo>
                    <a:pt x="3256180" y="1251594"/>
                  </a:lnTo>
                  <a:cubicBezTo>
                    <a:pt x="3252046" y="1253705"/>
                    <a:pt x="3247454" y="1255815"/>
                    <a:pt x="3243320" y="1257925"/>
                  </a:cubicBezTo>
                  <a:cubicBezTo>
                    <a:pt x="3242402" y="1260035"/>
                    <a:pt x="3241024" y="1262145"/>
                    <a:pt x="3240106" y="1264255"/>
                  </a:cubicBezTo>
                  <a:cubicBezTo>
                    <a:pt x="3237350" y="1266365"/>
                    <a:pt x="3235054" y="1268475"/>
                    <a:pt x="3232298" y="1270585"/>
                  </a:cubicBezTo>
                  <a:cubicBezTo>
                    <a:pt x="3228165" y="1272695"/>
                    <a:pt x="3223572" y="1274806"/>
                    <a:pt x="3219439" y="1276916"/>
                  </a:cubicBezTo>
                  <a:cubicBezTo>
                    <a:pt x="3216224" y="1278423"/>
                    <a:pt x="3213009" y="1280232"/>
                    <a:pt x="3209794" y="1281739"/>
                  </a:cubicBezTo>
                  <a:lnTo>
                    <a:pt x="3209794" y="1291084"/>
                  </a:lnTo>
                  <a:cubicBezTo>
                    <a:pt x="3208876" y="1292289"/>
                    <a:pt x="3207498" y="1293194"/>
                    <a:pt x="3206579" y="1294399"/>
                  </a:cubicBezTo>
                  <a:cubicBezTo>
                    <a:pt x="3208876" y="1296510"/>
                    <a:pt x="3210713" y="1298620"/>
                    <a:pt x="3213009" y="1300730"/>
                  </a:cubicBezTo>
                  <a:cubicBezTo>
                    <a:pt x="3217142" y="1304046"/>
                    <a:pt x="3221735" y="1307060"/>
                    <a:pt x="3225868" y="1310376"/>
                  </a:cubicBezTo>
                  <a:cubicBezTo>
                    <a:pt x="3231839" y="1321529"/>
                    <a:pt x="3237350" y="1332381"/>
                    <a:pt x="3243320" y="1343535"/>
                  </a:cubicBezTo>
                  <a:cubicBezTo>
                    <a:pt x="3245617" y="1348358"/>
                    <a:pt x="3247454" y="1353181"/>
                    <a:pt x="3249750" y="1358004"/>
                  </a:cubicBezTo>
                  <a:lnTo>
                    <a:pt x="3249750" y="1370665"/>
                  </a:lnTo>
                  <a:lnTo>
                    <a:pt x="3249750" y="1389656"/>
                  </a:lnTo>
                  <a:cubicBezTo>
                    <a:pt x="3247454" y="1393273"/>
                    <a:pt x="3245617" y="1397192"/>
                    <a:pt x="3243320" y="1400809"/>
                  </a:cubicBezTo>
                  <a:lnTo>
                    <a:pt x="3222654" y="1407139"/>
                  </a:lnTo>
                  <a:lnTo>
                    <a:pt x="3206579" y="1416786"/>
                  </a:lnTo>
                  <a:cubicBezTo>
                    <a:pt x="3198772" y="1417690"/>
                    <a:pt x="3190964" y="1418896"/>
                    <a:pt x="3183157" y="1419800"/>
                  </a:cubicBezTo>
                  <a:cubicBezTo>
                    <a:pt x="3182238" y="1414675"/>
                    <a:pt x="3180861" y="1409249"/>
                    <a:pt x="3179942" y="1404125"/>
                  </a:cubicBezTo>
                  <a:cubicBezTo>
                    <a:pt x="3181779" y="1398397"/>
                    <a:pt x="3184075" y="1392369"/>
                    <a:pt x="3185912" y="1386641"/>
                  </a:cubicBezTo>
                  <a:cubicBezTo>
                    <a:pt x="3182698" y="1376995"/>
                    <a:pt x="3179942" y="1367650"/>
                    <a:pt x="3176727" y="1358004"/>
                  </a:cubicBezTo>
                  <a:lnTo>
                    <a:pt x="3192342" y="1356195"/>
                  </a:lnTo>
                  <a:cubicBezTo>
                    <a:pt x="3188209" y="1348961"/>
                    <a:pt x="3184075" y="1341425"/>
                    <a:pt x="3179942" y="1334190"/>
                  </a:cubicBezTo>
                  <a:cubicBezTo>
                    <a:pt x="3175809" y="1332984"/>
                    <a:pt x="3171216" y="1332080"/>
                    <a:pt x="3167083" y="1330874"/>
                  </a:cubicBezTo>
                  <a:cubicBezTo>
                    <a:pt x="3166164" y="1332080"/>
                    <a:pt x="3164786" y="1332984"/>
                    <a:pt x="3163868" y="1334190"/>
                  </a:cubicBezTo>
                  <a:lnTo>
                    <a:pt x="3159275" y="1334190"/>
                  </a:lnTo>
                  <a:lnTo>
                    <a:pt x="3159275" y="1330874"/>
                  </a:lnTo>
                  <a:lnTo>
                    <a:pt x="3152845" y="1330874"/>
                  </a:lnTo>
                  <a:cubicBezTo>
                    <a:pt x="3150549" y="1328764"/>
                    <a:pt x="3148712" y="1326654"/>
                    <a:pt x="3146416" y="1324544"/>
                  </a:cubicBezTo>
                  <a:cubicBezTo>
                    <a:pt x="3148712" y="1320926"/>
                    <a:pt x="3150549" y="1317008"/>
                    <a:pt x="3152845" y="1313390"/>
                  </a:cubicBezTo>
                  <a:cubicBezTo>
                    <a:pt x="3155142" y="1312486"/>
                    <a:pt x="3156979" y="1311280"/>
                    <a:pt x="3159275" y="1310376"/>
                  </a:cubicBezTo>
                  <a:cubicBezTo>
                    <a:pt x="3158357" y="1309170"/>
                    <a:pt x="3156979" y="1308266"/>
                    <a:pt x="3156060" y="1307060"/>
                  </a:cubicBezTo>
                  <a:cubicBezTo>
                    <a:pt x="3158357" y="1301634"/>
                    <a:pt x="3160194" y="1296510"/>
                    <a:pt x="3162490" y="1291084"/>
                  </a:cubicBezTo>
                  <a:lnTo>
                    <a:pt x="3162490" y="1288069"/>
                  </a:lnTo>
                  <a:cubicBezTo>
                    <a:pt x="3156979" y="1286863"/>
                    <a:pt x="3151927" y="1285959"/>
                    <a:pt x="3146416" y="1284753"/>
                  </a:cubicBezTo>
                  <a:cubicBezTo>
                    <a:pt x="3143201" y="1282040"/>
                    <a:pt x="3139986" y="1279629"/>
                    <a:pt x="3136771" y="1276916"/>
                  </a:cubicBezTo>
                  <a:cubicBezTo>
                    <a:pt x="3125749" y="1279629"/>
                    <a:pt x="3114727" y="1282040"/>
                    <a:pt x="3103704" y="1284753"/>
                  </a:cubicBezTo>
                  <a:cubicBezTo>
                    <a:pt x="3098193" y="1288973"/>
                    <a:pt x="3093141" y="1293495"/>
                    <a:pt x="3087630" y="1297715"/>
                  </a:cubicBezTo>
                  <a:lnTo>
                    <a:pt x="3063748" y="1307060"/>
                  </a:lnTo>
                  <a:cubicBezTo>
                    <a:pt x="3069259" y="1301634"/>
                    <a:pt x="3074311" y="1296510"/>
                    <a:pt x="3079823" y="1291084"/>
                  </a:cubicBezTo>
                  <a:cubicBezTo>
                    <a:pt x="3077526" y="1288069"/>
                    <a:pt x="3075689" y="1284753"/>
                    <a:pt x="3073393" y="1281739"/>
                  </a:cubicBezTo>
                  <a:cubicBezTo>
                    <a:pt x="3077985" y="1276011"/>
                    <a:pt x="3083037" y="1269982"/>
                    <a:pt x="3087630" y="1264255"/>
                  </a:cubicBezTo>
                  <a:cubicBezTo>
                    <a:pt x="3084874" y="1258829"/>
                    <a:pt x="3082578" y="1253705"/>
                    <a:pt x="3079823" y="1248279"/>
                  </a:cubicBezTo>
                  <a:cubicBezTo>
                    <a:pt x="3072474" y="1252499"/>
                    <a:pt x="3064667" y="1256719"/>
                    <a:pt x="3057319" y="1260939"/>
                  </a:cubicBezTo>
                  <a:cubicBezTo>
                    <a:pt x="3049511" y="1267269"/>
                    <a:pt x="3041704" y="1273901"/>
                    <a:pt x="3033896" y="1280232"/>
                  </a:cubicBezTo>
                  <a:lnTo>
                    <a:pt x="3017822" y="1294399"/>
                  </a:lnTo>
                  <a:cubicBezTo>
                    <a:pt x="3010933" y="1295605"/>
                    <a:pt x="3004044" y="1296510"/>
                    <a:pt x="2997155" y="1297715"/>
                  </a:cubicBezTo>
                  <a:cubicBezTo>
                    <a:pt x="2993940" y="1300730"/>
                    <a:pt x="2990725" y="1304046"/>
                    <a:pt x="2987511" y="1307060"/>
                  </a:cubicBezTo>
                  <a:lnTo>
                    <a:pt x="2997155" y="1327860"/>
                  </a:lnTo>
                  <a:cubicBezTo>
                    <a:pt x="3003125" y="1328764"/>
                    <a:pt x="3008637" y="1329970"/>
                    <a:pt x="3014607" y="1330874"/>
                  </a:cubicBezTo>
                  <a:lnTo>
                    <a:pt x="3014607" y="1343535"/>
                  </a:lnTo>
                  <a:lnTo>
                    <a:pt x="3037111" y="1349865"/>
                  </a:lnTo>
                  <a:cubicBezTo>
                    <a:pt x="3044000" y="1343535"/>
                    <a:pt x="3050430" y="1337204"/>
                    <a:pt x="3057319" y="1330874"/>
                  </a:cubicBezTo>
                  <a:lnTo>
                    <a:pt x="3083037" y="1340520"/>
                  </a:lnTo>
                  <a:lnTo>
                    <a:pt x="3094060" y="1340520"/>
                  </a:lnTo>
                  <a:cubicBezTo>
                    <a:pt x="3094978" y="1345645"/>
                    <a:pt x="3096356" y="1351071"/>
                    <a:pt x="3097275" y="1356195"/>
                  </a:cubicBezTo>
                  <a:cubicBezTo>
                    <a:pt x="3087171" y="1357703"/>
                    <a:pt x="3077067" y="1359511"/>
                    <a:pt x="3066963" y="1361018"/>
                  </a:cubicBezTo>
                  <a:lnTo>
                    <a:pt x="3057319" y="1373679"/>
                  </a:lnTo>
                  <a:lnTo>
                    <a:pt x="3037111" y="1389656"/>
                  </a:lnTo>
                  <a:cubicBezTo>
                    <a:pt x="3031600" y="1395383"/>
                    <a:pt x="3026548" y="1401412"/>
                    <a:pt x="3021037" y="1407139"/>
                  </a:cubicBezTo>
                  <a:cubicBezTo>
                    <a:pt x="3029304" y="1411360"/>
                    <a:pt x="3038030" y="1415580"/>
                    <a:pt x="3046296" y="1419800"/>
                  </a:cubicBezTo>
                  <a:cubicBezTo>
                    <a:pt x="3049970" y="1427638"/>
                    <a:pt x="3053644" y="1435777"/>
                    <a:pt x="3057319" y="1443614"/>
                  </a:cubicBezTo>
                  <a:cubicBezTo>
                    <a:pt x="3061452" y="1452054"/>
                    <a:pt x="3066045" y="1460796"/>
                    <a:pt x="3070178" y="1469237"/>
                  </a:cubicBezTo>
                  <a:cubicBezTo>
                    <a:pt x="3074311" y="1474964"/>
                    <a:pt x="3078904" y="1480993"/>
                    <a:pt x="3083037" y="1486720"/>
                  </a:cubicBezTo>
                  <a:lnTo>
                    <a:pt x="3083037" y="1502396"/>
                  </a:lnTo>
                  <a:cubicBezTo>
                    <a:pt x="3078904" y="1505109"/>
                    <a:pt x="3074311" y="1507822"/>
                    <a:pt x="3070178" y="1510535"/>
                  </a:cubicBezTo>
                  <a:cubicBezTo>
                    <a:pt x="3072474" y="1514755"/>
                    <a:pt x="3074311" y="1518975"/>
                    <a:pt x="3076608" y="1523195"/>
                  </a:cubicBezTo>
                  <a:cubicBezTo>
                    <a:pt x="3080282" y="1526210"/>
                    <a:pt x="3083956" y="1529525"/>
                    <a:pt x="3087630" y="1532540"/>
                  </a:cubicBezTo>
                  <a:cubicBezTo>
                    <a:pt x="3086252" y="1538267"/>
                    <a:pt x="3084415" y="1544296"/>
                    <a:pt x="3083037" y="1550024"/>
                  </a:cubicBezTo>
                  <a:cubicBezTo>
                    <a:pt x="3082119" y="1556354"/>
                    <a:pt x="3080741" y="1562684"/>
                    <a:pt x="3079823" y="1569015"/>
                  </a:cubicBezTo>
                  <a:cubicBezTo>
                    <a:pt x="3075689" y="1570220"/>
                    <a:pt x="3071097" y="1571125"/>
                    <a:pt x="3066963" y="1572331"/>
                  </a:cubicBezTo>
                  <a:cubicBezTo>
                    <a:pt x="3061911" y="1580168"/>
                    <a:pt x="3056400" y="1588307"/>
                    <a:pt x="3051348" y="1596145"/>
                  </a:cubicBezTo>
                  <a:cubicBezTo>
                    <a:pt x="3045378" y="1606092"/>
                    <a:pt x="3039867" y="1616341"/>
                    <a:pt x="3033896" y="1626289"/>
                  </a:cubicBezTo>
                  <a:cubicBezTo>
                    <a:pt x="3027007" y="1636839"/>
                    <a:pt x="3020118" y="1647691"/>
                    <a:pt x="3013229" y="1658242"/>
                  </a:cubicBezTo>
                  <a:cubicBezTo>
                    <a:pt x="3002666" y="1665175"/>
                    <a:pt x="2992103" y="1671807"/>
                    <a:pt x="2981540" y="1678740"/>
                  </a:cubicBezTo>
                  <a:lnTo>
                    <a:pt x="2951229" y="1697731"/>
                  </a:lnTo>
                  <a:lnTo>
                    <a:pt x="2927347" y="1699540"/>
                  </a:lnTo>
                  <a:lnTo>
                    <a:pt x="2914488" y="1708884"/>
                  </a:lnTo>
                  <a:cubicBezTo>
                    <a:pt x="2911273" y="1706774"/>
                    <a:pt x="2908517" y="1704664"/>
                    <a:pt x="2905302" y="1702554"/>
                  </a:cubicBezTo>
                  <a:cubicBezTo>
                    <a:pt x="2901628" y="1706774"/>
                    <a:pt x="2897495" y="1710995"/>
                    <a:pt x="2893821" y="1715215"/>
                  </a:cubicBezTo>
                  <a:cubicBezTo>
                    <a:pt x="2882798" y="1718531"/>
                    <a:pt x="2871776" y="1721545"/>
                    <a:pt x="2860754" y="1724861"/>
                  </a:cubicBezTo>
                  <a:lnTo>
                    <a:pt x="2838250" y="1731191"/>
                  </a:lnTo>
                  <a:cubicBezTo>
                    <a:pt x="2836413" y="1739029"/>
                    <a:pt x="2834116" y="1747168"/>
                    <a:pt x="2832279" y="1755005"/>
                  </a:cubicBezTo>
                  <a:lnTo>
                    <a:pt x="2817583" y="1755005"/>
                  </a:lnTo>
                  <a:cubicBezTo>
                    <a:pt x="2816664" y="1749579"/>
                    <a:pt x="2815746" y="1744455"/>
                    <a:pt x="2814827" y="1739029"/>
                  </a:cubicBezTo>
                  <a:cubicBezTo>
                    <a:pt x="2815746" y="1736316"/>
                    <a:pt x="2816664" y="1733904"/>
                    <a:pt x="2817583" y="1731191"/>
                  </a:cubicBezTo>
                  <a:lnTo>
                    <a:pt x="2787731" y="1721545"/>
                  </a:lnTo>
                  <a:cubicBezTo>
                    <a:pt x="2784516" y="1722751"/>
                    <a:pt x="2781301" y="1723655"/>
                    <a:pt x="2778086" y="1724861"/>
                  </a:cubicBezTo>
                  <a:lnTo>
                    <a:pt x="2750990" y="1745359"/>
                  </a:lnTo>
                  <a:cubicBezTo>
                    <a:pt x="2743641" y="1752895"/>
                    <a:pt x="2736293" y="1760130"/>
                    <a:pt x="2728945" y="1767666"/>
                  </a:cubicBezTo>
                  <a:cubicBezTo>
                    <a:pt x="2728027" y="1773393"/>
                    <a:pt x="2726649" y="1779422"/>
                    <a:pt x="2725730" y="1785150"/>
                  </a:cubicBezTo>
                  <a:cubicBezTo>
                    <a:pt x="2731241" y="1792686"/>
                    <a:pt x="2736293" y="1799920"/>
                    <a:pt x="2741804" y="1807457"/>
                  </a:cubicBezTo>
                  <a:cubicBezTo>
                    <a:pt x="2748693" y="1817404"/>
                    <a:pt x="2755582" y="1827653"/>
                    <a:pt x="2762471" y="1837601"/>
                  </a:cubicBezTo>
                  <a:cubicBezTo>
                    <a:pt x="2769820" y="1842424"/>
                    <a:pt x="2777168" y="1846946"/>
                    <a:pt x="2784516" y="1851769"/>
                  </a:cubicBezTo>
                  <a:cubicBezTo>
                    <a:pt x="2788190" y="1857195"/>
                    <a:pt x="2791864" y="1862319"/>
                    <a:pt x="2795538" y="1867745"/>
                  </a:cubicBezTo>
                  <a:cubicBezTo>
                    <a:pt x="2799672" y="1881913"/>
                    <a:pt x="2804264" y="1896382"/>
                    <a:pt x="2808398" y="1910550"/>
                  </a:cubicBezTo>
                  <a:cubicBezTo>
                    <a:pt x="2806101" y="1923814"/>
                    <a:pt x="2804264" y="1937077"/>
                    <a:pt x="2801968" y="1950341"/>
                  </a:cubicBezTo>
                  <a:cubicBezTo>
                    <a:pt x="2797375" y="1956068"/>
                    <a:pt x="2792323" y="1962097"/>
                    <a:pt x="2787731" y="1967825"/>
                  </a:cubicBezTo>
                  <a:cubicBezTo>
                    <a:pt x="2778086" y="1972045"/>
                    <a:pt x="2768901" y="1976265"/>
                    <a:pt x="2759256" y="1980485"/>
                  </a:cubicBezTo>
                  <a:cubicBezTo>
                    <a:pt x="2753286" y="1986816"/>
                    <a:pt x="2747775" y="1993146"/>
                    <a:pt x="2741804" y="1999476"/>
                  </a:cubicBezTo>
                  <a:lnTo>
                    <a:pt x="2712871" y="2020276"/>
                  </a:lnTo>
                  <a:cubicBezTo>
                    <a:pt x="2711493" y="2014850"/>
                    <a:pt x="2709656" y="2009725"/>
                    <a:pt x="2708278" y="2004299"/>
                  </a:cubicBezTo>
                  <a:cubicBezTo>
                    <a:pt x="2709197" y="1999476"/>
                    <a:pt x="2710574" y="1994955"/>
                    <a:pt x="2711493" y="1990131"/>
                  </a:cubicBezTo>
                  <a:cubicBezTo>
                    <a:pt x="2705982" y="1985911"/>
                    <a:pt x="2700930" y="1981691"/>
                    <a:pt x="2695419" y="1977471"/>
                  </a:cubicBezTo>
                  <a:cubicBezTo>
                    <a:pt x="2688989" y="1976265"/>
                    <a:pt x="2683019" y="1975361"/>
                    <a:pt x="2676589" y="1974155"/>
                  </a:cubicBezTo>
                  <a:cubicBezTo>
                    <a:pt x="2673833" y="1969935"/>
                    <a:pt x="2671537" y="1965715"/>
                    <a:pt x="2668781" y="1961494"/>
                  </a:cubicBezTo>
                  <a:cubicBezTo>
                    <a:pt x="2664648" y="1954561"/>
                    <a:pt x="2660055" y="1947628"/>
                    <a:pt x="2655922" y="1940695"/>
                  </a:cubicBezTo>
                  <a:cubicBezTo>
                    <a:pt x="2649952" y="1936474"/>
                    <a:pt x="2644441" y="1932254"/>
                    <a:pt x="2638470" y="1928034"/>
                  </a:cubicBezTo>
                  <a:lnTo>
                    <a:pt x="2619181" y="1928034"/>
                  </a:lnTo>
                  <a:cubicBezTo>
                    <a:pt x="2620100" y="1922307"/>
                    <a:pt x="2621477" y="1916278"/>
                    <a:pt x="2622396" y="1910550"/>
                  </a:cubicBezTo>
                  <a:lnTo>
                    <a:pt x="2603566" y="1910550"/>
                  </a:lnTo>
                  <a:cubicBezTo>
                    <a:pt x="2602648" y="1919594"/>
                    <a:pt x="2601270" y="1928637"/>
                    <a:pt x="2600351" y="1937680"/>
                  </a:cubicBezTo>
                  <a:cubicBezTo>
                    <a:pt x="2597596" y="1947628"/>
                    <a:pt x="2595299" y="1957877"/>
                    <a:pt x="2592544" y="1967825"/>
                  </a:cubicBezTo>
                  <a:lnTo>
                    <a:pt x="2582899" y="1986816"/>
                  </a:lnTo>
                  <a:lnTo>
                    <a:pt x="2582899" y="2004299"/>
                  </a:lnTo>
                  <a:cubicBezTo>
                    <a:pt x="2587951" y="2005505"/>
                    <a:pt x="2593462" y="2006409"/>
                    <a:pt x="2598514" y="2007615"/>
                  </a:cubicBezTo>
                  <a:lnTo>
                    <a:pt x="2606781" y="2026606"/>
                  </a:lnTo>
                  <a:cubicBezTo>
                    <a:pt x="2607699" y="2033539"/>
                    <a:pt x="2609077" y="2040171"/>
                    <a:pt x="2609996" y="2047104"/>
                  </a:cubicBezTo>
                  <a:cubicBezTo>
                    <a:pt x="2614129" y="2050420"/>
                    <a:pt x="2618262" y="2053435"/>
                    <a:pt x="2622396" y="2056751"/>
                  </a:cubicBezTo>
                  <a:cubicBezTo>
                    <a:pt x="2626529" y="2057956"/>
                    <a:pt x="2631122" y="2058861"/>
                    <a:pt x="2635255" y="2060066"/>
                  </a:cubicBezTo>
                  <a:cubicBezTo>
                    <a:pt x="2639848" y="2064287"/>
                    <a:pt x="2644900" y="2068507"/>
                    <a:pt x="2649492" y="2072727"/>
                  </a:cubicBezTo>
                  <a:lnTo>
                    <a:pt x="2652707" y="2072727"/>
                  </a:lnTo>
                  <a:lnTo>
                    <a:pt x="2668781" y="2086895"/>
                  </a:lnTo>
                  <a:cubicBezTo>
                    <a:pt x="2670619" y="2092321"/>
                    <a:pt x="2672915" y="2097445"/>
                    <a:pt x="2674752" y="2102871"/>
                  </a:cubicBezTo>
                  <a:lnTo>
                    <a:pt x="2674752" y="2117039"/>
                  </a:lnTo>
                  <a:lnTo>
                    <a:pt x="2674752" y="2129700"/>
                  </a:lnTo>
                  <a:lnTo>
                    <a:pt x="2674752" y="2133016"/>
                  </a:lnTo>
                  <a:cubicBezTo>
                    <a:pt x="2675211" y="2138442"/>
                    <a:pt x="2676130" y="2143566"/>
                    <a:pt x="2676589" y="2148992"/>
                  </a:cubicBezTo>
                  <a:lnTo>
                    <a:pt x="2686234" y="2153514"/>
                  </a:lnTo>
                  <a:cubicBezTo>
                    <a:pt x="2688071" y="2161050"/>
                    <a:pt x="2690367" y="2168285"/>
                    <a:pt x="2692204" y="2175821"/>
                  </a:cubicBezTo>
                  <a:lnTo>
                    <a:pt x="2692204" y="2182151"/>
                  </a:lnTo>
                  <a:lnTo>
                    <a:pt x="2676589" y="2182151"/>
                  </a:lnTo>
                  <a:cubicBezTo>
                    <a:pt x="2669700" y="2177026"/>
                    <a:pt x="2662811" y="2171601"/>
                    <a:pt x="2655922" y="2166476"/>
                  </a:cubicBezTo>
                  <a:cubicBezTo>
                    <a:pt x="2646737" y="2160749"/>
                    <a:pt x="2638011" y="2154720"/>
                    <a:pt x="2628826" y="2148992"/>
                  </a:cubicBezTo>
                  <a:cubicBezTo>
                    <a:pt x="2627907" y="2144772"/>
                    <a:pt x="2626529" y="2140250"/>
                    <a:pt x="2625611" y="2136030"/>
                  </a:cubicBezTo>
                  <a:cubicBezTo>
                    <a:pt x="2622396" y="2131810"/>
                    <a:pt x="2619640" y="2127590"/>
                    <a:pt x="2616425" y="2123370"/>
                  </a:cubicBezTo>
                  <a:cubicBezTo>
                    <a:pt x="2615507" y="2117642"/>
                    <a:pt x="2614129" y="2111613"/>
                    <a:pt x="2613211" y="2105886"/>
                  </a:cubicBezTo>
                  <a:cubicBezTo>
                    <a:pt x="2610914" y="2100761"/>
                    <a:pt x="2609077" y="2095335"/>
                    <a:pt x="2606781" y="2090211"/>
                  </a:cubicBezTo>
                  <a:lnTo>
                    <a:pt x="2606781" y="2074234"/>
                  </a:lnTo>
                  <a:cubicBezTo>
                    <a:pt x="2605862" y="2072727"/>
                    <a:pt x="2604485" y="2070918"/>
                    <a:pt x="2603566" y="2069411"/>
                  </a:cubicBezTo>
                  <a:lnTo>
                    <a:pt x="2592544" y="2056751"/>
                  </a:lnTo>
                  <a:lnTo>
                    <a:pt x="2592544" y="2047104"/>
                  </a:lnTo>
                  <a:cubicBezTo>
                    <a:pt x="2587033" y="2043487"/>
                    <a:pt x="2581981" y="2039568"/>
                    <a:pt x="2576469" y="2035951"/>
                  </a:cubicBezTo>
                  <a:lnTo>
                    <a:pt x="2563610" y="2026606"/>
                  </a:lnTo>
                  <a:cubicBezTo>
                    <a:pt x="2563151" y="2030223"/>
                    <a:pt x="2562692" y="2034142"/>
                    <a:pt x="2562232" y="2037760"/>
                  </a:cubicBezTo>
                  <a:cubicBezTo>
                    <a:pt x="2561314" y="2034142"/>
                    <a:pt x="2559936" y="2030223"/>
                    <a:pt x="2559017" y="2026606"/>
                  </a:cubicBezTo>
                  <a:cubicBezTo>
                    <a:pt x="2559936" y="2021180"/>
                    <a:pt x="2561314" y="2016056"/>
                    <a:pt x="2562232" y="2010630"/>
                  </a:cubicBezTo>
                  <a:cubicBezTo>
                    <a:pt x="2563610" y="2003696"/>
                    <a:pt x="2565447" y="1997065"/>
                    <a:pt x="2566825" y="1990131"/>
                  </a:cubicBezTo>
                  <a:cubicBezTo>
                    <a:pt x="2565906" y="1983801"/>
                    <a:pt x="2564529" y="1977169"/>
                    <a:pt x="2563610" y="1970839"/>
                  </a:cubicBezTo>
                  <a:cubicBezTo>
                    <a:pt x="2566825" y="1966016"/>
                    <a:pt x="2570040" y="1961494"/>
                    <a:pt x="2573255" y="1956671"/>
                  </a:cubicBezTo>
                  <a:lnTo>
                    <a:pt x="2563610" y="1944011"/>
                  </a:lnTo>
                  <a:lnTo>
                    <a:pt x="2563610" y="1920197"/>
                  </a:lnTo>
                  <a:cubicBezTo>
                    <a:pt x="2562232" y="1915976"/>
                    <a:pt x="2560395" y="1911756"/>
                    <a:pt x="2559017" y="1907536"/>
                  </a:cubicBezTo>
                  <a:lnTo>
                    <a:pt x="2549373" y="1880406"/>
                  </a:lnTo>
                  <a:cubicBezTo>
                    <a:pt x="2548454" y="1869855"/>
                    <a:pt x="2547077" y="1859305"/>
                    <a:pt x="2546158" y="1848754"/>
                  </a:cubicBezTo>
                  <a:cubicBezTo>
                    <a:pt x="2542943" y="1843027"/>
                    <a:pt x="2540188" y="1836998"/>
                    <a:pt x="2536973" y="1831271"/>
                  </a:cubicBezTo>
                  <a:cubicBezTo>
                    <a:pt x="2533299" y="1836697"/>
                    <a:pt x="2529165" y="1841821"/>
                    <a:pt x="2525491" y="1847247"/>
                  </a:cubicBezTo>
                  <a:lnTo>
                    <a:pt x="2497017" y="1861415"/>
                  </a:lnTo>
                  <a:cubicBezTo>
                    <a:pt x="2493343" y="1860209"/>
                    <a:pt x="2489669" y="1859305"/>
                    <a:pt x="2485995" y="1858099"/>
                  </a:cubicBezTo>
                  <a:cubicBezTo>
                    <a:pt x="2480483" y="1855989"/>
                    <a:pt x="2475431" y="1853879"/>
                    <a:pt x="2469920" y="1851769"/>
                  </a:cubicBezTo>
                  <a:cubicBezTo>
                    <a:pt x="2473135" y="1841821"/>
                    <a:pt x="2476350" y="1831572"/>
                    <a:pt x="2479565" y="1821624"/>
                  </a:cubicBezTo>
                  <a:cubicBezTo>
                    <a:pt x="2478646" y="1814691"/>
                    <a:pt x="2477269" y="1808059"/>
                    <a:pt x="2476350" y="1801126"/>
                  </a:cubicBezTo>
                  <a:cubicBezTo>
                    <a:pt x="2469920" y="1792686"/>
                    <a:pt x="2463950" y="1783944"/>
                    <a:pt x="2457520" y="1775504"/>
                  </a:cubicBezTo>
                  <a:lnTo>
                    <a:pt x="2457520" y="1767666"/>
                  </a:lnTo>
                  <a:cubicBezTo>
                    <a:pt x="2453846" y="1766762"/>
                    <a:pt x="2450172" y="1765556"/>
                    <a:pt x="2446498" y="1764652"/>
                  </a:cubicBezTo>
                  <a:cubicBezTo>
                    <a:pt x="2440987" y="1758321"/>
                    <a:pt x="2435935" y="1751689"/>
                    <a:pt x="2430424" y="1745359"/>
                  </a:cubicBezTo>
                  <a:cubicBezTo>
                    <a:pt x="2428127" y="1741742"/>
                    <a:pt x="2426290" y="1737823"/>
                    <a:pt x="2423994" y="1734206"/>
                  </a:cubicBezTo>
                  <a:lnTo>
                    <a:pt x="2423994" y="1721545"/>
                  </a:lnTo>
                  <a:cubicBezTo>
                    <a:pt x="2423075" y="1718531"/>
                    <a:pt x="2421698" y="1715215"/>
                    <a:pt x="2420779" y="1712200"/>
                  </a:cubicBezTo>
                  <a:lnTo>
                    <a:pt x="2409757" y="1697731"/>
                  </a:lnTo>
                  <a:lnTo>
                    <a:pt x="2390927" y="1697731"/>
                  </a:lnTo>
                  <a:cubicBezTo>
                    <a:pt x="2391845" y="1700444"/>
                    <a:pt x="2393223" y="1703157"/>
                    <a:pt x="2394142" y="1705870"/>
                  </a:cubicBezTo>
                  <a:cubicBezTo>
                    <a:pt x="2390927" y="1710995"/>
                    <a:pt x="2387712" y="1716421"/>
                    <a:pt x="2384497" y="1721545"/>
                  </a:cubicBezTo>
                  <a:lnTo>
                    <a:pt x="2374853" y="1715215"/>
                  </a:lnTo>
                  <a:lnTo>
                    <a:pt x="2373475" y="1721545"/>
                  </a:lnTo>
                  <a:cubicBezTo>
                    <a:pt x="2371179" y="1720641"/>
                    <a:pt x="2369342" y="1719435"/>
                    <a:pt x="2367045" y="1718531"/>
                  </a:cubicBezTo>
                  <a:cubicBezTo>
                    <a:pt x="2364749" y="1717325"/>
                    <a:pt x="2362912" y="1716421"/>
                    <a:pt x="2360616" y="1715215"/>
                  </a:cubicBezTo>
                  <a:cubicBezTo>
                    <a:pt x="2358319" y="1717325"/>
                    <a:pt x="2356482" y="1719435"/>
                    <a:pt x="2354186" y="1721545"/>
                  </a:cubicBezTo>
                  <a:lnTo>
                    <a:pt x="2338571" y="1721545"/>
                  </a:lnTo>
                  <a:lnTo>
                    <a:pt x="2311474" y="1727875"/>
                  </a:lnTo>
                  <a:cubicBezTo>
                    <a:pt x="2312393" y="1732699"/>
                    <a:pt x="2313771" y="1737522"/>
                    <a:pt x="2314689" y="1742345"/>
                  </a:cubicBezTo>
                  <a:cubicBezTo>
                    <a:pt x="2310097" y="1747469"/>
                    <a:pt x="2305045" y="1752895"/>
                    <a:pt x="2300452" y="1758020"/>
                  </a:cubicBezTo>
                  <a:lnTo>
                    <a:pt x="2268763" y="1772489"/>
                  </a:lnTo>
                  <a:cubicBezTo>
                    <a:pt x="2260955" y="1782135"/>
                    <a:pt x="2252689" y="1791480"/>
                    <a:pt x="2244881" y="1801126"/>
                  </a:cubicBezTo>
                  <a:lnTo>
                    <a:pt x="2228807" y="1815294"/>
                  </a:lnTo>
                  <a:cubicBezTo>
                    <a:pt x="2221918" y="1820720"/>
                    <a:pt x="2215029" y="1825845"/>
                    <a:pt x="2208140" y="1831271"/>
                  </a:cubicBezTo>
                  <a:lnTo>
                    <a:pt x="2208140" y="1840615"/>
                  </a:lnTo>
                  <a:cubicBezTo>
                    <a:pt x="2204007" y="1842725"/>
                    <a:pt x="2199873" y="1845137"/>
                    <a:pt x="2195740" y="1847247"/>
                  </a:cubicBezTo>
                  <a:cubicBezTo>
                    <a:pt x="2188851" y="1849960"/>
                    <a:pt x="2181962" y="1852372"/>
                    <a:pt x="2175073" y="1855085"/>
                  </a:cubicBezTo>
                  <a:lnTo>
                    <a:pt x="2165428" y="1855085"/>
                  </a:lnTo>
                  <a:cubicBezTo>
                    <a:pt x="2163132" y="1861415"/>
                    <a:pt x="2161295" y="1867745"/>
                    <a:pt x="2158999" y="1874076"/>
                  </a:cubicBezTo>
                  <a:cubicBezTo>
                    <a:pt x="2159917" y="1884023"/>
                    <a:pt x="2161295" y="1894272"/>
                    <a:pt x="2162214" y="1904220"/>
                  </a:cubicBezTo>
                  <a:cubicBezTo>
                    <a:pt x="2163132" y="1910550"/>
                    <a:pt x="2164510" y="1916881"/>
                    <a:pt x="2165428" y="1923211"/>
                  </a:cubicBezTo>
                  <a:cubicBezTo>
                    <a:pt x="2161295" y="1930144"/>
                    <a:pt x="2156702" y="1937077"/>
                    <a:pt x="2152569" y="1944011"/>
                  </a:cubicBezTo>
                  <a:lnTo>
                    <a:pt x="2152569" y="1961494"/>
                  </a:lnTo>
                  <a:lnTo>
                    <a:pt x="2152569" y="1980485"/>
                  </a:lnTo>
                  <a:lnTo>
                    <a:pt x="2144762" y="1980485"/>
                  </a:lnTo>
                  <a:cubicBezTo>
                    <a:pt x="2140628" y="1986816"/>
                    <a:pt x="2136036" y="1993146"/>
                    <a:pt x="2131902" y="1999476"/>
                  </a:cubicBezTo>
                  <a:lnTo>
                    <a:pt x="2141547" y="2007615"/>
                  </a:lnTo>
                  <a:cubicBezTo>
                    <a:pt x="2134199" y="2008520"/>
                    <a:pt x="2126850" y="2009725"/>
                    <a:pt x="2119502" y="2010630"/>
                  </a:cubicBezTo>
                  <a:cubicBezTo>
                    <a:pt x="2116747" y="2016056"/>
                    <a:pt x="2113991" y="2021180"/>
                    <a:pt x="2111235" y="2026606"/>
                  </a:cubicBezTo>
                  <a:cubicBezTo>
                    <a:pt x="2108939" y="2028716"/>
                    <a:pt x="2107102" y="2030826"/>
                    <a:pt x="2104806" y="2032936"/>
                  </a:cubicBezTo>
                  <a:cubicBezTo>
                    <a:pt x="2097457" y="2025400"/>
                    <a:pt x="2090109" y="2018166"/>
                    <a:pt x="2082761" y="2010630"/>
                  </a:cubicBezTo>
                  <a:cubicBezTo>
                    <a:pt x="2079087" y="2001586"/>
                    <a:pt x="2075413" y="1992844"/>
                    <a:pt x="2071739" y="1983801"/>
                  </a:cubicBezTo>
                  <a:cubicBezTo>
                    <a:pt x="2069442" y="1975964"/>
                    <a:pt x="2067605" y="1967825"/>
                    <a:pt x="2065309" y="1959987"/>
                  </a:cubicBezTo>
                  <a:cubicBezTo>
                    <a:pt x="2062094" y="1956671"/>
                    <a:pt x="2058879" y="1953657"/>
                    <a:pt x="2055665" y="1950341"/>
                  </a:cubicBezTo>
                  <a:cubicBezTo>
                    <a:pt x="2052450" y="1941900"/>
                    <a:pt x="2049694" y="1933460"/>
                    <a:pt x="2046479" y="1925020"/>
                  </a:cubicBezTo>
                  <a:cubicBezTo>
                    <a:pt x="2044183" y="1915976"/>
                    <a:pt x="2042346" y="1906933"/>
                    <a:pt x="2040050" y="1897890"/>
                  </a:cubicBezTo>
                  <a:cubicBezTo>
                    <a:pt x="2038212" y="1893669"/>
                    <a:pt x="2036835" y="1889449"/>
                    <a:pt x="2034998" y="1885229"/>
                  </a:cubicBezTo>
                  <a:cubicBezTo>
                    <a:pt x="2028568" y="1874076"/>
                    <a:pt x="2022598" y="1862922"/>
                    <a:pt x="2016168" y="1851769"/>
                  </a:cubicBezTo>
                  <a:cubicBezTo>
                    <a:pt x="2012034" y="1837902"/>
                    <a:pt x="2007442" y="1824337"/>
                    <a:pt x="2003308" y="1810471"/>
                  </a:cubicBezTo>
                  <a:cubicBezTo>
                    <a:pt x="2002390" y="1800825"/>
                    <a:pt x="2001012" y="1791480"/>
                    <a:pt x="2000094" y="1781834"/>
                  </a:cubicBezTo>
                  <a:lnTo>
                    <a:pt x="2000094" y="1751689"/>
                  </a:lnTo>
                  <a:cubicBezTo>
                    <a:pt x="1998716" y="1744756"/>
                    <a:pt x="1996879" y="1738125"/>
                    <a:pt x="1995501" y="1731191"/>
                  </a:cubicBezTo>
                  <a:cubicBezTo>
                    <a:pt x="1984938" y="1734809"/>
                    <a:pt x="1974375" y="1738727"/>
                    <a:pt x="1963812" y="1742345"/>
                  </a:cubicBezTo>
                  <a:lnTo>
                    <a:pt x="1946360" y="1742345"/>
                  </a:lnTo>
                  <a:cubicBezTo>
                    <a:pt x="1937174" y="1733301"/>
                    <a:pt x="1928448" y="1724258"/>
                    <a:pt x="1919263" y="1715215"/>
                  </a:cubicBezTo>
                  <a:cubicBezTo>
                    <a:pt x="1922019" y="1712200"/>
                    <a:pt x="1924315" y="1708884"/>
                    <a:pt x="1927071" y="1705870"/>
                  </a:cubicBezTo>
                  <a:cubicBezTo>
                    <a:pt x="1926152" y="1703157"/>
                    <a:pt x="1924774" y="1700444"/>
                    <a:pt x="1923856" y="1697731"/>
                  </a:cubicBezTo>
                  <a:cubicBezTo>
                    <a:pt x="1915130" y="1691401"/>
                    <a:pt x="1905945" y="1685070"/>
                    <a:pt x="1897219" y="1678740"/>
                  </a:cubicBezTo>
                  <a:cubicBezTo>
                    <a:pt x="1892626" y="1675424"/>
                    <a:pt x="1887574" y="1672410"/>
                    <a:pt x="1882981" y="1669094"/>
                  </a:cubicBezTo>
                  <a:cubicBezTo>
                    <a:pt x="1879767" y="1664271"/>
                    <a:pt x="1876552" y="1659749"/>
                    <a:pt x="1873337" y="1654926"/>
                  </a:cubicBezTo>
                  <a:lnTo>
                    <a:pt x="1854048" y="1635935"/>
                  </a:lnTo>
                  <a:cubicBezTo>
                    <a:pt x="1840729" y="1636839"/>
                    <a:pt x="1827870" y="1638045"/>
                    <a:pt x="1814551" y="1638950"/>
                  </a:cubicBezTo>
                  <a:lnTo>
                    <a:pt x="1777810" y="1638950"/>
                  </a:lnTo>
                  <a:cubicBezTo>
                    <a:pt x="1767706" y="1640155"/>
                    <a:pt x="1758062" y="1641060"/>
                    <a:pt x="1747958" y="1642265"/>
                  </a:cubicBezTo>
                  <a:lnTo>
                    <a:pt x="1704787" y="1635935"/>
                  </a:lnTo>
                  <a:cubicBezTo>
                    <a:pt x="1696980" y="1634729"/>
                    <a:pt x="1689172" y="1633825"/>
                    <a:pt x="1681365" y="1632619"/>
                  </a:cubicBezTo>
                  <a:cubicBezTo>
                    <a:pt x="1673557" y="1631715"/>
                    <a:pt x="1665290" y="1630509"/>
                    <a:pt x="1657483" y="1629605"/>
                  </a:cubicBezTo>
                  <a:cubicBezTo>
                    <a:pt x="1654268" y="1619657"/>
                    <a:pt x="1651053" y="1609408"/>
                    <a:pt x="1647838" y="1599460"/>
                  </a:cubicBezTo>
                  <a:lnTo>
                    <a:pt x="1638194" y="1593130"/>
                  </a:lnTo>
                  <a:cubicBezTo>
                    <a:pt x="1632223" y="1595240"/>
                    <a:pt x="1626712" y="1597350"/>
                    <a:pt x="1620742" y="1599460"/>
                  </a:cubicBezTo>
                  <a:lnTo>
                    <a:pt x="1598697" y="1612121"/>
                  </a:lnTo>
                  <a:lnTo>
                    <a:pt x="1571601" y="1602475"/>
                  </a:lnTo>
                  <a:lnTo>
                    <a:pt x="1549556" y="1583484"/>
                  </a:lnTo>
                  <a:cubicBezTo>
                    <a:pt x="1542667" y="1580771"/>
                    <a:pt x="1535778" y="1578359"/>
                    <a:pt x="1528889" y="1575646"/>
                  </a:cubicBezTo>
                  <a:cubicBezTo>
                    <a:pt x="1522919" y="1569316"/>
                    <a:pt x="1517407" y="1562684"/>
                    <a:pt x="1511437" y="1556354"/>
                  </a:cubicBezTo>
                  <a:cubicBezTo>
                    <a:pt x="1505926" y="1545201"/>
                    <a:pt x="1500874" y="1534349"/>
                    <a:pt x="1495363" y="1523195"/>
                  </a:cubicBezTo>
                  <a:cubicBezTo>
                    <a:pt x="1492148" y="1524100"/>
                    <a:pt x="1488933" y="1525305"/>
                    <a:pt x="1485718" y="1526210"/>
                  </a:cubicBezTo>
                  <a:lnTo>
                    <a:pt x="1471481" y="1516865"/>
                  </a:lnTo>
                  <a:cubicBezTo>
                    <a:pt x="1468266" y="1521085"/>
                    <a:pt x="1465511" y="1525305"/>
                    <a:pt x="1462296" y="1529525"/>
                  </a:cubicBezTo>
                  <a:cubicBezTo>
                    <a:pt x="1456785" y="1528320"/>
                    <a:pt x="1451733" y="1527415"/>
                    <a:pt x="1446222" y="1526210"/>
                  </a:cubicBezTo>
                  <a:cubicBezTo>
                    <a:pt x="1448518" y="1529525"/>
                    <a:pt x="1450355" y="1532540"/>
                    <a:pt x="1452651" y="1535856"/>
                  </a:cubicBezTo>
                  <a:cubicBezTo>
                    <a:pt x="1451733" y="1537966"/>
                    <a:pt x="1450355" y="1540076"/>
                    <a:pt x="1449436" y="1542186"/>
                  </a:cubicBezTo>
                  <a:cubicBezTo>
                    <a:pt x="1452651" y="1547914"/>
                    <a:pt x="1455866" y="1553942"/>
                    <a:pt x="1459081" y="1559670"/>
                  </a:cubicBezTo>
                  <a:cubicBezTo>
                    <a:pt x="1462296" y="1567206"/>
                    <a:pt x="1465051" y="1574441"/>
                    <a:pt x="1468266" y="1581977"/>
                  </a:cubicBezTo>
                  <a:lnTo>
                    <a:pt x="1476533" y="1586498"/>
                  </a:lnTo>
                  <a:cubicBezTo>
                    <a:pt x="1478370" y="1588608"/>
                    <a:pt x="1480666" y="1591020"/>
                    <a:pt x="1482503" y="1593130"/>
                  </a:cubicBezTo>
                  <a:cubicBezTo>
                    <a:pt x="1486637" y="1597350"/>
                    <a:pt x="1491229" y="1601571"/>
                    <a:pt x="1495363" y="1605791"/>
                  </a:cubicBezTo>
                  <a:cubicBezTo>
                    <a:pt x="1496281" y="1610011"/>
                    <a:pt x="1497659" y="1614231"/>
                    <a:pt x="1498578" y="1618451"/>
                  </a:cubicBezTo>
                  <a:cubicBezTo>
                    <a:pt x="1497659" y="1619959"/>
                    <a:pt x="1496281" y="1621767"/>
                    <a:pt x="1495363" y="1623274"/>
                  </a:cubicBezTo>
                  <a:cubicBezTo>
                    <a:pt x="1496281" y="1626289"/>
                    <a:pt x="1497659" y="1629605"/>
                    <a:pt x="1498578" y="1632619"/>
                  </a:cubicBezTo>
                  <a:lnTo>
                    <a:pt x="1508222" y="1635935"/>
                  </a:lnTo>
                  <a:lnTo>
                    <a:pt x="1508222" y="1645280"/>
                  </a:lnTo>
                  <a:cubicBezTo>
                    <a:pt x="1509141" y="1647390"/>
                    <a:pt x="1510519" y="1649500"/>
                    <a:pt x="1511437" y="1651610"/>
                  </a:cubicBezTo>
                  <a:cubicBezTo>
                    <a:pt x="1510519" y="1646486"/>
                    <a:pt x="1509141" y="1641060"/>
                    <a:pt x="1508222" y="1635935"/>
                  </a:cubicBezTo>
                  <a:cubicBezTo>
                    <a:pt x="1510978" y="1631112"/>
                    <a:pt x="1513274" y="1626289"/>
                    <a:pt x="1516030" y="1621466"/>
                  </a:cubicBezTo>
                  <a:lnTo>
                    <a:pt x="1522459" y="1621466"/>
                  </a:lnTo>
                  <a:cubicBezTo>
                    <a:pt x="1524756" y="1622973"/>
                    <a:pt x="1526593" y="1624782"/>
                    <a:pt x="1528889" y="1626289"/>
                  </a:cubicBezTo>
                  <a:cubicBezTo>
                    <a:pt x="1529808" y="1630509"/>
                    <a:pt x="1531185" y="1634729"/>
                    <a:pt x="1532104" y="1638950"/>
                  </a:cubicBezTo>
                  <a:lnTo>
                    <a:pt x="1525674" y="1654926"/>
                  </a:lnTo>
                  <a:cubicBezTo>
                    <a:pt x="1526593" y="1657639"/>
                    <a:pt x="1527971" y="1660051"/>
                    <a:pt x="1528889" y="1662764"/>
                  </a:cubicBezTo>
                  <a:cubicBezTo>
                    <a:pt x="1531185" y="1661859"/>
                    <a:pt x="1533022" y="1660654"/>
                    <a:pt x="1535319" y="1659749"/>
                  </a:cubicBezTo>
                  <a:lnTo>
                    <a:pt x="1535319" y="1669094"/>
                  </a:lnTo>
                  <a:cubicBezTo>
                    <a:pt x="1541289" y="1666984"/>
                    <a:pt x="1546800" y="1664874"/>
                    <a:pt x="1552771" y="1662764"/>
                  </a:cubicBezTo>
                  <a:cubicBezTo>
                    <a:pt x="1557823" y="1663969"/>
                    <a:pt x="1563334" y="1664874"/>
                    <a:pt x="1568386" y="1666079"/>
                  </a:cubicBezTo>
                  <a:lnTo>
                    <a:pt x="1584460" y="1666079"/>
                  </a:lnTo>
                  <a:cubicBezTo>
                    <a:pt x="1589053" y="1661256"/>
                    <a:pt x="1594104" y="1656433"/>
                    <a:pt x="1598697" y="1651610"/>
                  </a:cubicBezTo>
                  <a:cubicBezTo>
                    <a:pt x="1603749" y="1646486"/>
                    <a:pt x="1609260" y="1641060"/>
                    <a:pt x="1614312" y="1635935"/>
                  </a:cubicBezTo>
                  <a:cubicBezTo>
                    <a:pt x="1618905" y="1631112"/>
                    <a:pt x="1623957" y="1626289"/>
                    <a:pt x="1628549" y="1621466"/>
                  </a:cubicBezTo>
                  <a:cubicBezTo>
                    <a:pt x="1629468" y="1624179"/>
                    <a:pt x="1630846" y="1626892"/>
                    <a:pt x="1631764" y="1629605"/>
                  </a:cubicBezTo>
                  <a:cubicBezTo>
                    <a:pt x="1632683" y="1635935"/>
                    <a:pt x="1634060" y="1642265"/>
                    <a:pt x="1634979" y="1648596"/>
                  </a:cubicBezTo>
                  <a:cubicBezTo>
                    <a:pt x="1638194" y="1653419"/>
                    <a:pt x="1641409" y="1657941"/>
                    <a:pt x="1644624" y="1662764"/>
                  </a:cubicBezTo>
                  <a:cubicBezTo>
                    <a:pt x="1648757" y="1666079"/>
                    <a:pt x="1653350" y="1669094"/>
                    <a:pt x="1657483" y="1672410"/>
                  </a:cubicBezTo>
                  <a:cubicBezTo>
                    <a:pt x="1662076" y="1673314"/>
                    <a:pt x="1667127" y="1674520"/>
                    <a:pt x="1671720" y="1675424"/>
                  </a:cubicBezTo>
                  <a:cubicBezTo>
                    <a:pt x="1676772" y="1677534"/>
                    <a:pt x="1682283" y="1679946"/>
                    <a:pt x="1687335" y="1682056"/>
                  </a:cubicBezTo>
                  <a:cubicBezTo>
                    <a:pt x="1691468" y="1686276"/>
                    <a:pt x="1696061" y="1690496"/>
                    <a:pt x="1700194" y="1694717"/>
                  </a:cubicBezTo>
                  <a:cubicBezTo>
                    <a:pt x="1700654" y="1696224"/>
                    <a:pt x="1701113" y="1698033"/>
                    <a:pt x="1701572" y="1699540"/>
                  </a:cubicBezTo>
                  <a:cubicBezTo>
                    <a:pt x="1704787" y="1700444"/>
                    <a:pt x="1708002" y="1701650"/>
                    <a:pt x="1711217" y="1702554"/>
                  </a:cubicBezTo>
                  <a:lnTo>
                    <a:pt x="1711217" y="1708884"/>
                  </a:lnTo>
                  <a:lnTo>
                    <a:pt x="1701572" y="1721545"/>
                  </a:lnTo>
                  <a:lnTo>
                    <a:pt x="1700194" y="1727875"/>
                  </a:lnTo>
                  <a:lnTo>
                    <a:pt x="1690550" y="1736014"/>
                  </a:lnTo>
                  <a:cubicBezTo>
                    <a:pt x="1687335" y="1741139"/>
                    <a:pt x="1684579" y="1746565"/>
                    <a:pt x="1681365" y="1751689"/>
                  </a:cubicBezTo>
                  <a:lnTo>
                    <a:pt x="1671720" y="1751689"/>
                  </a:lnTo>
                  <a:cubicBezTo>
                    <a:pt x="1669424" y="1753800"/>
                    <a:pt x="1667587" y="1755910"/>
                    <a:pt x="1665290" y="1758020"/>
                  </a:cubicBezTo>
                  <a:cubicBezTo>
                    <a:pt x="1664372" y="1761336"/>
                    <a:pt x="1662994" y="1764350"/>
                    <a:pt x="1662076" y="1767666"/>
                  </a:cubicBezTo>
                  <a:cubicBezTo>
                    <a:pt x="1662994" y="1773393"/>
                    <a:pt x="1664372" y="1779422"/>
                    <a:pt x="1665290" y="1785150"/>
                  </a:cubicBezTo>
                  <a:lnTo>
                    <a:pt x="1662076" y="1785150"/>
                  </a:lnTo>
                  <a:lnTo>
                    <a:pt x="1654268" y="1785150"/>
                  </a:lnTo>
                  <a:cubicBezTo>
                    <a:pt x="1650135" y="1788466"/>
                    <a:pt x="1645542" y="1791480"/>
                    <a:pt x="1641409" y="1794796"/>
                  </a:cubicBezTo>
                  <a:cubicBezTo>
                    <a:pt x="1640490" y="1797810"/>
                    <a:pt x="1639112" y="1801126"/>
                    <a:pt x="1638194" y="1804141"/>
                  </a:cubicBezTo>
                  <a:cubicBezTo>
                    <a:pt x="1635897" y="1806251"/>
                    <a:pt x="1634060" y="1808361"/>
                    <a:pt x="1631764" y="1810471"/>
                  </a:cubicBezTo>
                  <a:lnTo>
                    <a:pt x="1617527" y="1810471"/>
                  </a:lnTo>
                  <a:cubicBezTo>
                    <a:pt x="1615231" y="1811978"/>
                    <a:pt x="1613394" y="1813787"/>
                    <a:pt x="1611097" y="1815294"/>
                  </a:cubicBezTo>
                  <a:lnTo>
                    <a:pt x="1611097" y="1824940"/>
                  </a:lnTo>
                  <a:lnTo>
                    <a:pt x="1598697" y="1831271"/>
                  </a:lnTo>
                  <a:cubicBezTo>
                    <a:pt x="1595023" y="1830065"/>
                    <a:pt x="1591349" y="1829161"/>
                    <a:pt x="1587675" y="1827955"/>
                  </a:cubicBezTo>
                  <a:cubicBezTo>
                    <a:pt x="1583541" y="1831271"/>
                    <a:pt x="1578949" y="1834285"/>
                    <a:pt x="1574815" y="1837601"/>
                  </a:cubicBezTo>
                  <a:lnTo>
                    <a:pt x="1561956" y="1840615"/>
                  </a:lnTo>
                  <a:lnTo>
                    <a:pt x="1547719" y="1847247"/>
                  </a:lnTo>
                  <a:cubicBezTo>
                    <a:pt x="1545423" y="1849960"/>
                    <a:pt x="1543585" y="1852372"/>
                    <a:pt x="1541289" y="1855085"/>
                  </a:cubicBezTo>
                  <a:lnTo>
                    <a:pt x="1541289" y="1861415"/>
                  </a:lnTo>
                  <a:cubicBezTo>
                    <a:pt x="1533941" y="1864731"/>
                    <a:pt x="1526593" y="1867745"/>
                    <a:pt x="1519245" y="1871061"/>
                  </a:cubicBezTo>
                  <a:lnTo>
                    <a:pt x="1485718" y="1883722"/>
                  </a:lnTo>
                  <a:cubicBezTo>
                    <a:pt x="1478829" y="1888545"/>
                    <a:pt x="1471940" y="1893067"/>
                    <a:pt x="1465051" y="1897890"/>
                  </a:cubicBezTo>
                  <a:cubicBezTo>
                    <a:pt x="1460918" y="1899095"/>
                    <a:pt x="1456785" y="1900000"/>
                    <a:pt x="1452651" y="1901206"/>
                  </a:cubicBezTo>
                  <a:cubicBezTo>
                    <a:pt x="1450355" y="1900000"/>
                    <a:pt x="1448518" y="1899095"/>
                    <a:pt x="1446222" y="1897890"/>
                  </a:cubicBezTo>
                  <a:cubicBezTo>
                    <a:pt x="1442547" y="1901206"/>
                    <a:pt x="1438873" y="1904220"/>
                    <a:pt x="1435199" y="1907536"/>
                  </a:cubicBezTo>
                  <a:cubicBezTo>
                    <a:pt x="1431066" y="1908440"/>
                    <a:pt x="1426473" y="1909646"/>
                    <a:pt x="1422340" y="1910550"/>
                  </a:cubicBezTo>
                  <a:cubicBezTo>
                    <a:pt x="1415910" y="1911756"/>
                    <a:pt x="1409940" y="1912660"/>
                    <a:pt x="1403510" y="1913866"/>
                  </a:cubicBezTo>
                  <a:lnTo>
                    <a:pt x="1398458" y="1913866"/>
                  </a:lnTo>
                  <a:cubicBezTo>
                    <a:pt x="1396162" y="1915976"/>
                    <a:pt x="1394325" y="1918086"/>
                    <a:pt x="1392028" y="1920197"/>
                  </a:cubicBezTo>
                  <a:cubicBezTo>
                    <a:pt x="1390191" y="1921101"/>
                    <a:pt x="1387895" y="1922307"/>
                    <a:pt x="1386058" y="1923211"/>
                  </a:cubicBezTo>
                  <a:cubicBezTo>
                    <a:pt x="1385140" y="1923814"/>
                    <a:pt x="1383762" y="1924417"/>
                    <a:pt x="1382843" y="1925020"/>
                  </a:cubicBezTo>
                  <a:lnTo>
                    <a:pt x="1369984" y="1925020"/>
                  </a:lnTo>
                  <a:cubicBezTo>
                    <a:pt x="1369065" y="1925924"/>
                    <a:pt x="1367687" y="1927130"/>
                    <a:pt x="1366769" y="1928034"/>
                  </a:cubicBezTo>
                  <a:lnTo>
                    <a:pt x="1349317" y="1928034"/>
                  </a:lnTo>
                  <a:cubicBezTo>
                    <a:pt x="1348398" y="1924417"/>
                    <a:pt x="1347021" y="1920498"/>
                    <a:pt x="1346102" y="1916881"/>
                  </a:cubicBezTo>
                  <a:lnTo>
                    <a:pt x="1346102" y="1904220"/>
                  </a:lnTo>
                  <a:cubicBezTo>
                    <a:pt x="1345184" y="1902110"/>
                    <a:pt x="1343806" y="1900000"/>
                    <a:pt x="1342887" y="1897890"/>
                  </a:cubicBezTo>
                  <a:cubicBezTo>
                    <a:pt x="1340591" y="1892162"/>
                    <a:pt x="1338754" y="1886133"/>
                    <a:pt x="1336458" y="1880406"/>
                  </a:cubicBezTo>
                  <a:cubicBezTo>
                    <a:pt x="1334621" y="1877392"/>
                    <a:pt x="1332324" y="1874076"/>
                    <a:pt x="1330487" y="1871061"/>
                  </a:cubicBezTo>
                  <a:lnTo>
                    <a:pt x="1333702" y="1871061"/>
                  </a:lnTo>
                  <a:cubicBezTo>
                    <a:pt x="1332783" y="1867745"/>
                    <a:pt x="1331406" y="1864731"/>
                    <a:pt x="1330487" y="1861415"/>
                  </a:cubicBezTo>
                  <a:cubicBezTo>
                    <a:pt x="1331406" y="1859305"/>
                    <a:pt x="1332783" y="1857195"/>
                    <a:pt x="1333702" y="1855085"/>
                  </a:cubicBezTo>
                  <a:lnTo>
                    <a:pt x="1333702" y="1847247"/>
                  </a:lnTo>
                  <a:cubicBezTo>
                    <a:pt x="1332783" y="1843931"/>
                    <a:pt x="1331406" y="1840917"/>
                    <a:pt x="1330487" y="1837601"/>
                  </a:cubicBezTo>
                  <a:cubicBezTo>
                    <a:pt x="1328191" y="1834285"/>
                    <a:pt x="1326354" y="1831271"/>
                    <a:pt x="1324057" y="1827955"/>
                  </a:cubicBezTo>
                  <a:lnTo>
                    <a:pt x="1324057" y="1818610"/>
                  </a:lnTo>
                  <a:lnTo>
                    <a:pt x="1313035" y="1812280"/>
                  </a:lnTo>
                  <a:cubicBezTo>
                    <a:pt x="1308902" y="1805346"/>
                    <a:pt x="1304309" y="1798413"/>
                    <a:pt x="1300176" y="1791480"/>
                  </a:cubicBezTo>
                  <a:cubicBezTo>
                    <a:pt x="1297879" y="1785150"/>
                    <a:pt x="1296042" y="1778819"/>
                    <a:pt x="1293746" y="1772489"/>
                  </a:cubicBezTo>
                  <a:cubicBezTo>
                    <a:pt x="1289153" y="1767666"/>
                    <a:pt x="1284101" y="1762843"/>
                    <a:pt x="1279509" y="1758020"/>
                  </a:cubicBezTo>
                  <a:cubicBezTo>
                    <a:pt x="1275375" y="1757115"/>
                    <a:pt x="1270783" y="1755910"/>
                    <a:pt x="1266649" y="1755005"/>
                  </a:cubicBezTo>
                  <a:cubicBezTo>
                    <a:pt x="1261598" y="1748072"/>
                    <a:pt x="1256086" y="1741139"/>
                    <a:pt x="1251035" y="1734206"/>
                  </a:cubicBezTo>
                  <a:cubicBezTo>
                    <a:pt x="1250575" y="1729081"/>
                    <a:pt x="1249657" y="1723655"/>
                    <a:pt x="1249197" y="1718531"/>
                  </a:cubicBezTo>
                  <a:lnTo>
                    <a:pt x="1249197" y="1699540"/>
                  </a:lnTo>
                  <a:lnTo>
                    <a:pt x="1236797" y="1678740"/>
                  </a:lnTo>
                  <a:lnTo>
                    <a:pt x="1227153" y="1666079"/>
                  </a:lnTo>
                  <a:cubicBezTo>
                    <a:pt x="1223019" y="1663969"/>
                    <a:pt x="1218427" y="1661859"/>
                    <a:pt x="1214293" y="1659749"/>
                  </a:cubicBezTo>
                  <a:cubicBezTo>
                    <a:pt x="1212916" y="1656132"/>
                    <a:pt x="1211079" y="1652213"/>
                    <a:pt x="1209701" y="1648596"/>
                  </a:cubicBezTo>
                  <a:lnTo>
                    <a:pt x="1211079" y="1642265"/>
                  </a:lnTo>
                  <a:cubicBezTo>
                    <a:pt x="1208323" y="1638950"/>
                    <a:pt x="1206027" y="1635935"/>
                    <a:pt x="1203271" y="1632619"/>
                  </a:cubicBezTo>
                  <a:cubicBezTo>
                    <a:pt x="1200975" y="1630509"/>
                    <a:pt x="1199138" y="1628399"/>
                    <a:pt x="1196841" y="1626289"/>
                  </a:cubicBezTo>
                  <a:cubicBezTo>
                    <a:pt x="1194545" y="1620561"/>
                    <a:pt x="1192708" y="1614533"/>
                    <a:pt x="1190412" y="1608805"/>
                  </a:cubicBezTo>
                  <a:cubicBezTo>
                    <a:pt x="1185360" y="1602475"/>
                    <a:pt x="1179849" y="1596145"/>
                    <a:pt x="1174797" y="1589814"/>
                  </a:cubicBezTo>
                  <a:cubicBezTo>
                    <a:pt x="1171123" y="1584991"/>
                    <a:pt x="1167449" y="1580469"/>
                    <a:pt x="1163774" y="1575646"/>
                  </a:cubicBezTo>
                  <a:lnTo>
                    <a:pt x="1150915" y="1575646"/>
                  </a:lnTo>
                  <a:cubicBezTo>
                    <a:pt x="1153211" y="1570220"/>
                    <a:pt x="1155048" y="1565096"/>
                    <a:pt x="1157345" y="1559670"/>
                  </a:cubicBezTo>
                  <a:lnTo>
                    <a:pt x="1157345" y="1553340"/>
                  </a:lnTo>
                  <a:cubicBezTo>
                    <a:pt x="1158263" y="1549722"/>
                    <a:pt x="1159641" y="1545803"/>
                    <a:pt x="1160560" y="1542186"/>
                  </a:cubicBezTo>
                  <a:lnTo>
                    <a:pt x="1160560" y="1538870"/>
                  </a:lnTo>
                  <a:lnTo>
                    <a:pt x="1150915" y="1547009"/>
                  </a:lnTo>
                  <a:cubicBezTo>
                    <a:pt x="1149996" y="1553340"/>
                    <a:pt x="1148619" y="1559670"/>
                    <a:pt x="1147700" y="1566000"/>
                  </a:cubicBezTo>
                  <a:cubicBezTo>
                    <a:pt x="1145404" y="1570220"/>
                    <a:pt x="1143567" y="1574441"/>
                    <a:pt x="1141270" y="1578661"/>
                  </a:cubicBezTo>
                  <a:cubicBezTo>
                    <a:pt x="1139893" y="1579867"/>
                    <a:pt x="1138056" y="1580771"/>
                    <a:pt x="1136678" y="1581977"/>
                  </a:cubicBezTo>
                  <a:cubicBezTo>
                    <a:pt x="1134382" y="1579867"/>
                    <a:pt x="1132544" y="1577756"/>
                    <a:pt x="1130248" y="1575646"/>
                  </a:cubicBezTo>
                  <a:cubicBezTo>
                    <a:pt x="1127033" y="1572331"/>
                    <a:pt x="1123818" y="1569316"/>
                    <a:pt x="1120604" y="1566000"/>
                  </a:cubicBezTo>
                  <a:cubicBezTo>
                    <a:pt x="1115552" y="1554847"/>
                    <a:pt x="1110041" y="1543693"/>
                    <a:pt x="1104989" y="1532540"/>
                  </a:cubicBezTo>
                  <a:lnTo>
                    <a:pt x="1101774" y="1532540"/>
                  </a:lnTo>
                  <a:lnTo>
                    <a:pt x="1111418" y="1559670"/>
                  </a:lnTo>
                  <a:cubicBezTo>
                    <a:pt x="1116470" y="1567206"/>
                    <a:pt x="1121981" y="1574441"/>
                    <a:pt x="1127033" y="1581977"/>
                  </a:cubicBezTo>
                  <a:cubicBezTo>
                    <a:pt x="1131626" y="1595240"/>
                    <a:pt x="1136678" y="1608202"/>
                    <a:pt x="1141270" y="1621466"/>
                  </a:cubicBezTo>
                  <a:cubicBezTo>
                    <a:pt x="1143567" y="1625083"/>
                    <a:pt x="1145404" y="1629002"/>
                    <a:pt x="1147700" y="1632619"/>
                  </a:cubicBezTo>
                  <a:lnTo>
                    <a:pt x="1157345" y="1645280"/>
                  </a:lnTo>
                  <a:cubicBezTo>
                    <a:pt x="1163315" y="1654323"/>
                    <a:pt x="1168826" y="1663366"/>
                    <a:pt x="1174797" y="1672410"/>
                  </a:cubicBezTo>
                  <a:cubicBezTo>
                    <a:pt x="1174337" y="1673314"/>
                    <a:pt x="1173419" y="1674520"/>
                    <a:pt x="1172960" y="1675424"/>
                  </a:cubicBezTo>
                  <a:cubicBezTo>
                    <a:pt x="1173419" y="1680850"/>
                    <a:pt x="1174337" y="1685975"/>
                    <a:pt x="1174797" y="1691401"/>
                  </a:cubicBezTo>
                  <a:lnTo>
                    <a:pt x="1196841" y="1712200"/>
                  </a:lnTo>
                  <a:cubicBezTo>
                    <a:pt x="1199138" y="1713105"/>
                    <a:pt x="1200975" y="1714310"/>
                    <a:pt x="1203271" y="1715215"/>
                  </a:cubicBezTo>
                  <a:cubicBezTo>
                    <a:pt x="1205567" y="1723052"/>
                    <a:pt x="1207404" y="1731191"/>
                    <a:pt x="1209701" y="1739029"/>
                  </a:cubicBezTo>
                  <a:cubicBezTo>
                    <a:pt x="1208782" y="1740235"/>
                    <a:pt x="1207404" y="1741139"/>
                    <a:pt x="1206486" y="1742345"/>
                  </a:cubicBezTo>
                  <a:cubicBezTo>
                    <a:pt x="1207404" y="1750785"/>
                    <a:pt x="1208782" y="1759226"/>
                    <a:pt x="1209701" y="1767666"/>
                  </a:cubicBezTo>
                  <a:cubicBezTo>
                    <a:pt x="1211079" y="1776709"/>
                    <a:pt x="1212916" y="1785753"/>
                    <a:pt x="1214293" y="1794796"/>
                  </a:cubicBezTo>
                  <a:lnTo>
                    <a:pt x="1223938" y="1801126"/>
                  </a:lnTo>
                  <a:cubicBezTo>
                    <a:pt x="1228071" y="1803236"/>
                    <a:pt x="1232664" y="1805346"/>
                    <a:pt x="1236797" y="1807457"/>
                  </a:cubicBezTo>
                  <a:cubicBezTo>
                    <a:pt x="1240931" y="1816500"/>
                    <a:pt x="1245064" y="1825242"/>
                    <a:pt x="1249197" y="1834285"/>
                  </a:cubicBezTo>
                  <a:cubicBezTo>
                    <a:pt x="1251035" y="1841218"/>
                    <a:pt x="1252412" y="1848151"/>
                    <a:pt x="1254249" y="1855085"/>
                  </a:cubicBezTo>
                  <a:cubicBezTo>
                    <a:pt x="1258383" y="1858099"/>
                    <a:pt x="1262516" y="1861415"/>
                    <a:pt x="1266649" y="1864429"/>
                  </a:cubicBezTo>
                  <a:cubicBezTo>
                    <a:pt x="1277672" y="1871363"/>
                    <a:pt x="1289153" y="1878296"/>
                    <a:pt x="1300176" y="1885229"/>
                  </a:cubicBezTo>
                  <a:cubicBezTo>
                    <a:pt x="1304309" y="1890655"/>
                    <a:pt x="1308902" y="1895780"/>
                    <a:pt x="1313035" y="1901206"/>
                  </a:cubicBezTo>
                  <a:lnTo>
                    <a:pt x="1324057" y="1913866"/>
                  </a:lnTo>
                  <a:cubicBezTo>
                    <a:pt x="1324976" y="1916881"/>
                    <a:pt x="1326354" y="1920197"/>
                    <a:pt x="1327272" y="1923211"/>
                  </a:cubicBezTo>
                  <a:lnTo>
                    <a:pt x="1342887" y="1925020"/>
                  </a:lnTo>
                  <a:cubicBezTo>
                    <a:pt x="1343806" y="1928034"/>
                    <a:pt x="1345184" y="1931350"/>
                    <a:pt x="1346102" y="1934364"/>
                  </a:cubicBezTo>
                  <a:lnTo>
                    <a:pt x="1346102" y="1944011"/>
                  </a:lnTo>
                  <a:lnTo>
                    <a:pt x="1333702" y="1950341"/>
                  </a:lnTo>
                  <a:cubicBezTo>
                    <a:pt x="1336917" y="1952451"/>
                    <a:pt x="1339672" y="1954561"/>
                    <a:pt x="1342887" y="1956671"/>
                  </a:cubicBezTo>
                  <a:cubicBezTo>
                    <a:pt x="1345184" y="1957877"/>
                    <a:pt x="1347021" y="1958781"/>
                    <a:pt x="1349317" y="1959987"/>
                  </a:cubicBezTo>
                  <a:cubicBezTo>
                    <a:pt x="1350235" y="1962700"/>
                    <a:pt x="1351613" y="1965112"/>
                    <a:pt x="1352532" y="1967825"/>
                  </a:cubicBezTo>
                  <a:cubicBezTo>
                    <a:pt x="1356206" y="1971141"/>
                    <a:pt x="1359880" y="1974155"/>
                    <a:pt x="1363554" y="1977471"/>
                  </a:cubicBezTo>
                  <a:lnTo>
                    <a:pt x="1373199" y="1977471"/>
                  </a:lnTo>
                  <a:cubicBezTo>
                    <a:pt x="1380547" y="1975361"/>
                    <a:pt x="1387895" y="1972949"/>
                    <a:pt x="1395243" y="1970839"/>
                  </a:cubicBezTo>
                  <a:cubicBezTo>
                    <a:pt x="1403051" y="1969935"/>
                    <a:pt x="1411318" y="1968729"/>
                    <a:pt x="1419125" y="1967825"/>
                  </a:cubicBezTo>
                  <a:cubicBezTo>
                    <a:pt x="1426014" y="1966619"/>
                    <a:pt x="1432903" y="1965715"/>
                    <a:pt x="1439792" y="1964509"/>
                  </a:cubicBezTo>
                  <a:cubicBezTo>
                    <a:pt x="1443007" y="1963604"/>
                    <a:pt x="1446222" y="1962399"/>
                    <a:pt x="1449436" y="1961494"/>
                  </a:cubicBezTo>
                  <a:cubicBezTo>
                    <a:pt x="1452651" y="1959987"/>
                    <a:pt x="1455866" y="1958178"/>
                    <a:pt x="1459081" y="1956671"/>
                  </a:cubicBezTo>
                  <a:lnTo>
                    <a:pt x="1471481" y="1956671"/>
                  </a:lnTo>
                  <a:lnTo>
                    <a:pt x="1476533" y="1956671"/>
                  </a:lnTo>
                  <a:cubicBezTo>
                    <a:pt x="1480666" y="1955767"/>
                    <a:pt x="1484800" y="1954561"/>
                    <a:pt x="1488933" y="1953657"/>
                  </a:cubicBezTo>
                  <a:cubicBezTo>
                    <a:pt x="1492148" y="1952451"/>
                    <a:pt x="1495363" y="1951547"/>
                    <a:pt x="1498578" y="1950341"/>
                  </a:cubicBezTo>
                  <a:lnTo>
                    <a:pt x="1508222" y="1944011"/>
                  </a:lnTo>
                  <a:lnTo>
                    <a:pt x="1516030" y="1944011"/>
                  </a:lnTo>
                  <a:cubicBezTo>
                    <a:pt x="1516948" y="1946121"/>
                    <a:pt x="1518326" y="1948231"/>
                    <a:pt x="1519245" y="1950341"/>
                  </a:cubicBezTo>
                  <a:cubicBezTo>
                    <a:pt x="1518326" y="1953958"/>
                    <a:pt x="1516948" y="1957877"/>
                    <a:pt x="1516030" y="1961494"/>
                  </a:cubicBezTo>
                  <a:lnTo>
                    <a:pt x="1516030" y="1974155"/>
                  </a:lnTo>
                  <a:cubicBezTo>
                    <a:pt x="1514652" y="1977471"/>
                    <a:pt x="1512815" y="1980485"/>
                    <a:pt x="1511437" y="1983801"/>
                  </a:cubicBezTo>
                  <a:cubicBezTo>
                    <a:pt x="1510519" y="1991639"/>
                    <a:pt x="1509141" y="1999778"/>
                    <a:pt x="1508222" y="2007615"/>
                  </a:cubicBezTo>
                  <a:cubicBezTo>
                    <a:pt x="1504089" y="2014850"/>
                    <a:pt x="1499496" y="2022386"/>
                    <a:pt x="1495363" y="2029621"/>
                  </a:cubicBezTo>
                  <a:cubicBezTo>
                    <a:pt x="1491229" y="2039870"/>
                    <a:pt x="1486637" y="2049817"/>
                    <a:pt x="1482503" y="2060066"/>
                  </a:cubicBezTo>
                  <a:cubicBezTo>
                    <a:pt x="1475614" y="2070014"/>
                    <a:pt x="1469185" y="2080263"/>
                    <a:pt x="1462296" y="2090211"/>
                  </a:cubicBezTo>
                  <a:cubicBezTo>
                    <a:pt x="1455866" y="2098048"/>
                    <a:pt x="1449436" y="2106187"/>
                    <a:pt x="1443007" y="2114025"/>
                  </a:cubicBezTo>
                  <a:cubicBezTo>
                    <a:pt x="1435199" y="2125781"/>
                    <a:pt x="1426933" y="2137236"/>
                    <a:pt x="1419125" y="2148992"/>
                  </a:cubicBezTo>
                  <a:lnTo>
                    <a:pt x="1395243" y="2166476"/>
                  </a:lnTo>
                  <a:cubicBezTo>
                    <a:pt x="1384680" y="2173409"/>
                    <a:pt x="1374117" y="2180041"/>
                    <a:pt x="1363554" y="2186974"/>
                  </a:cubicBezTo>
                  <a:cubicBezTo>
                    <a:pt x="1356665" y="2192400"/>
                    <a:pt x="1349776" y="2197525"/>
                    <a:pt x="1342887" y="2202951"/>
                  </a:cubicBezTo>
                  <a:cubicBezTo>
                    <a:pt x="1335080" y="2211994"/>
                    <a:pt x="1326813" y="2220736"/>
                    <a:pt x="1319006" y="2229779"/>
                  </a:cubicBezTo>
                  <a:cubicBezTo>
                    <a:pt x="1317168" y="2233999"/>
                    <a:pt x="1314872" y="2238220"/>
                    <a:pt x="1313035" y="2242440"/>
                  </a:cubicBezTo>
                  <a:cubicBezTo>
                    <a:pt x="1312117" y="2244550"/>
                    <a:pt x="1310739" y="2246660"/>
                    <a:pt x="1309820" y="2248770"/>
                  </a:cubicBezTo>
                  <a:cubicBezTo>
                    <a:pt x="1303391" y="2250880"/>
                    <a:pt x="1296961" y="2253292"/>
                    <a:pt x="1290531" y="2255402"/>
                  </a:cubicBezTo>
                  <a:cubicBezTo>
                    <a:pt x="1289153" y="2258115"/>
                    <a:pt x="1287316" y="2260526"/>
                    <a:pt x="1285939" y="2263239"/>
                  </a:cubicBezTo>
                  <a:cubicBezTo>
                    <a:pt x="1283642" y="2264144"/>
                    <a:pt x="1281805" y="2265349"/>
                    <a:pt x="1279509" y="2266254"/>
                  </a:cubicBezTo>
                  <a:cubicBezTo>
                    <a:pt x="1278590" y="2271680"/>
                    <a:pt x="1277213" y="2276804"/>
                    <a:pt x="1276294" y="2282230"/>
                  </a:cubicBezTo>
                  <a:cubicBezTo>
                    <a:pt x="1273079" y="2285546"/>
                    <a:pt x="1269864" y="2288561"/>
                    <a:pt x="1266649" y="2291877"/>
                  </a:cubicBezTo>
                  <a:cubicBezTo>
                    <a:pt x="1265731" y="2296700"/>
                    <a:pt x="1264353" y="2301221"/>
                    <a:pt x="1263435" y="2306044"/>
                  </a:cubicBezTo>
                  <a:lnTo>
                    <a:pt x="1251035" y="2312375"/>
                  </a:lnTo>
                  <a:cubicBezTo>
                    <a:pt x="1248279" y="2322322"/>
                    <a:pt x="1245983" y="2332571"/>
                    <a:pt x="1243227" y="2342519"/>
                  </a:cubicBezTo>
                  <a:lnTo>
                    <a:pt x="1245983" y="2355180"/>
                  </a:lnTo>
                  <a:lnTo>
                    <a:pt x="1257464" y="2361811"/>
                  </a:lnTo>
                  <a:lnTo>
                    <a:pt x="1257464" y="2368142"/>
                  </a:lnTo>
                  <a:cubicBezTo>
                    <a:pt x="1255168" y="2371759"/>
                    <a:pt x="1253331" y="2375678"/>
                    <a:pt x="1251035" y="2379295"/>
                  </a:cubicBezTo>
                  <a:cubicBezTo>
                    <a:pt x="1251953" y="2381405"/>
                    <a:pt x="1253331" y="2383515"/>
                    <a:pt x="1254249" y="2385626"/>
                  </a:cubicBezTo>
                  <a:cubicBezTo>
                    <a:pt x="1253331" y="2389846"/>
                    <a:pt x="1251953" y="2394066"/>
                    <a:pt x="1251035" y="2398286"/>
                  </a:cubicBezTo>
                  <a:cubicBezTo>
                    <a:pt x="1254249" y="2403411"/>
                    <a:pt x="1257464" y="2408837"/>
                    <a:pt x="1260679" y="2413961"/>
                  </a:cubicBezTo>
                  <a:cubicBezTo>
                    <a:pt x="1263894" y="2420894"/>
                    <a:pt x="1266649" y="2427828"/>
                    <a:pt x="1269864" y="2434761"/>
                  </a:cubicBezTo>
                  <a:lnTo>
                    <a:pt x="1279509" y="2441091"/>
                  </a:lnTo>
                  <a:cubicBezTo>
                    <a:pt x="1280427" y="2444407"/>
                    <a:pt x="1281805" y="2447421"/>
                    <a:pt x="1282724" y="2450737"/>
                  </a:cubicBezTo>
                  <a:lnTo>
                    <a:pt x="1282724" y="2471236"/>
                  </a:lnTo>
                  <a:cubicBezTo>
                    <a:pt x="1283642" y="2476963"/>
                    <a:pt x="1285020" y="2482992"/>
                    <a:pt x="1285939" y="2488719"/>
                  </a:cubicBezTo>
                  <a:lnTo>
                    <a:pt x="1285939" y="2527003"/>
                  </a:lnTo>
                  <a:lnTo>
                    <a:pt x="1287316" y="2537855"/>
                  </a:lnTo>
                  <a:cubicBezTo>
                    <a:pt x="1285939" y="2543281"/>
                    <a:pt x="1284101" y="2548405"/>
                    <a:pt x="1282724" y="2553831"/>
                  </a:cubicBezTo>
                  <a:cubicBezTo>
                    <a:pt x="1280427" y="2558654"/>
                    <a:pt x="1278590" y="2563176"/>
                    <a:pt x="1276294" y="2567999"/>
                  </a:cubicBezTo>
                  <a:lnTo>
                    <a:pt x="1257464" y="2583975"/>
                  </a:lnTo>
                  <a:cubicBezTo>
                    <a:pt x="1251494" y="2586086"/>
                    <a:pt x="1245983" y="2588196"/>
                    <a:pt x="1240012" y="2590306"/>
                  </a:cubicBezTo>
                  <a:lnTo>
                    <a:pt x="1211079" y="2602966"/>
                  </a:lnTo>
                  <a:cubicBezTo>
                    <a:pt x="1204190" y="2610804"/>
                    <a:pt x="1197301" y="2618943"/>
                    <a:pt x="1190412" y="2626780"/>
                  </a:cubicBezTo>
                  <a:cubicBezTo>
                    <a:pt x="1187197" y="2627986"/>
                    <a:pt x="1184441" y="2628891"/>
                    <a:pt x="1181226" y="2630096"/>
                  </a:cubicBezTo>
                  <a:cubicBezTo>
                    <a:pt x="1176634" y="2634919"/>
                    <a:pt x="1171582" y="2639441"/>
                    <a:pt x="1166989" y="2644264"/>
                  </a:cubicBezTo>
                  <a:cubicBezTo>
                    <a:pt x="1162856" y="2646374"/>
                    <a:pt x="1158263" y="2648484"/>
                    <a:pt x="1154130" y="2650595"/>
                  </a:cubicBezTo>
                  <a:lnTo>
                    <a:pt x="1154130" y="2669887"/>
                  </a:lnTo>
                  <a:cubicBezTo>
                    <a:pt x="1158263" y="2675614"/>
                    <a:pt x="1162856" y="2681643"/>
                    <a:pt x="1166989" y="2687371"/>
                  </a:cubicBezTo>
                  <a:cubicBezTo>
                    <a:pt x="1167908" y="2691591"/>
                    <a:pt x="1169286" y="2695811"/>
                    <a:pt x="1170204" y="2700031"/>
                  </a:cubicBezTo>
                  <a:lnTo>
                    <a:pt x="1170204" y="2706362"/>
                  </a:lnTo>
                  <a:cubicBezTo>
                    <a:pt x="1171582" y="2705156"/>
                    <a:pt x="1173419" y="2704252"/>
                    <a:pt x="1174797" y="2703046"/>
                  </a:cubicBezTo>
                  <a:lnTo>
                    <a:pt x="1174797" y="2730176"/>
                  </a:lnTo>
                  <a:cubicBezTo>
                    <a:pt x="1173419" y="2733492"/>
                    <a:pt x="1171582" y="2736506"/>
                    <a:pt x="1170204" y="2739822"/>
                  </a:cubicBezTo>
                  <a:cubicBezTo>
                    <a:pt x="1171582" y="2741932"/>
                    <a:pt x="1173419" y="2744042"/>
                    <a:pt x="1174797" y="2746152"/>
                  </a:cubicBezTo>
                  <a:cubicBezTo>
                    <a:pt x="1174337" y="2748262"/>
                    <a:pt x="1173419" y="2750372"/>
                    <a:pt x="1172960" y="2752483"/>
                  </a:cubicBezTo>
                  <a:cubicBezTo>
                    <a:pt x="1169745" y="2755195"/>
                    <a:pt x="1166989" y="2757607"/>
                    <a:pt x="1163774" y="2760320"/>
                  </a:cubicBezTo>
                  <a:lnTo>
                    <a:pt x="1144485" y="2766650"/>
                  </a:lnTo>
                  <a:lnTo>
                    <a:pt x="1117389" y="2782627"/>
                  </a:lnTo>
                  <a:cubicBezTo>
                    <a:pt x="1114174" y="2785340"/>
                    <a:pt x="1111418" y="2787751"/>
                    <a:pt x="1108204" y="2790464"/>
                  </a:cubicBezTo>
                  <a:cubicBezTo>
                    <a:pt x="1109122" y="2793780"/>
                    <a:pt x="1110500" y="2796795"/>
                    <a:pt x="1111418" y="2800111"/>
                  </a:cubicBezTo>
                  <a:cubicBezTo>
                    <a:pt x="1112337" y="2801015"/>
                    <a:pt x="1113715" y="2802221"/>
                    <a:pt x="1114633" y="2803125"/>
                  </a:cubicBezTo>
                  <a:lnTo>
                    <a:pt x="1114633" y="2815786"/>
                  </a:lnTo>
                  <a:cubicBezTo>
                    <a:pt x="1112337" y="2820609"/>
                    <a:pt x="1110500" y="2825432"/>
                    <a:pt x="1108204" y="2830255"/>
                  </a:cubicBezTo>
                  <a:cubicBezTo>
                    <a:pt x="1107285" y="2837791"/>
                    <a:pt x="1105907" y="2845026"/>
                    <a:pt x="1104989" y="2852562"/>
                  </a:cubicBezTo>
                  <a:cubicBezTo>
                    <a:pt x="1102692" y="2856782"/>
                    <a:pt x="1100855" y="2861002"/>
                    <a:pt x="1098559" y="2865222"/>
                  </a:cubicBezTo>
                  <a:cubicBezTo>
                    <a:pt x="1093966" y="2867935"/>
                    <a:pt x="1088914" y="2870347"/>
                    <a:pt x="1084322" y="2873060"/>
                  </a:cubicBezTo>
                  <a:cubicBezTo>
                    <a:pt x="1083403" y="2874266"/>
                    <a:pt x="1082025" y="2875170"/>
                    <a:pt x="1081107" y="2876376"/>
                  </a:cubicBezTo>
                  <a:cubicBezTo>
                    <a:pt x="1076974" y="2881500"/>
                    <a:pt x="1072381" y="2886926"/>
                    <a:pt x="1068248" y="2892051"/>
                  </a:cubicBezTo>
                  <a:cubicBezTo>
                    <a:pt x="1067329" y="2896271"/>
                    <a:pt x="1065951" y="2900491"/>
                    <a:pt x="1065033" y="2904712"/>
                  </a:cubicBezTo>
                  <a:cubicBezTo>
                    <a:pt x="1060440" y="2909535"/>
                    <a:pt x="1055388" y="2914358"/>
                    <a:pt x="1050796" y="2919181"/>
                  </a:cubicBezTo>
                  <a:cubicBezTo>
                    <a:pt x="1042529" y="2928224"/>
                    <a:pt x="1033803" y="2936966"/>
                    <a:pt x="1025536" y="2946009"/>
                  </a:cubicBezTo>
                  <a:cubicBezTo>
                    <a:pt x="1020943" y="2950230"/>
                    <a:pt x="1015892" y="2954751"/>
                    <a:pt x="1011299" y="2958971"/>
                  </a:cubicBezTo>
                  <a:cubicBezTo>
                    <a:pt x="1005788" y="2964096"/>
                    <a:pt x="1000736" y="2969522"/>
                    <a:pt x="995225" y="2974647"/>
                  </a:cubicBezTo>
                  <a:cubicBezTo>
                    <a:pt x="987417" y="2976154"/>
                    <a:pt x="979150" y="2977962"/>
                    <a:pt x="971343" y="2979470"/>
                  </a:cubicBezTo>
                  <a:cubicBezTo>
                    <a:pt x="968128" y="2980675"/>
                    <a:pt x="965373" y="2981580"/>
                    <a:pt x="962158" y="2982785"/>
                  </a:cubicBezTo>
                  <a:cubicBezTo>
                    <a:pt x="961239" y="2984896"/>
                    <a:pt x="959861" y="2987006"/>
                    <a:pt x="958943" y="2989116"/>
                  </a:cubicBezTo>
                  <a:cubicBezTo>
                    <a:pt x="954350" y="2987910"/>
                    <a:pt x="949298" y="2987006"/>
                    <a:pt x="944706" y="2985800"/>
                  </a:cubicBezTo>
                  <a:cubicBezTo>
                    <a:pt x="940572" y="2987910"/>
                    <a:pt x="935980" y="2990020"/>
                    <a:pt x="931846" y="2992130"/>
                  </a:cubicBezTo>
                  <a:lnTo>
                    <a:pt x="907965" y="2985800"/>
                  </a:lnTo>
                  <a:cubicBezTo>
                    <a:pt x="903831" y="2987006"/>
                    <a:pt x="899698" y="2987910"/>
                    <a:pt x="895564" y="2989116"/>
                  </a:cubicBezTo>
                  <a:lnTo>
                    <a:pt x="885920" y="2989116"/>
                  </a:lnTo>
                  <a:lnTo>
                    <a:pt x="862038" y="2995446"/>
                  </a:lnTo>
                  <a:lnTo>
                    <a:pt x="842749" y="3001776"/>
                  </a:lnTo>
                  <a:cubicBezTo>
                    <a:pt x="839075" y="3004791"/>
                    <a:pt x="835401" y="3008107"/>
                    <a:pt x="831727" y="3011121"/>
                  </a:cubicBezTo>
                  <a:cubicBezTo>
                    <a:pt x="827593" y="3012327"/>
                    <a:pt x="823460" y="3013231"/>
                    <a:pt x="819327" y="3014437"/>
                  </a:cubicBezTo>
                  <a:cubicBezTo>
                    <a:pt x="817030" y="3010217"/>
                    <a:pt x="815193" y="3005997"/>
                    <a:pt x="812897" y="3001776"/>
                  </a:cubicBezTo>
                  <a:lnTo>
                    <a:pt x="803252" y="3001776"/>
                  </a:lnTo>
                  <a:cubicBezTo>
                    <a:pt x="800497" y="2998461"/>
                    <a:pt x="798201" y="2995446"/>
                    <a:pt x="795445" y="2992130"/>
                  </a:cubicBezTo>
                  <a:lnTo>
                    <a:pt x="795445" y="2995446"/>
                  </a:lnTo>
                  <a:cubicBezTo>
                    <a:pt x="794526" y="2993336"/>
                    <a:pt x="793149" y="2991226"/>
                    <a:pt x="792230" y="2989116"/>
                  </a:cubicBezTo>
                  <a:lnTo>
                    <a:pt x="792230" y="2974647"/>
                  </a:lnTo>
                  <a:cubicBezTo>
                    <a:pt x="789015" y="2969522"/>
                    <a:pt x="785800" y="2964096"/>
                    <a:pt x="782586" y="2958971"/>
                  </a:cubicBezTo>
                  <a:lnTo>
                    <a:pt x="792230" y="2952641"/>
                  </a:lnTo>
                  <a:lnTo>
                    <a:pt x="792230" y="2931842"/>
                  </a:lnTo>
                  <a:cubicBezTo>
                    <a:pt x="786719" y="2925511"/>
                    <a:pt x="781667" y="2919181"/>
                    <a:pt x="776156" y="2912851"/>
                  </a:cubicBezTo>
                  <a:lnTo>
                    <a:pt x="763756" y="2892051"/>
                  </a:lnTo>
                  <a:cubicBezTo>
                    <a:pt x="759163" y="2880898"/>
                    <a:pt x="754111" y="2870046"/>
                    <a:pt x="749519" y="2858892"/>
                  </a:cubicBezTo>
                  <a:cubicBezTo>
                    <a:pt x="744007" y="2852562"/>
                    <a:pt x="738956" y="2845930"/>
                    <a:pt x="733444" y="2839600"/>
                  </a:cubicBezTo>
                  <a:cubicBezTo>
                    <a:pt x="730230" y="2834777"/>
                    <a:pt x="727015" y="2830255"/>
                    <a:pt x="723800" y="2825432"/>
                  </a:cubicBezTo>
                  <a:lnTo>
                    <a:pt x="722422" y="2800111"/>
                  </a:lnTo>
                  <a:cubicBezTo>
                    <a:pt x="720126" y="2795288"/>
                    <a:pt x="718289" y="2790464"/>
                    <a:pt x="715992" y="2785641"/>
                  </a:cubicBezTo>
                  <a:cubicBezTo>
                    <a:pt x="712777" y="2773584"/>
                    <a:pt x="709563" y="2761224"/>
                    <a:pt x="706348" y="2749167"/>
                  </a:cubicBezTo>
                  <a:lnTo>
                    <a:pt x="706348" y="2717515"/>
                  </a:lnTo>
                  <a:cubicBezTo>
                    <a:pt x="705429" y="2713898"/>
                    <a:pt x="704051" y="2709979"/>
                    <a:pt x="703133" y="2706362"/>
                  </a:cubicBezTo>
                  <a:cubicBezTo>
                    <a:pt x="699000" y="2703046"/>
                    <a:pt x="694866" y="2700031"/>
                    <a:pt x="690733" y="2696715"/>
                  </a:cubicBezTo>
                  <a:lnTo>
                    <a:pt x="682466" y="2677724"/>
                  </a:lnTo>
                  <a:cubicBezTo>
                    <a:pt x="679251" y="2667777"/>
                    <a:pt x="676496" y="2657528"/>
                    <a:pt x="673281" y="2647580"/>
                  </a:cubicBezTo>
                  <a:cubicBezTo>
                    <a:pt x="670984" y="2643963"/>
                    <a:pt x="669147" y="2640044"/>
                    <a:pt x="666851" y="2636427"/>
                  </a:cubicBezTo>
                  <a:cubicBezTo>
                    <a:pt x="660421" y="2628891"/>
                    <a:pt x="653992" y="2621656"/>
                    <a:pt x="647562" y="2614120"/>
                  </a:cubicBezTo>
                  <a:lnTo>
                    <a:pt x="647562" y="2596636"/>
                  </a:lnTo>
                  <a:lnTo>
                    <a:pt x="646184" y="2583975"/>
                  </a:lnTo>
                  <a:cubicBezTo>
                    <a:pt x="646644" y="2577042"/>
                    <a:pt x="647103" y="2570411"/>
                    <a:pt x="647562" y="2563477"/>
                  </a:cubicBezTo>
                  <a:cubicBezTo>
                    <a:pt x="650777" y="2555037"/>
                    <a:pt x="653992" y="2546295"/>
                    <a:pt x="657207" y="2537855"/>
                  </a:cubicBezTo>
                  <a:lnTo>
                    <a:pt x="657207" y="2531524"/>
                  </a:lnTo>
                  <a:cubicBezTo>
                    <a:pt x="659503" y="2524591"/>
                    <a:pt x="661340" y="2517959"/>
                    <a:pt x="663636" y="2511026"/>
                  </a:cubicBezTo>
                  <a:cubicBezTo>
                    <a:pt x="665933" y="2508916"/>
                    <a:pt x="667770" y="2506806"/>
                    <a:pt x="670066" y="2504696"/>
                  </a:cubicBezTo>
                  <a:cubicBezTo>
                    <a:pt x="674199" y="2498968"/>
                    <a:pt x="678333" y="2492939"/>
                    <a:pt x="682466" y="2487212"/>
                  </a:cubicBezTo>
                  <a:cubicBezTo>
                    <a:pt x="684303" y="2483896"/>
                    <a:pt x="685681" y="2480882"/>
                    <a:pt x="687518" y="2477566"/>
                  </a:cubicBezTo>
                  <a:cubicBezTo>
                    <a:pt x="688437" y="2472140"/>
                    <a:pt x="689814" y="2467015"/>
                    <a:pt x="690733" y="2461589"/>
                  </a:cubicBezTo>
                  <a:lnTo>
                    <a:pt x="690733" y="2447421"/>
                  </a:lnTo>
                  <a:lnTo>
                    <a:pt x="682466" y="2441091"/>
                  </a:lnTo>
                  <a:cubicBezTo>
                    <a:pt x="681548" y="2435665"/>
                    <a:pt x="680170" y="2430541"/>
                    <a:pt x="679251" y="2425115"/>
                  </a:cubicBezTo>
                  <a:cubicBezTo>
                    <a:pt x="677414" y="2421497"/>
                    <a:pt x="675118" y="2417579"/>
                    <a:pt x="673281" y="2413961"/>
                  </a:cubicBezTo>
                  <a:cubicBezTo>
                    <a:pt x="674199" y="2411851"/>
                    <a:pt x="675577" y="2409741"/>
                    <a:pt x="676496" y="2407631"/>
                  </a:cubicBezTo>
                  <a:lnTo>
                    <a:pt x="679251" y="2401301"/>
                  </a:lnTo>
                  <a:lnTo>
                    <a:pt x="676496" y="2375979"/>
                  </a:lnTo>
                  <a:cubicBezTo>
                    <a:pt x="674199" y="2371156"/>
                    <a:pt x="672362" y="2366635"/>
                    <a:pt x="670066" y="2361811"/>
                  </a:cubicBezTo>
                  <a:cubicBezTo>
                    <a:pt x="665933" y="2357591"/>
                    <a:pt x="661340" y="2353070"/>
                    <a:pt x="657207" y="2348849"/>
                  </a:cubicBezTo>
                  <a:lnTo>
                    <a:pt x="657207" y="2342519"/>
                  </a:lnTo>
                  <a:lnTo>
                    <a:pt x="657207" y="2339505"/>
                  </a:lnTo>
                  <a:cubicBezTo>
                    <a:pt x="654910" y="2333777"/>
                    <a:pt x="653073" y="2327748"/>
                    <a:pt x="650777" y="2322021"/>
                  </a:cubicBezTo>
                  <a:cubicBezTo>
                    <a:pt x="644806" y="2314183"/>
                    <a:pt x="639295" y="2306044"/>
                    <a:pt x="633325" y="2298207"/>
                  </a:cubicBezTo>
                  <a:cubicBezTo>
                    <a:pt x="625977" y="2290671"/>
                    <a:pt x="618628" y="2283436"/>
                    <a:pt x="611280" y="2275900"/>
                  </a:cubicBezTo>
                  <a:cubicBezTo>
                    <a:pt x="605310" y="2268967"/>
                    <a:pt x="599799" y="2262335"/>
                    <a:pt x="593828" y="2255402"/>
                  </a:cubicBezTo>
                  <a:cubicBezTo>
                    <a:pt x="589695" y="2249072"/>
                    <a:pt x="585102" y="2242440"/>
                    <a:pt x="580969" y="2236109"/>
                  </a:cubicBezTo>
                  <a:lnTo>
                    <a:pt x="580969" y="2226765"/>
                  </a:lnTo>
                  <a:cubicBezTo>
                    <a:pt x="583265" y="2224052"/>
                    <a:pt x="585102" y="2221339"/>
                    <a:pt x="587398" y="2218626"/>
                  </a:cubicBezTo>
                  <a:cubicBezTo>
                    <a:pt x="588317" y="2213501"/>
                    <a:pt x="589695" y="2208075"/>
                    <a:pt x="590613" y="2202951"/>
                  </a:cubicBezTo>
                  <a:cubicBezTo>
                    <a:pt x="592910" y="2197525"/>
                    <a:pt x="594747" y="2192400"/>
                    <a:pt x="597043" y="2186974"/>
                  </a:cubicBezTo>
                  <a:cubicBezTo>
                    <a:pt x="594747" y="2186371"/>
                    <a:pt x="592910" y="2186070"/>
                    <a:pt x="590613" y="2185467"/>
                  </a:cubicBezTo>
                  <a:cubicBezTo>
                    <a:pt x="593828" y="2177026"/>
                    <a:pt x="597043" y="2168285"/>
                    <a:pt x="600258" y="2159844"/>
                  </a:cubicBezTo>
                  <a:cubicBezTo>
                    <a:pt x="601176" y="2154117"/>
                    <a:pt x="602554" y="2148088"/>
                    <a:pt x="603473" y="2142360"/>
                  </a:cubicBezTo>
                  <a:cubicBezTo>
                    <a:pt x="600258" y="2137236"/>
                    <a:pt x="597043" y="2131810"/>
                    <a:pt x="593828" y="2126685"/>
                  </a:cubicBezTo>
                  <a:cubicBezTo>
                    <a:pt x="590613" y="2125480"/>
                    <a:pt x="587398" y="2124575"/>
                    <a:pt x="584184" y="2123370"/>
                  </a:cubicBezTo>
                  <a:cubicBezTo>
                    <a:pt x="583265" y="2120355"/>
                    <a:pt x="581887" y="2117039"/>
                    <a:pt x="580969" y="2114025"/>
                  </a:cubicBezTo>
                  <a:cubicBezTo>
                    <a:pt x="578672" y="2113422"/>
                    <a:pt x="576835" y="2112819"/>
                    <a:pt x="574539" y="2112216"/>
                  </a:cubicBezTo>
                  <a:lnTo>
                    <a:pt x="574539" y="2105886"/>
                  </a:lnTo>
                  <a:lnTo>
                    <a:pt x="553872" y="2114025"/>
                  </a:lnTo>
                  <a:cubicBezTo>
                    <a:pt x="550657" y="2113422"/>
                    <a:pt x="547902" y="2112819"/>
                    <a:pt x="544687" y="2112216"/>
                  </a:cubicBezTo>
                  <a:lnTo>
                    <a:pt x="536420" y="2114025"/>
                  </a:lnTo>
                  <a:lnTo>
                    <a:pt x="517590" y="2114025"/>
                  </a:lnTo>
                  <a:cubicBezTo>
                    <a:pt x="514376" y="2110407"/>
                    <a:pt x="511161" y="2106489"/>
                    <a:pt x="507946" y="2102871"/>
                  </a:cubicBezTo>
                  <a:cubicBezTo>
                    <a:pt x="504731" y="2097445"/>
                    <a:pt x="501516" y="2092321"/>
                    <a:pt x="498301" y="2086895"/>
                  </a:cubicBezTo>
                  <a:cubicBezTo>
                    <a:pt x="493709" y="2082072"/>
                    <a:pt x="488657" y="2077550"/>
                    <a:pt x="484064" y="2072727"/>
                  </a:cubicBezTo>
                  <a:lnTo>
                    <a:pt x="465234" y="2072727"/>
                  </a:lnTo>
                  <a:lnTo>
                    <a:pt x="447782" y="2072727"/>
                  </a:lnTo>
                  <a:lnTo>
                    <a:pt x="425278" y="2072727"/>
                  </a:lnTo>
                  <a:cubicBezTo>
                    <a:pt x="420686" y="2074234"/>
                    <a:pt x="415634" y="2075741"/>
                    <a:pt x="411041" y="2077249"/>
                  </a:cubicBezTo>
                  <a:cubicBezTo>
                    <a:pt x="400019" y="2081469"/>
                    <a:pt x="388997" y="2085991"/>
                    <a:pt x="377974" y="2090211"/>
                  </a:cubicBezTo>
                  <a:cubicBezTo>
                    <a:pt x="372463" y="2093225"/>
                    <a:pt x="367411" y="2096541"/>
                    <a:pt x="361900" y="2099555"/>
                  </a:cubicBezTo>
                  <a:cubicBezTo>
                    <a:pt x="357307" y="2101666"/>
                    <a:pt x="352255" y="2103776"/>
                    <a:pt x="347663" y="2105886"/>
                  </a:cubicBezTo>
                  <a:lnTo>
                    <a:pt x="325618" y="2099555"/>
                  </a:lnTo>
                  <a:lnTo>
                    <a:pt x="312759" y="2099555"/>
                  </a:lnTo>
                  <a:lnTo>
                    <a:pt x="301736" y="2093225"/>
                  </a:lnTo>
                  <a:lnTo>
                    <a:pt x="285662" y="2093225"/>
                  </a:lnTo>
                  <a:lnTo>
                    <a:pt x="258566" y="2099555"/>
                  </a:lnTo>
                  <a:cubicBezTo>
                    <a:pt x="253514" y="2101666"/>
                    <a:pt x="248003" y="2103776"/>
                    <a:pt x="242951" y="2105886"/>
                  </a:cubicBezTo>
                  <a:lnTo>
                    <a:pt x="222284" y="2114025"/>
                  </a:lnTo>
                  <a:lnTo>
                    <a:pt x="219069" y="2114025"/>
                  </a:lnTo>
                  <a:lnTo>
                    <a:pt x="212639" y="2114025"/>
                  </a:lnTo>
                  <a:lnTo>
                    <a:pt x="188758" y="2102871"/>
                  </a:lnTo>
                  <a:cubicBezTo>
                    <a:pt x="181409" y="2097445"/>
                    <a:pt x="174061" y="2092321"/>
                    <a:pt x="166713" y="2086895"/>
                  </a:cubicBezTo>
                  <a:lnTo>
                    <a:pt x="149261" y="2072727"/>
                  </a:lnTo>
                  <a:cubicBezTo>
                    <a:pt x="145127" y="2068507"/>
                    <a:pt x="140535" y="2064287"/>
                    <a:pt x="136401" y="2060066"/>
                  </a:cubicBezTo>
                  <a:cubicBezTo>
                    <a:pt x="133187" y="2058861"/>
                    <a:pt x="130431" y="2057956"/>
                    <a:pt x="127216" y="2056751"/>
                  </a:cubicBezTo>
                  <a:lnTo>
                    <a:pt x="112520" y="2047104"/>
                  </a:lnTo>
                  <a:cubicBezTo>
                    <a:pt x="108386" y="2043487"/>
                    <a:pt x="104253" y="2039568"/>
                    <a:pt x="100120" y="2035951"/>
                  </a:cubicBezTo>
                  <a:lnTo>
                    <a:pt x="100120" y="2026606"/>
                  </a:lnTo>
                  <a:cubicBezTo>
                    <a:pt x="99201" y="2021180"/>
                    <a:pt x="97823" y="2016056"/>
                    <a:pt x="96905" y="2010630"/>
                  </a:cubicBezTo>
                  <a:cubicBezTo>
                    <a:pt x="93231" y="2007012"/>
                    <a:pt x="89557" y="2003094"/>
                    <a:pt x="85882" y="1999476"/>
                  </a:cubicBezTo>
                  <a:cubicBezTo>
                    <a:pt x="82668" y="1996462"/>
                    <a:pt x="79453" y="1993146"/>
                    <a:pt x="76238" y="1990131"/>
                  </a:cubicBezTo>
                  <a:cubicBezTo>
                    <a:pt x="75319" y="1988926"/>
                    <a:pt x="73942" y="1988021"/>
                    <a:pt x="73023" y="1986816"/>
                  </a:cubicBezTo>
                  <a:cubicBezTo>
                    <a:pt x="70727" y="1985911"/>
                    <a:pt x="68890" y="1984705"/>
                    <a:pt x="66593" y="1983801"/>
                  </a:cubicBezTo>
                  <a:cubicBezTo>
                    <a:pt x="65675" y="1980485"/>
                    <a:pt x="64297" y="1977471"/>
                    <a:pt x="63379" y="1974155"/>
                  </a:cubicBezTo>
                  <a:cubicBezTo>
                    <a:pt x="62460" y="1972045"/>
                    <a:pt x="61082" y="1969935"/>
                    <a:pt x="60164" y="1967825"/>
                  </a:cubicBezTo>
                  <a:cubicBezTo>
                    <a:pt x="58327" y="1966619"/>
                    <a:pt x="56030" y="1965715"/>
                    <a:pt x="54193" y="1964509"/>
                  </a:cubicBezTo>
                  <a:cubicBezTo>
                    <a:pt x="50519" y="1961796"/>
                    <a:pt x="46386" y="1959384"/>
                    <a:pt x="42712" y="1956671"/>
                  </a:cubicBezTo>
                  <a:cubicBezTo>
                    <a:pt x="39497" y="1955767"/>
                    <a:pt x="36741" y="1954561"/>
                    <a:pt x="33526" y="1953657"/>
                  </a:cubicBezTo>
                  <a:cubicBezTo>
                    <a:pt x="31230" y="1952451"/>
                    <a:pt x="29393" y="1951547"/>
                    <a:pt x="27097" y="1950341"/>
                  </a:cubicBezTo>
                  <a:lnTo>
                    <a:pt x="27097" y="1947025"/>
                  </a:lnTo>
                  <a:cubicBezTo>
                    <a:pt x="24800" y="1944915"/>
                    <a:pt x="22963" y="1942805"/>
                    <a:pt x="20667" y="1940695"/>
                  </a:cubicBezTo>
                  <a:cubicBezTo>
                    <a:pt x="19748" y="1938585"/>
                    <a:pt x="18371" y="1936474"/>
                    <a:pt x="17452" y="1934364"/>
                  </a:cubicBezTo>
                  <a:cubicBezTo>
                    <a:pt x="16534" y="1928637"/>
                    <a:pt x="15156" y="1922608"/>
                    <a:pt x="14237" y="1916881"/>
                  </a:cubicBezTo>
                  <a:cubicBezTo>
                    <a:pt x="15156" y="1913866"/>
                    <a:pt x="16534" y="1910550"/>
                    <a:pt x="17452" y="1907536"/>
                  </a:cubicBezTo>
                  <a:cubicBezTo>
                    <a:pt x="14697" y="1901206"/>
                    <a:pt x="12400" y="1894574"/>
                    <a:pt x="9645" y="1888243"/>
                  </a:cubicBezTo>
                  <a:lnTo>
                    <a:pt x="0" y="1883722"/>
                  </a:lnTo>
                  <a:lnTo>
                    <a:pt x="9645" y="1877392"/>
                  </a:lnTo>
                  <a:cubicBezTo>
                    <a:pt x="12400" y="1871966"/>
                    <a:pt x="14697" y="1866841"/>
                    <a:pt x="17452" y="1861415"/>
                  </a:cubicBezTo>
                  <a:cubicBezTo>
                    <a:pt x="19748" y="1857195"/>
                    <a:pt x="21586" y="1852975"/>
                    <a:pt x="23882" y="1848754"/>
                  </a:cubicBezTo>
                  <a:cubicBezTo>
                    <a:pt x="22963" y="1845137"/>
                    <a:pt x="21586" y="1841218"/>
                    <a:pt x="20667" y="1837601"/>
                  </a:cubicBezTo>
                  <a:cubicBezTo>
                    <a:pt x="22963" y="1833381"/>
                    <a:pt x="24800" y="1829161"/>
                    <a:pt x="27097" y="1824940"/>
                  </a:cubicBezTo>
                  <a:cubicBezTo>
                    <a:pt x="29393" y="1818007"/>
                    <a:pt x="31230" y="1811074"/>
                    <a:pt x="33526" y="1804141"/>
                  </a:cubicBezTo>
                  <a:cubicBezTo>
                    <a:pt x="32608" y="1797810"/>
                    <a:pt x="31230" y="1791480"/>
                    <a:pt x="30312" y="1785150"/>
                  </a:cubicBezTo>
                  <a:cubicBezTo>
                    <a:pt x="29393" y="1780327"/>
                    <a:pt x="28015" y="1775805"/>
                    <a:pt x="27097" y="1770982"/>
                  </a:cubicBezTo>
                  <a:lnTo>
                    <a:pt x="27097" y="1758020"/>
                  </a:lnTo>
                  <a:cubicBezTo>
                    <a:pt x="24800" y="1755005"/>
                    <a:pt x="22963" y="1751689"/>
                    <a:pt x="20667" y="1748675"/>
                  </a:cubicBezTo>
                  <a:cubicBezTo>
                    <a:pt x="17452" y="1745359"/>
                    <a:pt x="14237" y="1742345"/>
                    <a:pt x="11022" y="1739029"/>
                  </a:cubicBezTo>
                  <a:lnTo>
                    <a:pt x="11022" y="1727875"/>
                  </a:lnTo>
                  <a:cubicBezTo>
                    <a:pt x="11941" y="1724861"/>
                    <a:pt x="13319" y="1721545"/>
                    <a:pt x="14237" y="1718531"/>
                  </a:cubicBezTo>
                  <a:cubicBezTo>
                    <a:pt x="16534" y="1716421"/>
                    <a:pt x="18371" y="1714310"/>
                    <a:pt x="20667" y="1712200"/>
                  </a:cubicBezTo>
                  <a:lnTo>
                    <a:pt x="30312" y="1699540"/>
                  </a:lnTo>
                  <a:cubicBezTo>
                    <a:pt x="29393" y="1698033"/>
                    <a:pt x="28015" y="1696224"/>
                    <a:pt x="27097" y="1694717"/>
                  </a:cubicBezTo>
                  <a:cubicBezTo>
                    <a:pt x="29393" y="1688386"/>
                    <a:pt x="31230" y="1681755"/>
                    <a:pt x="33526" y="1675424"/>
                  </a:cubicBezTo>
                  <a:cubicBezTo>
                    <a:pt x="37660" y="1670300"/>
                    <a:pt x="41793" y="1664874"/>
                    <a:pt x="45926" y="1659749"/>
                  </a:cubicBezTo>
                  <a:cubicBezTo>
                    <a:pt x="48682" y="1659146"/>
                    <a:pt x="51438" y="1658845"/>
                    <a:pt x="54193" y="1658242"/>
                  </a:cubicBezTo>
                  <a:cubicBezTo>
                    <a:pt x="56030" y="1652816"/>
                    <a:pt x="58327" y="1647691"/>
                    <a:pt x="60164" y="1642265"/>
                  </a:cubicBezTo>
                  <a:lnTo>
                    <a:pt x="60164" y="1629605"/>
                  </a:lnTo>
                  <a:cubicBezTo>
                    <a:pt x="63379" y="1625987"/>
                    <a:pt x="66593" y="1622069"/>
                    <a:pt x="69808" y="1618451"/>
                  </a:cubicBezTo>
                  <a:cubicBezTo>
                    <a:pt x="73942" y="1615136"/>
                    <a:pt x="78534" y="1612121"/>
                    <a:pt x="82668" y="1608805"/>
                  </a:cubicBezTo>
                  <a:cubicBezTo>
                    <a:pt x="88638" y="1600365"/>
                    <a:pt x="94149" y="1591924"/>
                    <a:pt x="100120" y="1583484"/>
                  </a:cubicBezTo>
                  <a:lnTo>
                    <a:pt x="100120" y="1581977"/>
                  </a:lnTo>
                  <a:lnTo>
                    <a:pt x="109764" y="1575646"/>
                  </a:lnTo>
                  <a:cubicBezTo>
                    <a:pt x="116653" y="1574441"/>
                    <a:pt x="123083" y="1573536"/>
                    <a:pt x="129972" y="1572331"/>
                  </a:cubicBezTo>
                  <a:cubicBezTo>
                    <a:pt x="135483" y="1566905"/>
                    <a:pt x="140535" y="1561780"/>
                    <a:pt x="146046" y="1556354"/>
                  </a:cubicBezTo>
                  <a:lnTo>
                    <a:pt x="158905" y="1547009"/>
                  </a:lnTo>
                  <a:cubicBezTo>
                    <a:pt x="164876" y="1541282"/>
                    <a:pt x="170387" y="1535253"/>
                    <a:pt x="176357" y="1529525"/>
                  </a:cubicBezTo>
                  <a:cubicBezTo>
                    <a:pt x="174061" y="1518372"/>
                    <a:pt x="172224" y="1507219"/>
                    <a:pt x="169928" y="1496065"/>
                  </a:cubicBezTo>
                  <a:cubicBezTo>
                    <a:pt x="173143" y="1488529"/>
                    <a:pt x="176357" y="1481295"/>
                    <a:pt x="179572" y="1473758"/>
                  </a:cubicBezTo>
                  <a:lnTo>
                    <a:pt x="179572" y="1465921"/>
                  </a:lnTo>
                  <a:cubicBezTo>
                    <a:pt x="186002" y="1459591"/>
                    <a:pt x="191972" y="1453260"/>
                    <a:pt x="198402" y="1446930"/>
                  </a:cubicBezTo>
                  <a:lnTo>
                    <a:pt x="219069" y="1434269"/>
                  </a:lnTo>
                  <a:cubicBezTo>
                    <a:pt x="224580" y="1431556"/>
                    <a:pt x="229632" y="1428843"/>
                    <a:pt x="235143" y="1426130"/>
                  </a:cubicBezTo>
                  <a:cubicBezTo>
                    <a:pt x="239736" y="1416484"/>
                    <a:pt x="244788" y="1407139"/>
                    <a:pt x="249380" y="1397493"/>
                  </a:cubicBezTo>
                  <a:cubicBezTo>
                    <a:pt x="252595" y="1393876"/>
                    <a:pt x="255351" y="1390259"/>
                    <a:pt x="258566" y="1386641"/>
                  </a:cubicBezTo>
                  <a:lnTo>
                    <a:pt x="273262" y="1386641"/>
                  </a:lnTo>
                  <a:cubicBezTo>
                    <a:pt x="277396" y="1389656"/>
                    <a:pt x="281529" y="1392972"/>
                    <a:pt x="285662" y="1395986"/>
                  </a:cubicBezTo>
                  <a:lnTo>
                    <a:pt x="308166" y="1395986"/>
                  </a:lnTo>
                  <a:cubicBezTo>
                    <a:pt x="315055" y="1396589"/>
                    <a:pt x="321944" y="1396890"/>
                    <a:pt x="328833" y="1397493"/>
                  </a:cubicBezTo>
                  <a:lnTo>
                    <a:pt x="341233" y="1397493"/>
                  </a:lnTo>
                  <a:lnTo>
                    <a:pt x="361900" y="1386641"/>
                  </a:lnTo>
                  <a:lnTo>
                    <a:pt x="385782" y="1380311"/>
                  </a:lnTo>
                  <a:cubicBezTo>
                    <a:pt x="389915" y="1376995"/>
                    <a:pt x="394508" y="1373981"/>
                    <a:pt x="398641" y="1370665"/>
                  </a:cubicBezTo>
                  <a:lnTo>
                    <a:pt x="420686" y="1364334"/>
                  </a:lnTo>
                  <a:lnTo>
                    <a:pt x="457427" y="1358004"/>
                  </a:lnTo>
                  <a:lnTo>
                    <a:pt x="493709" y="1356195"/>
                  </a:lnTo>
                  <a:cubicBezTo>
                    <a:pt x="497383" y="1357703"/>
                    <a:pt x="501057" y="1359511"/>
                    <a:pt x="504731" y="1361018"/>
                  </a:cubicBezTo>
                  <a:lnTo>
                    <a:pt x="527235" y="1349865"/>
                  </a:lnTo>
                  <a:lnTo>
                    <a:pt x="550657" y="1349865"/>
                  </a:lnTo>
                  <a:cubicBezTo>
                    <a:pt x="552954" y="1351975"/>
                    <a:pt x="554791" y="1354085"/>
                    <a:pt x="557087" y="1356195"/>
                  </a:cubicBezTo>
                  <a:cubicBezTo>
                    <a:pt x="562598" y="1355291"/>
                    <a:pt x="567650" y="1354085"/>
                    <a:pt x="573161" y="1353181"/>
                  </a:cubicBezTo>
                  <a:cubicBezTo>
                    <a:pt x="580969" y="1349865"/>
                    <a:pt x="589236" y="1346851"/>
                    <a:pt x="597043" y="1343535"/>
                  </a:cubicBezTo>
                  <a:cubicBezTo>
                    <a:pt x="603013" y="1345645"/>
                    <a:pt x="608525" y="1347755"/>
                    <a:pt x="614495" y="1349865"/>
                  </a:cubicBezTo>
                  <a:lnTo>
                    <a:pt x="614495" y="1358004"/>
                  </a:lnTo>
                  <a:cubicBezTo>
                    <a:pt x="620925" y="1355291"/>
                    <a:pt x="626895" y="1352578"/>
                    <a:pt x="633325" y="1349865"/>
                  </a:cubicBezTo>
                  <a:lnTo>
                    <a:pt x="633325" y="1356195"/>
                  </a:lnTo>
                  <a:lnTo>
                    <a:pt x="620925" y="1364334"/>
                  </a:lnTo>
                  <a:lnTo>
                    <a:pt x="620925" y="1380311"/>
                  </a:lnTo>
                  <a:cubicBezTo>
                    <a:pt x="624140" y="1382421"/>
                    <a:pt x="626895" y="1384531"/>
                    <a:pt x="630110" y="1386641"/>
                  </a:cubicBezTo>
                  <a:cubicBezTo>
                    <a:pt x="629191" y="1393574"/>
                    <a:pt x="627814" y="1400206"/>
                    <a:pt x="626895" y="1407139"/>
                  </a:cubicBezTo>
                  <a:cubicBezTo>
                    <a:pt x="621843" y="1411360"/>
                    <a:pt x="616332" y="1415580"/>
                    <a:pt x="611280" y="1419800"/>
                  </a:cubicBezTo>
                  <a:cubicBezTo>
                    <a:pt x="613577" y="1424020"/>
                    <a:pt x="615414" y="1428240"/>
                    <a:pt x="617710" y="1432461"/>
                  </a:cubicBezTo>
                  <a:lnTo>
                    <a:pt x="626895" y="1432461"/>
                  </a:lnTo>
                  <a:cubicBezTo>
                    <a:pt x="629191" y="1437284"/>
                    <a:pt x="631029" y="1442107"/>
                    <a:pt x="633325" y="1446930"/>
                  </a:cubicBezTo>
                  <a:cubicBezTo>
                    <a:pt x="636540" y="1447834"/>
                    <a:pt x="639755" y="1449040"/>
                    <a:pt x="642969" y="1449944"/>
                  </a:cubicBezTo>
                  <a:lnTo>
                    <a:pt x="666851" y="1456275"/>
                  </a:lnTo>
                  <a:lnTo>
                    <a:pt x="679251" y="1456275"/>
                  </a:lnTo>
                  <a:cubicBezTo>
                    <a:pt x="684303" y="1457480"/>
                    <a:pt x="688896" y="1458385"/>
                    <a:pt x="693948" y="1459591"/>
                  </a:cubicBezTo>
                  <a:cubicBezTo>
                    <a:pt x="704051" y="1463208"/>
                    <a:pt x="713696" y="1467127"/>
                    <a:pt x="723800" y="1470744"/>
                  </a:cubicBezTo>
                  <a:cubicBezTo>
                    <a:pt x="727933" y="1478280"/>
                    <a:pt x="732526" y="1485515"/>
                    <a:pt x="736659" y="1493051"/>
                  </a:cubicBezTo>
                  <a:cubicBezTo>
                    <a:pt x="743089" y="1493955"/>
                    <a:pt x="749059" y="1495161"/>
                    <a:pt x="755489" y="1496065"/>
                  </a:cubicBezTo>
                  <a:lnTo>
                    <a:pt x="785800" y="1508726"/>
                  </a:lnTo>
                  <a:lnTo>
                    <a:pt x="809682" y="1519879"/>
                  </a:lnTo>
                  <a:lnTo>
                    <a:pt x="819327" y="1513549"/>
                  </a:lnTo>
                  <a:cubicBezTo>
                    <a:pt x="823460" y="1509932"/>
                    <a:pt x="827593" y="1506013"/>
                    <a:pt x="831727" y="1502396"/>
                  </a:cubicBezTo>
                  <a:cubicBezTo>
                    <a:pt x="829430" y="1496065"/>
                    <a:pt x="827593" y="1489735"/>
                    <a:pt x="825297" y="1483405"/>
                  </a:cubicBezTo>
                  <a:lnTo>
                    <a:pt x="834942" y="1470744"/>
                  </a:lnTo>
                  <a:lnTo>
                    <a:pt x="849179" y="1459591"/>
                  </a:lnTo>
                  <a:cubicBezTo>
                    <a:pt x="853312" y="1458385"/>
                    <a:pt x="857905" y="1457480"/>
                    <a:pt x="862038" y="1456275"/>
                  </a:cubicBezTo>
                  <a:lnTo>
                    <a:pt x="895564" y="1462605"/>
                  </a:lnTo>
                  <a:cubicBezTo>
                    <a:pt x="897401" y="1465318"/>
                    <a:pt x="899698" y="1468031"/>
                    <a:pt x="901535" y="1470744"/>
                  </a:cubicBezTo>
                  <a:lnTo>
                    <a:pt x="907965" y="1470744"/>
                  </a:lnTo>
                  <a:cubicBezTo>
                    <a:pt x="910720" y="1472854"/>
                    <a:pt x="913016" y="1474964"/>
                    <a:pt x="915772" y="1477074"/>
                  </a:cubicBezTo>
                  <a:cubicBezTo>
                    <a:pt x="923120" y="1477979"/>
                    <a:pt x="930928" y="1479184"/>
                    <a:pt x="938276" y="1480089"/>
                  </a:cubicBezTo>
                  <a:cubicBezTo>
                    <a:pt x="940572" y="1483405"/>
                    <a:pt x="942409" y="1486419"/>
                    <a:pt x="944706" y="1489735"/>
                  </a:cubicBezTo>
                  <a:lnTo>
                    <a:pt x="971343" y="1489735"/>
                  </a:lnTo>
                  <a:cubicBezTo>
                    <a:pt x="978232" y="1490941"/>
                    <a:pt x="985121" y="1491845"/>
                    <a:pt x="992010" y="1493051"/>
                  </a:cubicBezTo>
                  <a:cubicBezTo>
                    <a:pt x="1000736" y="1496065"/>
                    <a:pt x="1009003" y="1499381"/>
                    <a:pt x="1017729" y="1502396"/>
                  </a:cubicBezTo>
                  <a:cubicBezTo>
                    <a:pt x="1020484" y="1503601"/>
                    <a:pt x="1022780" y="1504506"/>
                    <a:pt x="1025536" y="1505711"/>
                  </a:cubicBezTo>
                  <a:lnTo>
                    <a:pt x="1044366" y="1496065"/>
                  </a:lnTo>
                  <a:cubicBezTo>
                    <a:pt x="1046662" y="1495161"/>
                    <a:pt x="1048499" y="1493955"/>
                    <a:pt x="1050796" y="1493051"/>
                  </a:cubicBezTo>
                  <a:cubicBezTo>
                    <a:pt x="1057684" y="1491845"/>
                    <a:pt x="1064573" y="1490941"/>
                    <a:pt x="1071462" y="1489735"/>
                  </a:cubicBezTo>
                  <a:cubicBezTo>
                    <a:pt x="1076974" y="1490941"/>
                    <a:pt x="1082025" y="1491845"/>
                    <a:pt x="1087537" y="1493051"/>
                  </a:cubicBezTo>
                  <a:cubicBezTo>
                    <a:pt x="1089833" y="1497271"/>
                    <a:pt x="1091670" y="1501491"/>
                    <a:pt x="1093966" y="1505711"/>
                  </a:cubicBezTo>
                  <a:cubicBezTo>
                    <a:pt x="1095344" y="1502396"/>
                    <a:pt x="1097181" y="1499381"/>
                    <a:pt x="1098559" y="1496065"/>
                  </a:cubicBezTo>
                  <a:cubicBezTo>
                    <a:pt x="1104989" y="1498175"/>
                    <a:pt x="1110959" y="1500285"/>
                    <a:pt x="1117389" y="1502396"/>
                  </a:cubicBezTo>
                  <a:lnTo>
                    <a:pt x="1133463" y="1502396"/>
                  </a:lnTo>
                  <a:lnTo>
                    <a:pt x="1144485" y="1496065"/>
                  </a:lnTo>
                  <a:cubicBezTo>
                    <a:pt x="1146782" y="1493955"/>
                    <a:pt x="1148619" y="1491845"/>
                    <a:pt x="1150915" y="1489735"/>
                  </a:cubicBezTo>
                  <a:cubicBezTo>
                    <a:pt x="1149996" y="1488831"/>
                    <a:pt x="1148619" y="1487625"/>
                    <a:pt x="1147700" y="1486720"/>
                  </a:cubicBezTo>
                  <a:cubicBezTo>
                    <a:pt x="1149996" y="1482500"/>
                    <a:pt x="1151834" y="1477979"/>
                    <a:pt x="1154130" y="1473758"/>
                  </a:cubicBezTo>
                  <a:cubicBezTo>
                    <a:pt x="1156426" y="1468031"/>
                    <a:pt x="1158263" y="1462002"/>
                    <a:pt x="1160560" y="1456275"/>
                  </a:cubicBezTo>
                  <a:cubicBezTo>
                    <a:pt x="1161478" y="1455370"/>
                    <a:pt x="1162856" y="1454165"/>
                    <a:pt x="1163774" y="1453260"/>
                  </a:cubicBezTo>
                  <a:cubicBezTo>
                    <a:pt x="1166989" y="1445423"/>
                    <a:pt x="1169745" y="1437284"/>
                    <a:pt x="1172960" y="1429446"/>
                  </a:cubicBezTo>
                  <a:cubicBezTo>
                    <a:pt x="1175715" y="1424020"/>
                    <a:pt x="1178471" y="1418896"/>
                    <a:pt x="1181226" y="1413470"/>
                  </a:cubicBezTo>
                  <a:cubicBezTo>
                    <a:pt x="1182145" y="1412565"/>
                    <a:pt x="1183523" y="1411360"/>
                    <a:pt x="1184441" y="1410455"/>
                  </a:cubicBezTo>
                  <a:cubicBezTo>
                    <a:pt x="1183523" y="1405632"/>
                    <a:pt x="1182145" y="1400809"/>
                    <a:pt x="1181226" y="1395986"/>
                  </a:cubicBezTo>
                  <a:cubicBezTo>
                    <a:pt x="1183523" y="1391766"/>
                    <a:pt x="1185360" y="1387546"/>
                    <a:pt x="1187656" y="1383325"/>
                  </a:cubicBezTo>
                  <a:lnTo>
                    <a:pt x="1178012" y="1370665"/>
                  </a:lnTo>
                  <a:cubicBezTo>
                    <a:pt x="1181226" y="1367349"/>
                    <a:pt x="1184441" y="1364334"/>
                    <a:pt x="1187656" y="1361018"/>
                  </a:cubicBezTo>
                  <a:cubicBezTo>
                    <a:pt x="1183523" y="1362224"/>
                    <a:pt x="1178930" y="1363129"/>
                    <a:pt x="1174797" y="1364334"/>
                  </a:cubicBezTo>
                  <a:lnTo>
                    <a:pt x="1154130" y="1358004"/>
                  </a:lnTo>
                  <a:cubicBezTo>
                    <a:pt x="1148619" y="1362224"/>
                    <a:pt x="1143567" y="1366444"/>
                    <a:pt x="1138056" y="1370665"/>
                  </a:cubicBezTo>
                  <a:cubicBezTo>
                    <a:pt x="1127952" y="1371569"/>
                    <a:pt x="1118307" y="1372775"/>
                    <a:pt x="1108204" y="1373679"/>
                  </a:cubicBezTo>
                  <a:lnTo>
                    <a:pt x="1087537" y="1361018"/>
                  </a:lnTo>
                  <a:lnTo>
                    <a:pt x="1065033" y="1361018"/>
                  </a:lnTo>
                  <a:cubicBezTo>
                    <a:pt x="1063655" y="1364334"/>
                    <a:pt x="1061818" y="1367349"/>
                    <a:pt x="1060440" y="1370665"/>
                  </a:cubicBezTo>
                  <a:cubicBezTo>
                    <a:pt x="1054929" y="1371569"/>
                    <a:pt x="1049877" y="1372775"/>
                    <a:pt x="1044366" y="1373679"/>
                  </a:cubicBezTo>
                  <a:cubicBezTo>
                    <a:pt x="1037477" y="1369459"/>
                    <a:pt x="1031047" y="1365239"/>
                    <a:pt x="1024158" y="1361018"/>
                  </a:cubicBezTo>
                  <a:lnTo>
                    <a:pt x="998440" y="1361018"/>
                  </a:lnTo>
                  <a:cubicBezTo>
                    <a:pt x="993847" y="1353181"/>
                    <a:pt x="988795" y="1345042"/>
                    <a:pt x="984202" y="1337204"/>
                  </a:cubicBezTo>
                  <a:cubicBezTo>
                    <a:pt x="979150" y="1332080"/>
                    <a:pt x="973639" y="1326654"/>
                    <a:pt x="968587" y="1321529"/>
                  </a:cubicBezTo>
                  <a:cubicBezTo>
                    <a:pt x="972721" y="1315802"/>
                    <a:pt x="976854" y="1309773"/>
                    <a:pt x="980987" y="1304046"/>
                  </a:cubicBezTo>
                  <a:lnTo>
                    <a:pt x="965373" y="1291084"/>
                  </a:lnTo>
                  <a:cubicBezTo>
                    <a:pt x="973180" y="1282040"/>
                    <a:pt x="980987" y="1273298"/>
                    <a:pt x="988795" y="1264255"/>
                  </a:cubicBezTo>
                  <a:lnTo>
                    <a:pt x="1024158" y="1264255"/>
                  </a:lnTo>
                  <a:cubicBezTo>
                    <a:pt x="1026914" y="1257925"/>
                    <a:pt x="1029210" y="1251594"/>
                    <a:pt x="1031966" y="1245264"/>
                  </a:cubicBezTo>
                  <a:lnTo>
                    <a:pt x="1074677" y="1245264"/>
                  </a:lnTo>
                  <a:cubicBezTo>
                    <a:pt x="1083863" y="1240441"/>
                    <a:pt x="1092589" y="1235618"/>
                    <a:pt x="1101774" y="1230795"/>
                  </a:cubicBezTo>
                  <a:lnTo>
                    <a:pt x="1130248" y="1224464"/>
                  </a:lnTo>
                  <a:lnTo>
                    <a:pt x="1166989" y="1224464"/>
                  </a:lnTo>
                  <a:cubicBezTo>
                    <a:pt x="1178930" y="1230795"/>
                    <a:pt x="1191330" y="1237125"/>
                    <a:pt x="1203271" y="1243455"/>
                  </a:cubicBezTo>
                  <a:cubicBezTo>
                    <a:pt x="1213375" y="1244963"/>
                    <a:pt x="1223479" y="1246771"/>
                    <a:pt x="1233582" y="1248279"/>
                  </a:cubicBezTo>
                  <a:cubicBezTo>
                    <a:pt x="1242768" y="1247374"/>
                    <a:pt x="1251494" y="1246168"/>
                    <a:pt x="1260679" y="1245264"/>
                  </a:cubicBezTo>
                  <a:cubicBezTo>
                    <a:pt x="1267109" y="1246168"/>
                    <a:pt x="1273079" y="1247374"/>
                    <a:pt x="1279509" y="1248279"/>
                  </a:cubicBezTo>
                  <a:cubicBezTo>
                    <a:pt x="1289613" y="1244661"/>
                    <a:pt x="1299716" y="1240742"/>
                    <a:pt x="1309820" y="1237125"/>
                  </a:cubicBezTo>
                  <a:cubicBezTo>
                    <a:pt x="1310739" y="1232905"/>
                    <a:pt x="1312117" y="1228685"/>
                    <a:pt x="1313035" y="1224464"/>
                  </a:cubicBezTo>
                  <a:cubicBezTo>
                    <a:pt x="1310739" y="1217531"/>
                    <a:pt x="1308902" y="1210900"/>
                    <a:pt x="1306605" y="1203966"/>
                  </a:cubicBezTo>
                  <a:cubicBezTo>
                    <a:pt x="1301094" y="1201856"/>
                    <a:pt x="1296042" y="1199746"/>
                    <a:pt x="1290531" y="1197636"/>
                  </a:cubicBezTo>
                  <a:cubicBezTo>
                    <a:pt x="1286857" y="1196430"/>
                    <a:pt x="1283183" y="1195526"/>
                    <a:pt x="1279509" y="1194320"/>
                  </a:cubicBezTo>
                  <a:cubicBezTo>
                    <a:pt x="1277213" y="1191004"/>
                    <a:pt x="1275375" y="1187990"/>
                    <a:pt x="1273079" y="1184674"/>
                  </a:cubicBezTo>
                  <a:lnTo>
                    <a:pt x="1243227" y="1164176"/>
                  </a:lnTo>
                  <a:lnTo>
                    <a:pt x="1214293" y="1151515"/>
                  </a:lnTo>
                  <a:cubicBezTo>
                    <a:pt x="1208323" y="1146089"/>
                    <a:pt x="1202812" y="1140965"/>
                    <a:pt x="1196841" y="1135539"/>
                  </a:cubicBezTo>
                  <a:cubicBezTo>
                    <a:pt x="1201434" y="1134031"/>
                    <a:pt x="1206486" y="1132223"/>
                    <a:pt x="1211079" y="1130715"/>
                  </a:cubicBezTo>
                  <a:cubicBezTo>
                    <a:pt x="1218427" y="1123481"/>
                    <a:pt x="1226234" y="1115945"/>
                    <a:pt x="1233582" y="1108710"/>
                  </a:cubicBezTo>
                  <a:cubicBezTo>
                    <a:pt x="1229449" y="1105394"/>
                    <a:pt x="1224856" y="1102380"/>
                    <a:pt x="1220723" y="1099064"/>
                  </a:cubicBezTo>
                  <a:cubicBezTo>
                    <a:pt x="1230827" y="1094241"/>
                    <a:pt x="1240931" y="1089719"/>
                    <a:pt x="1251035" y="1084896"/>
                  </a:cubicBezTo>
                  <a:lnTo>
                    <a:pt x="1251035" y="1081580"/>
                  </a:lnTo>
                  <a:cubicBezTo>
                    <a:pt x="1245064" y="1082786"/>
                    <a:pt x="1239553" y="1083690"/>
                    <a:pt x="1233582" y="1084896"/>
                  </a:cubicBezTo>
                  <a:cubicBezTo>
                    <a:pt x="1226234" y="1085800"/>
                    <a:pt x="1218427" y="1087006"/>
                    <a:pt x="1211079" y="1087910"/>
                  </a:cubicBezTo>
                  <a:cubicBezTo>
                    <a:pt x="1207404" y="1090623"/>
                    <a:pt x="1203730" y="1093035"/>
                    <a:pt x="1200056" y="1095748"/>
                  </a:cubicBezTo>
                  <a:lnTo>
                    <a:pt x="1178012" y="1095748"/>
                  </a:lnTo>
                  <a:lnTo>
                    <a:pt x="1160560" y="1105394"/>
                  </a:lnTo>
                  <a:lnTo>
                    <a:pt x="1160560" y="1127701"/>
                  </a:lnTo>
                  <a:cubicBezTo>
                    <a:pt x="1165152" y="1128605"/>
                    <a:pt x="1170204" y="1129811"/>
                    <a:pt x="1174797" y="1130715"/>
                  </a:cubicBezTo>
                  <a:lnTo>
                    <a:pt x="1193627" y="1130715"/>
                  </a:lnTo>
                  <a:cubicBezTo>
                    <a:pt x="1192708" y="1133428"/>
                    <a:pt x="1191330" y="1136141"/>
                    <a:pt x="1190412" y="1138854"/>
                  </a:cubicBezTo>
                  <a:cubicBezTo>
                    <a:pt x="1182604" y="1139759"/>
                    <a:pt x="1174797" y="1140965"/>
                    <a:pt x="1166989" y="1141869"/>
                  </a:cubicBezTo>
                  <a:lnTo>
                    <a:pt x="1136678" y="1160860"/>
                  </a:lnTo>
                  <a:cubicBezTo>
                    <a:pt x="1132544" y="1158750"/>
                    <a:pt x="1127952" y="1156640"/>
                    <a:pt x="1123818" y="1154530"/>
                  </a:cubicBezTo>
                  <a:cubicBezTo>
                    <a:pt x="1126115" y="1149405"/>
                    <a:pt x="1127952" y="1143979"/>
                    <a:pt x="1130248" y="1138854"/>
                  </a:cubicBezTo>
                  <a:lnTo>
                    <a:pt x="1104989" y="1132524"/>
                  </a:lnTo>
                  <a:cubicBezTo>
                    <a:pt x="1107285" y="1131017"/>
                    <a:pt x="1109122" y="1129208"/>
                    <a:pt x="1111418" y="1127701"/>
                  </a:cubicBezTo>
                  <a:cubicBezTo>
                    <a:pt x="1117848" y="1125591"/>
                    <a:pt x="1123818" y="1123481"/>
                    <a:pt x="1130248" y="1121371"/>
                  </a:cubicBezTo>
                  <a:cubicBezTo>
                    <a:pt x="1127952" y="1118055"/>
                    <a:pt x="1126115" y="1115040"/>
                    <a:pt x="1123818" y="1111725"/>
                  </a:cubicBezTo>
                  <a:lnTo>
                    <a:pt x="1087537" y="1105394"/>
                  </a:lnTo>
                  <a:lnTo>
                    <a:pt x="1087537" y="1095748"/>
                  </a:lnTo>
                  <a:cubicBezTo>
                    <a:pt x="1081107" y="1096954"/>
                    <a:pt x="1074677" y="1097858"/>
                    <a:pt x="1068248" y="1099064"/>
                  </a:cubicBezTo>
                  <a:cubicBezTo>
                    <a:pt x="1065492" y="1104490"/>
                    <a:pt x="1063196" y="1109614"/>
                    <a:pt x="1060440" y="1115040"/>
                  </a:cubicBezTo>
                  <a:cubicBezTo>
                    <a:pt x="1054010" y="1121974"/>
                    <a:pt x="1048040" y="1128605"/>
                    <a:pt x="1041610" y="1135539"/>
                  </a:cubicBezTo>
                  <a:cubicBezTo>
                    <a:pt x="1042529" y="1136744"/>
                    <a:pt x="1043447" y="1137649"/>
                    <a:pt x="1044366" y="1138854"/>
                  </a:cubicBezTo>
                  <a:lnTo>
                    <a:pt x="1031966" y="1145185"/>
                  </a:lnTo>
                  <a:cubicBezTo>
                    <a:pt x="1029210" y="1143979"/>
                    <a:pt x="1026914" y="1143075"/>
                    <a:pt x="1024158" y="1141869"/>
                  </a:cubicBezTo>
                  <a:cubicBezTo>
                    <a:pt x="1023240" y="1153927"/>
                    <a:pt x="1021862" y="1166286"/>
                    <a:pt x="1020943" y="1178344"/>
                  </a:cubicBezTo>
                  <a:cubicBezTo>
                    <a:pt x="1016810" y="1181659"/>
                    <a:pt x="1012217" y="1184674"/>
                    <a:pt x="1008084" y="1187990"/>
                  </a:cubicBezTo>
                  <a:lnTo>
                    <a:pt x="998440" y="1206981"/>
                  </a:lnTo>
                  <a:cubicBezTo>
                    <a:pt x="1001654" y="1212708"/>
                    <a:pt x="1004869" y="1218737"/>
                    <a:pt x="1008084" y="1224464"/>
                  </a:cubicBezTo>
                  <a:lnTo>
                    <a:pt x="1008084" y="1234111"/>
                  </a:lnTo>
                  <a:cubicBezTo>
                    <a:pt x="1014054" y="1237125"/>
                    <a:pt x="1019566" y="1240441"/>
                    <a:pt x="1025536" y="1243455"/>
                  </a:cubicBezTo>
                  <a:lnTo>
                    <a:pt x="1024158" y="1245264"/>
                  </a:lnTo>
                  <a:cubicBezTo>
                    <a:pt x="1015432" y="1246168"/>
                    <a:pt x="1007166" y="1247374"/>
                    <a:pt x="998440" y="1248279"/>
                  </a:cubicBezTo>
                  <a:cubicBezTo>
                    <a:pt x="994306" y="1251594"/>
                    <a:pt x="990173" y="1254609"/>
                    <a:pt x="986039" y="1257925"/>
                  </a:cubicBezTo>
                  <a:cubicBezTo>
                    <a:pt x="980069" y="1262145"/>
                    <a:pt x="974558" y="1266365"/>
                    <a:pt x="968587" y="1270585"/>
                  </a:cubicBezTo>
                  <a:cubicBezTo>
                    <a:pt x="966291" y="1267269"/>
                    <a:pt x="964454" y="1264255"/>
                    <a:pt x="962158" y="1260939"/>
                  </a:cubicBezTo>
                  <a:lnTo>
                    <a:pt x="962158" y="1254609"/>
                  </a:lnTo>
                  <a:cubicBezTo>
                    <a:pt x="958024" y="1253705"/>
                    <a:pt x="953432" y="1252499"/>
                    <a:pt x="949298" y="1251594"/>
                  </a:cubicBezTo>
                  <a:cubicBezTo>
                    <a:pt x="945624" y="1250389"/>
                    <a:pt x="941950" y="1249484"/>
                    <a:pt x="938276" y="1248279"/>
                  </a:cubicBezTo>
                  <a:lnTo>
                    <a:pt x="911179" y="1257925"/>
                  </a:lnTo>
                  <a:cubicBezTo>
                    <a:pt x="915772" y="1263351"/>
                    <a:pt x="920824" y="1268475"/>
                    <a:pt x="925417" y="1273901"/>
                  </a:cubicBezTo>
                  <a:cubicBezTo>
                    <a:pt x="922202" y="1274806"/>
                    <a:pt x="918987" y="1276011"/>
                    <a:pt x="915772" y="1276916"/>
                  </a:cubicBezTo>
                  <a:lnTo>
                    <a:pt x="904750" y="1276916"/>
                  </a:lnTo>
                  <a:lnTo>
                    <a:pt x="892350" y="1264255"/>
                  </a:lnTo>
                  <a:cubicBezTo>
                    <a:pt x="890053" y="1265159"/>
                    <a:pt x="888216" y="1266365"/>
                    <a:pt x="885920" y="1267269"/>
                  </a:cubicBezTo>
                  <a:cubicBezTo>
                    <a:pt x="888216" y="1272997"/>
                    <a:pt x="890053" y="1279026"/>
                    <a:pt x="892350" y="1284753"/>
                  </a:cubicBezTo>
                  <a:cubicBezTo>
                    <a:pt x="896483" y="1288973"/>
                    <a:pt x="900616" y="1293495"/>
                    <a:pt x="904750" y="1297715"/>
                  </a:cubicBezTo>
                  <a:cubicBezTo>
                    <a:pt x="901535" y="1299825"/>
                    <a:pt x="898779" y="1301936"/>
                    <a:pt x="895564" y="1304046"/>
                  </a:cubicBezTo>
                  <a:cubicBezTo>
                    <a:pt x="899698" y="1307060"/>
                    <a:pt x="903831" y="1310376"/>
                    <a:pt x="907965" y="1313390"/>
                  </a:cubicBezTo>
                  <a:lnTo>
                    <a:pt x="918987" y="1321529"/>
                  </a:lnTo>
                  <a:lnTo>
                    <a:pt x="918987" y="1337204"/>
                  </a:lnTo>
                  <a:lnTo>
                    <a:pt x="898320" y="1330874"/>
                  </a:lnTo>
                  <a:cubicBezTo>
                    <a:pt x="900616" y="1335094"/>
                    <a:pt x="902453" y="1339315"/>
                    <a:pt x="904750" y="1343535"/>
                  </a:cubicBezTo>
                  <a:cubicBezTo>
                    <a:pt x="900616" y="1344741"/>
                    <a:pt x="896483" y="1345645"/>
                    <a:pt x="892350" y="1346851"/>
                  </a:cubicBezTo>
                  <a:cubicBezTo>
                    <a:pt x="895564" y="1352578"/>
                    <a:pt x="898320" y="1358607"/>
                    <a:pt x="901535" y="1364334"/>
                  </a:cubicBezTo>
                  <a:lnTo>
                    <a:pt x="885920" y="1364334"/>
                  </a:lnTo>
                  <a:lnTo>
                    <a:pt x="865253" y="1356195"/>
                  </a:lnTo>
                  <a:cubicBezTo>
                    <a:pt x="862957" y="1349865"/>
                    <a:pt x="861120" y="1343535"/>
                    <a:pt x="858823" y="1337204"/>
                  </a:cubicBezTo>
                  <a:cubicBezTo>
                    <a:pt x="857905" y="1331477"/>
                    <a:pt x="856527" y="1325448"/>
                    <a:pt x="855608" y="1319721"/>
                  </a:cubicBezTo>
                  <a:cubicBezTo>
                    <a:pt x="851475" y="1315500"/>
                    <a:pt x="846882" y="1311280"/>
                    <a:pt x="842749" y="1307060"/>
                  </a:cubicBezTo>
                  <a:cubicBezTo>
                    <a:pt x="839994" y="1301634"/>
                    <a:pt x="837697" y="1296510"/>
                    <a:pt x="834942" y="1291084"/>
                  </a:cubicBezTo>
                  <a:lnTo>
                    <a:pt x="834942" y="1284753"/>
                  </a:lnTo>
                  <a:lnTo>
                    <a:pt x="828512" y="1284753"/>
                  </a:lnTo>
                  <a:lnTo>
                    <a:pt x="828512" y="1280232"/>
                  </a:lnTo>
                  <a:cubicBezTo>
                    <a:pt x="824379" y="1276011"/>
                    <a:pt x="820245" y="1271490"/>
                    <a:pt x="816112" y="1267269"/>
                  </a:cubicBezTo>
                  <a:lnTo>
                    <a:pt x="816112" y="1257925"/>
                  </a:lnTo>
                  <a:lnTo>
                    <a:pt x="816112" y="1240441"/>
                  </a:lnTo>
                  <a:cubicBezTo>
                    <a:pt x="817030" y="1237125"/>
                    <a:pt x="818408" y="1234111"/>
                    <a:pt x="819327" y="1230795"/>
                  </a:cubicBezTo>
                  <a:cubicBezTo>
                    <a:pt x="818408" y="1229890"/>
                    <a:pt x="817030" y="1228685"/>
                    <a:pt x="816112" y="1227780"/>
                  </a:cubicBezTo>
                  <a:cubicBezTo>
                    <a:pt x="813815" y="1226575"/>
                    <a:pt x="811978" y="1225670"/>
                    <a:pt x="809682" y="1224464"/>
                  </a:cubicBezTo>
                  <a:cubicBezTo>
                    <a:pt x="807386" y="1221450"/>
                    <a:pt x="805549" y="1218134"/>
                    <a:pt x="803252" y="1215120"/>
                  </a:cubicBezTo>
                  <a:cubicBezTo>
                    <a:pt x="801875" y="1213010"/>
                    <a:pt x="800038" y="1210598"/>
                    <a:pt x="798660" y="1208488"/>
                  </a:cubicBezTo>
                  <a:cubicBezTo>
                    <a:pt x="791312" y="1205775"/>
                    <a:pt x="783504" y="1203363"/>
                    <a:pt x="776156" y="1200650"/>
                  </a:cubicBezTo>
                  <a:lnTo>
                    <a:pt x="760541" y="1191306"/>
                  </a:lnTo>
                  <a:cubicBezTo>
                    <a:pt x="753652" y="1189196"/>
                    <a:pt x="746763" y="1186784"/>
                    <a:pt x="739874" y="1184674"/>
                  </a:cubicBezTo>
                  <a:cubicBezTo>
                    <a:pt x="733904" y="1177741"/>
                    <a:pt x="728392" y="1171109"/>
                    <a:pt x="722422" y="1164176"/>
                  </a:cubicBezTo>
                  <a:lnTo>
                    <a:pt x="727015" y="1164176"/>
                  </a:lnTo>
                  <a:cubicBezTo>
                    <a:pt x="724259" y="1158750"/>
                    <a:pt x="721963" y="1153625"/>
                    <a:pt x="719207" y="1148199"/>
                  </a:cubicBezTo>
                  <a:lnTo>
                    <a:pt x="719207" y="1138854"/>
                  </a:lnTo>
                  <a:cubicBezTo>
                    <a:pt x="713696" y="1137649"/>
                    <a:pt x="708644" y="1136744"/>
                    <a:pt x="703133" y="1135539"/>
                  </a:cubicBezTo>
                  <a:cubicBezTo>
                    <a:pt x="699918" y="1139759"/>
                    <a:pt x="697163" y="1143979"/>
                    <a:pt x="693948" y="1148199"/>
                  </a:cubicBezTo>
                  <a:cubicBezTo>
                    <a:pt x="693029" y="1145185"/>
                    <a:pt x="691651" y="1141869"/>
                    <a:pt x="690733" y="1138854"/>
                  </a:cubicBezTo>
                  <a:lnTo>
                    <a:pt x="690733" y="1130715"/>
                  </a:lnTo>
                  <a:lnTo>
                    <a:pt x="690733" y="1127701"/>
                  </a:lnTo>
                  <a:lnTo>
                    <a:pt x="693948" y="1127701"/>
                  </a:lnTo>
                  <a:cubicBezTo>
                    <a:pt x="688896" y="1126495"/>
                    <a:pt x="684303" y="1125591"/>
                    <a:pt x="679251" y="1124385"/>
                  </a:cubicBezTo>
                  <a:cubicBezTo>
                    <a:pt x="672822" y="1127098"/>
                    <a:pt x="666851" y="1129811"/>
                    <a:pt x="660421" y="1132524"/>
                  </a:cubicBezTo>
                  <a:lnTo>
                    <a:pt x="660421" y="1145185"/>
                  </a:lnTo>
                  <a:cubicBezTo>
                    <a:pt x="659503" y="1148199"/>
                    <a:pt x="658125" y="1151515"/>
                    <a:pt x="657207" y="1154530"/>
                  </a:cubicBezTo>
                  <a:lnTo>
                    <a:pt x="666851" y="1167190"/>
                  </a:lnTo>
                  <a:lnTo>
                    <a:pt x="687518" y="1181659"/>
                  </a:lnTo>
                  <a:cubicBezTo>
                    <a:pt x="690733" y="1187990"/>
                    <a:pt x="693488" y="1194320"/>
                    <a:pt x="696703" y="1200650"/>
                  </a:cubicBezTo>
                  <a:cubicBezTo>
                    <a:pt x="705429" y="1208488"/>
                    <a:pt x="713696" y="1216627"/>
                    <a:pt x="722422" y="1224464"/>
                  </a:cubicBezTo>
                  <a:lnTo>
                    <a:pt x="736659" y="1224464"/>
                  </a:lnTo>
                  <a:lnTo>
                    <a:pt x="746304" y="1230795"/>
                  </a:lnTo>
                  <a:lnTo>
                    <a:pt x="736659" y="1237125"/>
                  </a:lnTo>
                  <a:lnTo>
                    <a:pt x="758704" y="1245264"/>
                  </a:lnTo>
                  <a:cubicBezTo>
                    <a:pt x="764674" y="1247374"/>
                    <a:pt x="770185" y="1249484"/>
                    <a:pt x="776156" y="1251594"/>
                  </a:cubicBezTo>
                  <a:lnTo>
                    <a:pt x="795445" y="1264255"/>
                  </a:lnTo>
                  <a:cubicBezTo>
                    <a:pt x="796363" y="1266365"/>
                    <a:pt x="797741" y="1268475"/>
                    <a:pt x="798660" y="1270585"/>
                  </a:cubicBezTo>
                  <a:cubicBezTo>
                    <a:pt x="796363" y="1274203"/>
                    <a:pt x="794526" y="1278121"/>
                    <a:pt x="792230" y="1281739"/>
                  </a:cubicBezTo>
                  <a:lnTo>
                    <a:pt x="782586" y="1267269"/>
                  </a:lnTo>
                  <a:cubicBezTo>
                    <a:pt x="774778" y="1266365"/>
                    <a:pt x="766511" y="1265159"/>
                    <a:pt x="758704" y="1264255"/>
                  </a:cubicBezTo>
                  <a:cubicBezTo>
                    <a:pt x="756408" y="1269982"/>
                    <a:pt x="754570" y="1276011"/>
                    <a:pt x="752274" y="1281739"/>
                  </a:cubicBezTo>
                  <a:cubicBezTo>
                    <a:pt x="757326" y="1284753"/>
                    <a:pt x="761919" y="1288069"/>
                    <a:pt x="766971" y="1291084"/>
                  </a:cubicBezTo>
                  <a:cubicBezTo>
                    <a:pt x="766052" y="1295304"/>
                    <a:pt x="764674" y="1299825"/>
                    <a:pt x="763756" y="1304046"/>
                  </a:cubicBezTo>
                  <a:cubicBezTo>
                    <a:pt x="761000" y="1304950"/>
                    <a:pt x="758245" y="1306156"/>
                    <a:pt x="755489" y="1307060"/>
                  </a:cubicBezTo>
                  <a:lnTo>
                    <a:pt x="743089" y="1327860"/>
                  </a:lnTo>
                  <a:cubicBezTo>
                    <a:pt x="739874" y="1328764"/>
                    <a:pt x="736659" y="1329970"/>
                    <a:pt x="733444" y="1330874"/>
                  </a:cubicBezTo>
                  <a:lnTo>
                    <a:pt x="733444" y="1327860"/>
                  </a:lnTo>
                  <a:cubicBezTo>
                    <a:pt x="734363" y="1325750"/>
                    <a:pt x="735741" y="1323639"/>
                    <a:pt x="736659" y="1321529"/>
                  </a:cubicBezTo>
                  <a:lnTo>
                    <a:pt x="736659" y="1307060"/>
                  </a:lnTo>
                  <a:cubicBezTo>
                    <a:pt x="738956" y="1306156"/>
                    <a:pt x="740793" y="1304950"/>
                    <a:pt x="743089" y="1304046"/>
                  </a:cubicBezTo>
                  <a:cubicBezTo>
                    <a:pt x="740793" y="1298620"/>
                    <a:pt x="738956" y="1293495"/>
                    <a:pt x="736659" y="1288069"/>
                  </a:cubicBezTo>
                  <a:cubicBezTo>
                    <a:pt x="733444" y="1283246"/>
                    <a:pt x="730230" y="1278724"/>
                    <a:pt x="727015" y="1273901"/>
                  </a:cubicBezTo>
                  <a:cubicBezTo>
                    <a:pt x="725637" y="1272695"/>
                    <a:pt x="723800" y="1271791"/>
                    <a:pt x="722422" y="1270585"/>
                  </a:cubicBezTo>
                  <a:cubicBezTo>
                    <a:pt x="719207" y="1267269"/>
                    <a:pt x="715992" y="1264255"/>
                    <a:pt x="712777" y="1260939"/>
                  </a:cubicBezTo>
                  <a:cubicBezTo>
                    <a:pt x="707266" y="1258829"/>
                    <a:pt x="702214" y="1256719"/>
                    <a:pt x="696703" y="1254609"/>
                  </a:cubicBezTo>
                  <a:cubicBezTo>
                    <a:pt x="693488" y="1251594"/>
                    <a:pt x="690733" y="1248279"/>
                    <a:pt x="687518" y="1245264"/>
                  </a:cubicBezTo>
                  <a:lnTo>
                    <a:pt x="673281" y="1243455"/>
                  </a:lnTo>
                  <a:cubicBezTo>
                    <a:pt x="667770" y="1239235"/>
                    <a:pt x="662718" y="1235015"/>
                    <a:pt x="657207" y="1230795"/>
                  </a:cubicBezTo>
                  <a:cubicBezTo>
                    <a:pt x="649399" y="1224464"/>
                    <a:pt x="641132" y="1218134"/>
                    <a:pt x="633325" y="1211804"/>
                  </a:cubicBezTo>
                  <a:lnTo>
                    <a:pt x="617710" y="1200650"/>
                  </a:lnTo>
                  <a:cubicBezTo>
                    <a:pt x="616791" y="1191004"/>
                    <a:pt x="615414" y="1181659"/>
                    <a:pt x="614495" y="1172013"/>
                  </a:cubicBezTo>
                  <a:cubicBezTo>
                    <a:pt x="610821" y="1170506"/>
                    <a:pt x="607147" y="1168697"/>
                    <a:pt x="603473" y="1167190"/>
                  </a:cubicBezTo>
                  <a:lnTo>
                    <a:pt x="584184" y="1160860"/>
                  </a:lnTo>
                  <a:cubicBezTo>
                    <a:pt x="580510" y="1162066"/>
                    <a:pt x="576835" y="1162970"/>
                    <a:pt x="573161" y="1164176"/>
                  </a:cubicBezTo>
                  <a:cubicBezTo>
                    <a:pt x="569028" y="1167793"/>
                    <a:pt x="564435" y="1171712"/>
                    <a:pt x="560302" y="1175329"/>
                  </a:cubicBezTo>
                  <a:cubicBezTo>
                    <a:pt x="558006" y="1176233"/>
                    <a:pt x="556169" y="1177439"/>
                    <a:pt x="553872" y="1178344"/>
                  </a:cubicBezTo>
                  <a:cubicBezTo>
                    <a:pt x="546065" y="1183770"/>
                    <a:pt x="538257" y="1188894"/>
                    <a:pt x="530450" y="1194320"/>
                  </a:cubicBezTo>
                  <a:cubicBezTo>
                    <a:pt x="517131" y="1191004"/>
                    <a:pt x="503813" y="1187990"/>
                    <a:pt x="490494" y="1184674"/>
                  </a:cubicBezTo>
                  <a:cubicBezTo>
                    <a:pt x="479472" y="1187990"/>
                    <a:pt x="468449" y="1191004"/>
                    <a:pt x="457427" y="1194320"/>
                  </a:cubicBezTo>
                  <a:cubicBezTo>
                    <a:pt x="456508" y="1199143"/>
                    <a:pt x="455131" y="1203665"/>
                    <a:pt x="454212" y="1208488"/>
                  </a:cubicBezTo>
                  <a:lnTo>
                    <a:pt x="454212" y="1227780"/>
                  </a:lnTo>
                  <a:lnTo>
                    <a:pt x="431708" y="1245264"/>
                  </a:lnTo>
                  <a:cubicBezTo>
                    <a:pt x="423901" y="1246168"/>
                    <a:pt x="415634" y="1247374"/>
                    <a:pt x="407826" y="1248279"/>
                  </a:cubicBezTo>
                  <a:cubicBezTo>
                    <a:pt x="406908" y="1251594"/>
                    <a:pt x="405530" y="1254609"/>
                    <a:pt x="404612" y="1257925"/>
                  </a:cubicBezTo>
                  <a:cubicBezTo>
                    <a:pt x="400478" y="1263351"/>
                    <a:pt x="396345" y="1268475"/>
                    <a:pt x="392211" y="1273901"/>
                  </a:cubicBezTo>
                  <a:cubicBezTo>
                    <a:pt x="389456" y="1280834"/>
                    <a:pt x="387160" y="1287466"/>
                    <a:pt x="384404" y="1294399"/>
                  </a:cubicBezTo>
                  <a:cubicBezTo>
                    <a:pt x="387160" y="1298620"/>
                    <a:pt x="389456" y="1302840"/>
                    <a:pt x="392211" y="1307060"/>
                  </a:cubicBezTo>
                  <a:cubicBezTo>
                    <a:pt x="387619" y="1311280"/>
                    <a:pt x="382567" y="1315500"/>
                    <a:pt x="377974" y="1319721"/>
                  </a:cubicBezTo>
                  <a:cubicBezTo>
                    <a:pt x="375678" y="1325448"/>
                    <a:pt x="373841" y="1331477"/>
                    <a:pt x="371545" y="1337204"/>
                  </a:cubicBezTo>
                  <a:cubicBezTo>
                    <a:pt x="366033" y="1339315"/>
                    <a:pt x="360982" y="1341425"/>
                    <a:pt x="355470" y="1343535"/>
                  </a:cubicBezTo>
                  <a:cubicBezTo>
                    <a:pt x="350878" y="1349262"/>
                    <a:pt x="345826" y="1355291"/>
                    <a:pt x="341233" y="1361018"/>
                  </a:cubicBezTo>
                  <a:lnTo>
                    <a:pt x="310922" y="1361018"/>
                  </a:lnTo>
                  <a:lnTo>
                    <a:pt x="292092" y="1361018"/>
                  </a:lnTo>
                  <a:cubicBezTo>
                    <a:pt x="286581" y="1363129"/>
                    <a:pt x="281529" y="1365239"/>
                    <a:pt x="276018" y="1367349"/>
                  </a:cubicBezTo>
                  <a:cubicBezTo>
                    <a:pt x="273262" y="1371569"/>
                    <a:pt x="270966" y="1376091"/>
                    <a:pt x="268210" y="1380311"/>
                  </a:cubicBezTo>
                  <a:cubicBezTo>
                    <a:pt x="264995" y="1379105"/>
                    <a:pt x="261781" y="1378201"/>
                    <a:pt x="258566" y="1376995"/>
                  </a:cubicBezTo>
                  <a:cubicBezTo>
                    <a:pt x="255351" y="1373679"/>
                    <a:pt x="252595" y="1370665"/>
                    <a:pt x="249380" y="1367349"/>
                  </a:cubicBezTo>
                  <a:cubicBezTo>
                    <a:pt x="247084" y="1362526"/>
                    <a:pt x="245247" y="1358004"/>
                    <a:pt x="242951" y="1353181"/>
                  </a:cubicBezTo>
                  <a:cubicBezTo>
                    <a:pt x="236980" y="1351975"/>
                    <a:pt x="231469" y="1351071"/>
                    <a:pt x="225499" y="1349865"/>
                  </a:cubicBezTo>
                  <a:lnTo>
                    <a:pt x="215854" y="1356195"/>
                  </a:lnTo>
                  <a:cubicBezTo>
                    <a:pt x="210802" y="1355291"/>
                    <a:pt x="205291" y="1354085"/>
                    <a:pt x="200239" y="1353181"/>
                  </a:cubicBezTo>
                  <a:cubicBezTo>
                    <a:pt x="197484" y="1354085"/>
                    <a:pt x="194728" y="1355291"/>
                    <a:pt x="191972" y="1356195"/>
                  </a:cubicBezTo>
                  <a:cubicBezTo>
                    <a:pt x="192891" y="1349865"/>
                    <a:pt x="194269" y="1343535"/>
                    <a:pt x="195187" y="1337204"/>
                  </a:cubicBezTo>
                  <a:cubicBezTo>
                    <a:pt x="194269" y="1332080"/>
                    <a:pt x="192891" y="1326654"/>
                    <a:pt x="191972" y="1321529"/>
                  </a:cubicBezTo>
                  <a:cubicBezTo>
                    <a:pt x="188758" y="1320926"/>
                    <a:pt x="186002" y="1320324"/>
                    <a:pt x="182787" y="1319721"/>
                  </a:cubicBezTo>
                  <a:cubicBezTo>
                    <a:pt x="181869" y="1315500"/>
                    <a:pt x="180491" y="1311280"/>
                    <a:pt x="179572" y="1307060"/>
                  </a:cubicBezTo>
                  <a:lnTo>
                    <a:pt x="179572" y="1291084"/>
                  </a:lnTo>
                  <a:cubicBezTo>
                    <a:pt x="182787" y="1288069"/>
                    <a:pt x="185543" y="1284753"/>
                    <a:pt x="188758" y="1281739"/>
                  </a:cubicBezTo>
                  <a:lnTo>
                    <a:pt x="188758" y="1270585"/>
                  </a:lnTo>
                  <a:cubicBezTo>
                    <a:pt x="191054" y="1265159"/>
                    <a:pt x="192891" y="1260035"/>
                    <a:pt x="195187" y="1254609"/>
                  </a:cubicBezTo>
                  <a:lnTo>
                    <a:pt x="195187" y="1245264"/>
                  </a:lnTo>
                  <a:cubicBezTo>
                    <a:pt x="192891" y="1242551"/>
                    <a:pt x="191054" y="1239838"/>
                    <a:pt x="188758" y="1237125"/>
                  </a:cubicBezTo>
                  <a:lnTo>
                    <a:pt x="188758" y="1227780"/>
                  </a:lnTo>
                  <a:lnTo>
                    <a:pt x="188758" y="1206981"/>
                  </a:lnTo>
                  <a:cubicBezTo>
                    <a:pt x="185543" y="1203966"/>
                    <a:pt x="182787" y="1200650"/>
                    <a:pt x="179572" y="1197636"/>
                  </a:cubicBezTo>
                  <a:lnTo>
                    <a:pt x="209424" y="1175329"/>
                  </a:lnTo>
                  <a:lnTo>
                    <a:pt x="239736" y="1181659"/>
                  </a:lnTo>
                  <a:lnTo>
                    <a:pt x="268210" y="1181659"/>
                  </a:lnTo>
                  <a:cubicBezTo>
                    <a:pt x="276018" y="1182564"/>
                    <a:pt x="284284" y="1183770"/>
                    <a:pt x="292092" y="1184674"/>
                  </a:cubicBezTo>
                  <a:lnTo>
                    <a:pt x="310922" y="1184674"/>
                  </a:lnTo>
                  <a:lnTo>
                    <a:pt x="347663" y="1184674"/>
                  </a:lnTo>
                  <a:cubicBezTo>
                    <a:pt x="350418" y="1179549"/>
                    <a:pt x="352715" y="1174123"/>
                    <a:pt x="355470" y="1168999"/>
                  </a:cubicBezTo>
                  <a:cubicBezTo>
                    <a:pt x="357767" y="1150912"/>
                    <a:pt x="359604" y="1133127"/>
                    <a:pt x="361900" y="1115040"/>
                  </a:cubicBezTo>
                  <a:cubicBezTo>
                    <a:pt x="354093" y="1105093"/>
                    <a:pt x="345826" y="1094844"/>
                    <a:pt x="338018" y="1084896"/>
                  </a:cubicBezTo>
                  <a:lnTo>
                    <a:pt x="322403" y="1071934"/>
                  </a:lnTo>
                  <a:lnTo>
                    <a:pt x="288877" y="1062589"/>
                  </a:lnTo>
                  <a:cubicBezTo>
                    <a:pt x="287959" y="1054752"/>
                    <a:pt x="286581" y="1046613"/>
                    <a:pt x="285662" y="1038775"/>
                  </a:cubicBezTo>
                  <a:cubicBezTo>
                    <a:pt x="294848" y="1037569"/>
                    <a:pt x="303574" y="1036665"/>
                    <a:pt x="312759" y="1035459"/>
                  </a:cubicBezTo>
                  <a:cubicBezTo>
                    <a:pt x="324700" y="1036665"/>
                    <a:pt x="337100" y="1037569"/>
                    <a:pt x="349041" y="1038775"/>
                  </a:cubicBezTo>
                  <a:cubicBezTo>
                    <a:pt x="348581" y="1028827"/>
                    <a:pt x="348122" y="1018578"/>
                    <a:pt x="347663" y="1008631"/>
                  </a:cubicBezTo>
                  <a:cubicBezTo>
                    <a:pt x="353633" y="1012248"/>
                    <a:pt x="359144" y="1016167"/>
                    <a:pt x="365115" y="1019784"/>
                  </a:cubicBezTo>
                  <a:lnTo>
                    <a:pt x="417471" y="998985"/>
                  </a:lnTo>
                  <a:cubicBezTo>
                    <a:pt x="420227" y="991147"/>
                    <a:pt x="422523" y="983008"/>
                    <a:pt x="425278" y="975171"/>
                  </a:cubicBezTo>
                  <a:lnTo>
                    <a:pt x="444567" y="968840"/>
                  </a:lnTo>
                  <a:cubicBezTo>
                    <a:pt x="450538" y="966730"/>
                    <a:pt x="456049" y="964620"/>
                    <a:pt x="462020" y="962510"/>
                  </a:cubicBezTo>
                  <a:lnTo>
                    <a:pt x="471664" y="956180"/>
                  </a:lnTo>
                  <a:lnTo>
                    <a:pt x="493709" y="910059"/>
                  </a:lnTo>
                  <a:lnTo>
                    <a:pt x="520805" y="902221"/>
                  </a:lnTo>
                  <a:lnTo>
                    <a:pt x="538257" y="902221"/>
                  </a:lnTo>
                  <a:cubicBezTo>
                    <a:pt x="540554" y="900111"/>
                    <a:pt x="542391" y="898001"/>
                    <a:pt x="544687" y="895891"/>
                  </a:cubicBezTo>
                  <a:cubicBezTo>
                    <a:pt x="551117" y="894685"/>
                    <a:pt x="557087" y="893781"/>
                    <a:pt x="563517" y="892575"/>
                  </a:cubicBezTo>
                  <a:cubicBezTo>
                    <a:pt x="565813" y="895891"/>
                    <a:pt x="567650" y="898905"/>
                    <a:pt x="569946" y="902221"/>
                  </a:cubicBezTo>
                  <a:cubicBezTo>
                    <a:pt x="573621" y="895891"/>
                    <a:pt x="577295" y="889259"/>
                    <a:pt x="580969" y="882929"/>
                  </a:cubicBezTo>
                  <a:cubicBezTo>
                    <a:pt x="578672" y="878709"/>
                    <a:pt x="576835" y="874488"/>
                    <a:pt x="574539" y="870268"/>
                  </a:cubicBezTo>
                  <a:lnTo>
                    <a:pt x="574539" y="856100"/>
                  </a:lnTo>
                  <a:cubicBezTo>
                    <a:pt x="573161" y="850674"/>
                    <a:pt x="571324" y="845550"/>
                    <a:pt x="569946" y="840124"/>
                  </a:cubicBezTo>
                  <a:cubicBezTo>
                    <a:pt x="569028" y="828970"/>
                    <a:pt x="567650" y="818118"/>
                    <a:pt x="566732" y="806965"/>
                  </a:cubicBezTo>
                  <a:cubicBezTo>
                    <a:pt x="569028" y="802745"/>
                    <a:pt x="570865" y="798223"/>
                    <a:pt x="573161" y="794003"/>
                  </a:cubicBezTo>
                  <a:lnTo>
                    <a:pt x="574539" y="789481"/>
                  </a:lnTo>
                  <a:cubicBezTo>
                    <a:pt x="580969" y="788275"/>
                    <a:pt x="587398" y="787371"/>
                    <a:pt x="593828" y="786165"/>
                  </a:cubicBezTo>
                  <a:cubicBezTo>
                    <a:pt x="597043" y="782849"/>
                    <a:pt x="600258" y="779835"/>
                    <a:pt x="603473" y="776519"/>
                  </a:cubicBezTo>
                  <a:cubicBezTo>
                    <a:pt x="609443" y="773505"/>
                    <a:pt x="614954" y="770189"/>
                    <a:pt x="620925" y="767174"/>
                  </a:cubicBezTo>
                  <a:lnTo>
                    <a:pt x="620925" y="786165"/>
                  </a:lnTo>
                  <a:cubicBezTo>
                    <a:pt x="618628" y="788878"/>
                    <a:pt x="616791" y="791290"/>
                    <a:pt x="614495" y="794003"/>
                  </a:cubicBezTo>
                  <a:cubicBezTo>
                    <a:pt x="615414" y="797319"/>
                    <a:pt x="616791" y="800333"/>
                    <a:pt x="617710" y="803649"/>
                  </a:cubicBezTo>
                  <a:lnTo>
                    <a:pt x="630110" y="809979"/>
                  </a:lnTo>
                  <a:cubicBezTo>
                    <a:pt x="627814" y="813295"/>
                    <a:pt x="625977" y="816310"/>
                    <a:pt x="623680" y="819626"/>
                  </a:cubicBezTo>
                  <a:cubicBezTo>
                    <a:pt x="621843" y="818420"/>
                    <a:pt x="619547" y="817515"/>
                    <a:pt x="617710" y="816310"/>
                  </a:cubicBezTo>
                  <a:cubicBezTo>
                    <a:pt x="611739" y="824147"/>
                    <a:pt x="606228" y="832286"/>
                    <a:pt x="600258" y="840124"/>
                  </a:cubicBezTo>
                  <a:cubicBezTo>
                    <a:pt x="603473" y="845550"/>
                    <a:pt x="606228" y="850674"/>
                    <a:pt x="609443" y="856100"/>
                  </a:cubicBezTo>
                  <a:lnTo>
                    <a:pt x="609443" y="865445"/>
                  </a:lnTo>
                  <a:cubicBezTo>
                    <a:pt x="616332" y="866952"/>
                    <a:pt x="623221" y="868761"/>
                    <a:pt x="630110" y="870268"/>
                  </a:cubicBezTo>
                  <a:lnTo>
                    <a:pt x="630110" y="876598"/>
                  </a:lnTo>
                  <a:lnTo>
                    <a:pt x="630110" y="882929"/>
                  </a:lnTo>
                  <a:lnTo>
                    <a:pt x="650777" y="876598"/>
                  </a:lnTo>
                  <a:cubicBezTo>
                    <a:pt x="654910" y="874488"/>
                    <a:pt x="659503" y="872378"/>
                    <a:pt x="663636" y="870268"/>
                  </a:cubicBezTo>
                  <a:lnTo>
                    <a:pt x="690733" y="879914"/>
                  </a:lnTo>
                  <a:cubicBezTo>
                    <a:pt x="692570" y="884135"/>
                    <a:pt x="694866" y="888355"/>
                    <a:pt x="696703" y="892575"/>
                  </a:cubicBezTo>
                  <a:cubicBezTo>
                    <a:pt x="703133" y="889259"/>
                    <a:pt x="709563" y="886245"/>
                    <a:pt x="715992" y="882929"/>
                  </a:cubicBezTo>
                  <a:lnTo>
                    <a:pt x="749519" y="867254"/>
                  </a:lnTo>
                  <a:cubicBezTo>
                    <a:pt x="759622" y="863636"/>
                    <a:pt x="769267" y="859718"/>
                    <a:pt x="779371" y="856100"/>
                  </a:cubicBezTo>
                  <a:lnTo>
                    <a:pt x="798660" y="862431"/>
                  </a:lnTo>
                  <a:cubicBezTo>
                    <a:pt x="799119" y="865144"/>
                    <a:pt x="799578" y="867555"/>
                    <a:pt x="800038" y="870268"/>
                  </a:cubicBezTo>
                  <a:lnTo>
                    <a:pt x="822542" y="870268"/>
                  </a:lnTo>
                  <a:cubicBezTo>
                    <a:pt x="823460" y="865445"/>
                    <a:pt x="824379" y="860923"/>
                    <a:pt x="825297" y="856100"/>
                  </a:cubicBezTo>
                  <a:cubicBezTo>
                    <a:pt x="836319" y="852784"/>
                    <a:pt x="847801" y="849770"/>
                    <a:pt x="858823" y="846454"/>
                  </a:cubicBezTo>
                  <a:cubicBezTo>
                    <a:pt x="856527" y="838617"/>
                    <a:pt x="854690" y="830478"/>
                    <a:pt x="852394" y="822640"/>
                  </a:cubicBezTo>
                  <a:lnTo>
                    <a:pt x="852394" y="797319"/>
                  </a:lnTo>
                  <a:cubicBezTo>
                    <a:pt x="856527" y="790386"/>
                    <a:pt x="861120" y="783452"/>
                    <a:pt x="865253" y="776519"/>
                  </a:cubicBezTo>
                  <a:cubicBezTo>
                    <a:pt x="872142" y="773505"/>
                    <a:pt x="879031" y="770189"/>
                    <a:pt x="885920" y="767174"/>
                  </a:cubicBezTo>
                  <a:cubicBezTo>
                    <a:pt x="892350" y="775615"/>
                    <a:pt x="898320" y="784055"/>
                    <a:pt x="904750" y="792496"/>
                  </a:cubicBezTo>
                  <a:lnTo>
                    <a:pt x="918987" y="792496"/>
                  </a:lnTo>
                  <a:cubicBezTo>
                    <a:pt x="919905" y="784055"/>
                    <a:pt x="921283" y="775615"/>
                    <a:pt x="922202" y="767174"/>
                  </a:cubicBezTo>
                  <a:cubicBezTo>
                    <a:pt x="923120" y="761447"/>
                    <a:pt x="924498" y="755418"/>
                    <a:pt x="925417" y="749691"/>
                  </a:cubicBezTo>
                  <a:lnTo>
                    <a:pt x="918987" y="749691"/>
                  </a:lnTo>
                  <a:cubicBezTo>
                    <a:pt x="914394" y="746375"/>
                    <a:pt x="909342" y="743360"/>
                    <a:pt x="904750" y="740044"/>
                  </a:cubicBezTo>
                  <a:lnTo>
                    <a:pt x="904750" y="721053"/>
                  </a:lnTo>
                  <a:cubicBezTo>
                    <a:pt x="913935" y="717436"/>
                    <a:pt x="922661" y="713517"/>
                    <a:pt x="931846" y="709900"/>
                  </a:cubicBezTo>
                  <a:lnTo>
                    <a:pt x="958943" y="709900"/>
                  </a:lnTo>
                  <a:cubicBezTo>
                    <a:pt x="967210" y="711106"/>
                    <a:pt x="975936" y="712010"/>
                    <a:pt x="984202" y="713216"/>
                  </a:cubicBezTo>
                  <a:cubicBezTo>
                    <a:pt x="992010" y="712010"/>
                    <a:pt x="1000277" y="711106"/>
                    <a:pt x="1008084" y="709900"/>
                  </a:cubicBezTo>
                  <a:lnTo>
                    <a:pt x="1028751" y="690909"/>
                  </a:lnTo>
                  <a:lnTo>
                    <a:pt x="1008084" y="676440"/>
                  </a:lnTo>
                  <a:lnTo>
                    <a:pt x="965373" y="678248"/>
                  </a:lnTo>
                  <a:lnTo>
                    <a:pt x="928631" y="690909"/>
                  </a:lnTo>
                  <a:lnTo>
                    <a:pt x="892350" y="700254"/>
                  </a:lnTo>
                  <a:cubicBezTo>
                    <a:pt x="888216" y="693924"/>
                    <a:pt x="883624" y="687593"/>
                    <a:pt x="879490" y="681263"/>
                  </a:cubicBezTo>
                  <a:cubicBezTo>
                    <a:pt x="872601" y="678550"/>
                    <a:pt x="865712" y="676138"/>
                    <a:pt x="858823" y="673425"/>
                  </a:cubicBezTo>
                  <a:cubicBezTo>
                    <a:pt x="859742" y="661368"/>
                    <a:pt x="861120" y="649008"/>
                    <a:pt x="862038" y="636951"/>
                  </a:cubicBezTo>
                  <a:cubicBezTo>
                    <a:pt x="858823" y="627304"/>
                    <a:pt x="855608" y="617960"/>
                    <a:pt x="852394" y="608314"/>
                  </a:cubicBezTo>
                  <a:cubicBezTo>
                    <a:pt x="855608" y="600476"/>
                    <a:pt x="858823" y="592337"/>
                    <a:pt x="862038" y="584499"/>
                  </a:cubicBezTo>
                  <a:cubicBezTo>
                    <a:pt x="869846" y="578169"/>
                    <a:pt x="878112" y="571839"/>
                    <a:pt x="885920" y="565509"/>
                  </a:cubicBezTo>
                  <a:lnTo>
                    <a:pt x="935061" y="524211"/>
                  </a:lnTo>
                  <a:cubicBezTo>
                    <a:pt x="939194" y="522101"/>
                    <a:pt x="943787" y="519991"/>
                    <a:pt x="947921" y="517880"/>
                  </a:cubicBezTo>
                  <a:lnTo>
                    <a:pt x="947921" y="504918"/>
                  </a:lnTo>
                  <a:cubicBezTo>
                    <a:pt x="937357" y="497985"/>
                    <a:pt x="926335" y="491353"/>
                    <a:pt x="915772" y="484420"/>
                  </a:cubicBezTo>
                  <a:lnTo>
                    <a:pt x="879490" y="495574"/>
                  </a:lnTo>
                  <a:cubicBezTo>
                    <a:pt x="872601" y="505220"/>
                    <a:pt x="865712" y="514565"/>
                    <a:pt x="858823" y="524211"/>
                  </a:cubicBezTo>
                  <a:lnTo>
                    <a:pt x="858823" y="544709"/>
                  </a:lnTo>
                  <a:lnTo>
                    <a:pt x="825297" y="568523"/>
                  </a:lnTo>
                  <a:cubicBezTo>
                    <a:pt x="811060" y="580279"/>
                    <a:pt x="796823" y="591734"/>
                    <a:pt x="782586" y="603490"/>
                  </a:cubicBezTo>
                  <a:cubicBezTo>
                    <a:pt x="776156" y="618261"/>
                    <a:pt x="770185" y="633333"/>
                    <a:pt x="763756" y="648104"/>
                  </a:cubicBezTo>
                  <a:cubicBezTo>
                    <a:pt x="770185" y="657449"/>
                    <a:pt x="776156" y="667095"/>
                    <a:pt x="782586" y="676440"/>
                  </a:cubicBezTo>
                  <a:cubicBezTo>
                    <a:pt x="788556" y="681263"/>
                    <a:pt x="794067" y="686086"/>
                    <a:pt x="800038" y="690909"/>
                  </a:cubicBezTo>
                  <a:cubicBezTo>
                    <a:pt x="794067" y="704173"/>
                    <a:pt x="788556" y="717436"/>
                    <a:pt x="782586" y="730700"/>
                  </a:cubicBezTo>
                  <a:cubicBezTo>
                    <a:pt x="774778" y="731604"/>
                    <a:pt x="766511" y="732810"/>
                    <a:pt x="758704" y="733714"/>
                  </a:cubicBezTo>
                  <a:cubicBezTo>
                    <a:pt x="756408" y="753308"/>
                    <a:pt x="754570" y="772902"/>
                    <a:pt x="752274" y="792496"/>
                  </a:cubicBezTo>
                  <a:cubicBezTo>
                    <a:pt x="747222" y="801539"/>
                    <a:pt x="741711" y="810582"/>
                    <a:pt x="736659" y="819626"/>
                  </a:cubicBezTo>
                  <a:cubicBezTo>
                    <a:pt x="728852" y="818420"/>
                    <a:pt x="720585" y="817515"/>
                    <a:pt x="712777" y="816310"/>
                  </a:cubicBezTo>
                  <a:cubicBezTo>
                    <a:pt x="707266" y="824147"/>
                    <a:pt x="702214" y="832286"/>
                    <a:pt x="696703" y="840124"/>
                  </a:cubicBezTo>
                  <a:lnTo>
                    <a:pt x="676496" y="840124"/>
                  </a:lnTo>
                  <a:cubicBezTo>
                    <a:pt x="673281" y="830176"/>
                    <a:pt x="670066" y="819927"/>
                    <a:pt x="666851" y="809979"/>
                  </a:cubicBezTo>
                  <a:lnTo>
                    <a:pt x="647562" y="776519"/>
                  </a:lnTo>
                  <a:cubicBezTo>
                    <a:pt x="642969" y="762351"/>
                    <a:pt x="637918" y="747882"/>
                    <a:pt x="633325" y="733714"/>
                  </a:cubicBezTo>
                  <a:cubicBezTo>
                    <a:pt x="628273" y="725877"/>
                    <a:pt x="622762" y="717738"/>
                    <a:pt x="617710" y="709900"/>
                  </a:cubicBezTo>
                  <a:cubicBezTo>
                    <a:pt x="603013" y="723164"/>
                    <a:pt x="587858" y="736427"/>
                    <a:pt x="573161" y="749691"/>
                  </a:cubicBezTo>
                  <a:cubicBezTo>
                    <a:pt x="563517" y="751198"/>
                    <a:pt x="554332" y="753007"/>
                    <a:pt x="544687" y="754514"/>
                  </a:cubicBezTo>
                  <a:lnTo>
                    <a:pt x="511161" y="740044"/>
                  </a:lnTo>
                  <a:cubicBezTo>
                    <a:pt x="508864" y="728891"/>
                    <a:pt x="507027" y="718039"/>
                    <a:pt x="504731" y="706886"/>
                  </a:cubicBezTo>
                  <a:cubicBezTo>
                    <a:pt x="501975" y="681564"/>
                    <a:pt x="499679" y="655942"/>
                    <a:pt x="496924" y="630620"/>
                  </a:cubicBezTo>
                  <a:cubicBezTo>
                    <a:pt x="503813" y="622180"/>
                    <a:pt x="510701" y="613438"/>
                    <a:pt x="517590" y="604998"/>
                  </a:cubicBezTo>
                  <a:cubicBezTo>
                    <a:pt x="536420" y="595954"/>
                    <a:pt x="555709" y="587212"/>
                    <a:pt x="574539" y="578169"/>
                  </a:cubicBezTo>
                  <a:cubicBezTo>
                    <a:pt x="590154" y="566111"/>
                    <a:pt x="605310" y="553752"/>
                    <a:pt x="620925" y="541694"/>
                  </a:cubicBezTo>
                  <a:cubicBezTo>
                    <a:pt x="634243" y="524814"/>
                    <a:pt x="647103" y="507631"/>
                    <a:pt x="660421" y="490750"/>
                  </a:cubicBezTo>
                  <a:cubicBezTo>
                    <a:pt x="678792" y="466936"/>
                    <a:pt x="697622" y="443122"/>
                    <a:pt x="715992" y="419308"/>
                  </a:cubicBezTo>
                  <a:lnTo>
                    <a:pt x="752274" y="389164"/>
                  </a:lnTo>
                  <a:lnTo>
                    <a:pt x="812897" y="343043"/>
                  </a:lnTo>
                  <a:cubicBezTo>
                    <a:pt x="828053" y="336110"/>
                    <a:pt x="843668" y="329478"/>
                    <a:pt x="858823" y="322545"/>
                  </a:cubicBezTo>
                  <a:cubicBezTo>
                    <a:pt x="872142" y="323449"/>
                    <a:pt x="885001" y="324655"/>
                    <a:pt x="898320" y="325559"/>
                  </a:cubicBezTo>
                  <a:cubicBezTo>
                    <a:pt x="908424" y="315612"/>
                    <a:pt x="918528" y="305363"/>
                    <a:pt x="928631" y="295415"/>
                  </a:cubicBezTo>
                  <a:lnTo>
                    <a:pt x="968587" y="295415"/>
                  </a:lnTo>
                  <a:lnTo>
                    <a:pt x="1008084" y="285769"/>
                  </a:lnTo>
                  <a:cubicBezTo>
                    <a:pt x="1031506" y="295716"/>
                    <a:pt x="1054470" y="305965"/>
                    <a:pt x="1077892" y="315913"/>
                  </a:cubicBezTo>
                  <a:lnTo>
                    <a:pt x="1050796" y="325559"/>
                  </a:lnTo>
                  <a:cubicBezTo>
                    <a:pt x="1058603" y="334603"/>
                    <a:pt x="1066870" y="343646"/>
                    <a:pt x="1074677" y="352689"/>
                  </a:cubicBezTo>
                  <a:cubicBezTo>
                    <a:pt x="1082025" y="347866"/>
                    <a:pt x="1089833" y="343043"/>
                    <a:pt x="1097181" y="338220"/>
                  </a:cubicBezTo>
                  <a:cubicBezTo>
                    <a:pt x="1109122" y="345153"/>
                    <a:pt x="1121522" y="352086"/>
                    <a:pt x="1133463" y="359020"/>
                  </a:cubicBezTo>
                  <a:lnTo>
                    <a:pt x="1193627" y="371680"/>
                  </a:lnTo>
                  <a:lnTo>
                    <a:pt x="1279509" y="414485"/>
                  </a:lnTo>
                  <a:cubicBezTo>
                    <a:pt x="1285479" y="420213"/>
                    <a:pt x="1290990" y="426242"/>
                    <a:pt x="1296961" y="431969"/>
                  </a:cubicBezTo>
                  <a:lnTo>
                    <a:pt x="1296961" y="455783"/>
                  </a:lnTo>
                  <a:cubicBezTo>
                    <a:pt x="1289153" y="463319"/>
                    <a:pt x="1280887" y="470554"/>
                    <a:pt x="1273079" y="478090"/>
                  </a:cubicBezTo>
                  <a:lnTo>
                    <a:pt x="1233582" y="484420"/>
                  </a:lnTo>
                  <a:lnTo>
                    <a:pt x="1136678" y="459099"/>
                  </a:lnTo>
                  <a:cubicBezTo>
                    <a:pt x="1131167" y="460003"/>
                    <a:pt x="1126115" y="461209"/>
                    <a:pt x="1120604" y="462113"/>
                  </a:cubicBezTo>
                  <a:lnTo>
                    <a:pt x="1157345" y="490750"/>
                  </a:lnTo>
                  <a:lnTo>
                    <a:pt x="1157345" y="508234"/>
                  </a:lnTo>
                  <a:cubicBezTo>
                    <a:pt x="1158263" y="520292"/>
                    <a:pt x="1159641" y="532651"/>
                    <a:pt x="1160560" y="544709"/>
                  </a:cubicBezTo>
                  <a:lnTo>
                    <a:pt x="1190412" y="554355"/>
                  </a:lnTo>
                  <a:cubicBezTo>
                    <a:pt x="1195923" y="557370"/>
                    <a:pt x="1200975" y="560685"/>
                    <a:pt x="1206486" y="563700"/>
                  </a:cubicBezTo>
                  <a:cubicBezTo>
                    <a:pt x="1207404" y="557370"/>
                    <a:pt x="1208782" y="551039"/>
                    <a:pt x="1209701" y="544709"/>
                  </a:cubicBezTo>
                  <a:cubicBezTo>
                    <a:pt x="1204190" y="539283"/>
                    <a:pt x="1199138" y="534158"/>
                    <a:pt x="1193627" y="528732"/>
                  </a:cubicBezTo>
                  <a:cubicBezTo>
                    <a:pt x="1199138" y="525115"/>
                    <a:pt x="1204190" y="521498"/>
                    <a:pt x="1209701" y="517880"/>
                  </a:cubicBezTo>
                  <a:lnTo>
                    <a:pt x="1263435" y="538379"/>
                  </a:lnTo>
                  <a:cubicBezTo>
                    <a:pt x="1269864" y="535063"/>
                    <a:pt x="1276294" y="532048"/>
                    <a:pt x="1282724" y="528732"/>
                  </a:cubicBezTo>
                  <a:cubicBezTo>
                    <a:pt x="1277213" y="520895"/>
                    <a:pt x="1272161" y="512756"/>
                    <a:pt x="1266649" y="504918"/>
                  </a:cubicBezTo>
                  <a:lnTo>
                    <a:pt x="1319006" y="468444"/>
                  </a:lnTo>
                  <a:lnTo>
                    <a:pt x="1339672" y="468444"/>
                  </a:lnTo>
                  <a:cubicBezTo>
                    <a:pt x="1347021" y="472664"/>
                    <a:pt x="1354828" y="476884"/>
                    <a:pt x="1362176" y="481104"/>
                  </a:cubicBezTo>
                  <a:cubicBezTo>
                    <a:pt x="1365850" y="473870"/>
                    <a:pt x="1369525" y="466334"/>
                    <a:pt x="1373199" y="459099"/>
                  </a:cubicBezTo>
                  <a:cubicBezTo>
                    <a:pt x="1367228" y="451261"/>
                    <a:pt x="1361717" y="443122"/>
                    <a:pt x="1355747" y="435285"/>
                  </a:cubicBezTo>
                  <a:lnTo>
                    <a:pt x="1366769" y="414485"/>
                  </a:lnTo>
                  <a:cubicBezTo>
                    <a:pt x="1360799" y="406045"/>
                    <a:pt x="1355287" y="397604"/>
                    <a:pt x="1349317" y="389164"/>
                  </a:cubicBezTo>
                  <a:lnTo>
                    <a:pt x="1409480" y="405140"/>
                  </a:lnTo>
                  <a:cubicBezTo>
                    <a:pt x="1414992" y="410868"/>
                    <a:pt x="1420044" y="416595"/>
                    <a:pt x="1425555" y="422323"/>
                  </a:cubicBezTo>
                  <a:cubicBezTo>
                    <a:pt x="1415451" y="423529"/>
                    <a:pt x="1405347" y="424433"/>
                    <a:pt x="1395243" y="425639"/>
                  </a:cubicBezTo>
                  <a:lnTo>
                    <a:pt x="1395243" y="450960"/>
                  </a:lnTo>
                  <a:cubicBezTo>
                    <a:pt x="1401214" y="454577"/>
                    <a:pt x="1406725" y="458496"/>
                    <a:pt x="1412695" y="462113"/>
                  </a:cubicBezTo>
                  <a:lnTo>
                    <a:pt x="1446222" y="452769"/>
                  </a:lnTo>
                  <a:cubicBezTo>
                    <a:pt x="1448518" y="444931"/>
                    <a:pt x="1450355" y="436792"/>
                    <a:pt x="1452651" y="428955"/>
                  </a:cubicBezTo>
                  <a:lnTo>
                    <a:pt x="1498578" y="411471"/>
                  </a:lnTo>
                  <a:lnTo>
                    <a:pt x="1574815" y="379518"/>
                  </a:lnTo>
                  <a:cubicBezTo>
                    <a:pt x="1580786" y="380724"/>
                    <a:pt x="1586297" y="381628"/>
                    <a:pt x="1592267" y="382834"/>
                  </a:cubicBezTo>
                  <a:cubicBezTo>
                    <a:pt x="1585378" y="390370"/>
                    <a:pt x="1578490" y="397604"/>
                    <a:pt x="1571601" y="405140"/>
                  </a:cubicBezTo>
                  <a:cubicBezTo>
                    <a:pt x="1580786" y="406045"/>
                    <a:pt x="1589512" y="407251"/>
                    <a:pt x="1598697" y="408155"/>
                  </a:cubicBezTo>
                  <a:cubicBezTo>
                    <a:pt x="1603749" y="403935"/>
                    <a:pt x="1609260" y="399714"/>
                    <a:pt x="1614312" y="395494"/>
                  </a:cubicBezTo>
                  <a:cubicBezTo>
                    <a:pt x="1628549" y="394288"/>
                    <a:pt x="1643246" y="393384"/>
                    <a:pt x="1657483" y="392178"/>
                  </a:cubicBezTo>
                  <a:cubicBezTo>
                    <a:pt x="1667587" y="387054"/>
                    <a:pt x="1677231" y="381628"/>
                    <a:pt x="1687335" y="376503"/>
                  </a:cubicBezTo>
                  <a:cubicBezTo>
                    <a:pt x="1696520" y="384944"/>
                    <a:pt x="1705246" y="393384"/>
                    <a:pt x="1714432" y="401825"/>
                  </a:cubicBezTo>
                  <a:cubicBezTo>
                    <a:pt x="1722239" y="393384"/>
                    <a:pt x="1730506" y="384944"/>
                    <a:pt x="1738313" y="376503"/>
                  </a:cubicBezTo>
                  <a:cubicBezTo>
                    <a:pt x="1731424" y="368666"/>
                    <a:pt x="1724535" y="360527"/>
                    <a:pt x="1717646" y="352689"/>
                  </a:cubicBezTo>
                  <a:lnTo>
                    <a:pt x="1727291" y="340029"/>
                  </a:lnTo>
                  <a:lnTo>
                    <a:pt x="1793884" y="352689"/>
                  </a:lnTo>
                  <a:cubicBezTo>
                    <a:pt x="1803988" y="355704"/>
                    <a:pt x="1814092" y="359020"/>
                    <a:pt x="1824196" y="362034"/>
                  </a:cubicBezTo>
                  <a:lnTo>
                    <a:pt x="1903189" y="408155"/>
                  </a:lnTo>
                  <a:cubicBezTo>
                    <a:pt x="1908700" y="400619"/>
                    <a:pt x="1913752" y="393384"/>
                    <a:pt x="1919263" y="385848"/>
                  </a:cubicBezTo>
                  <a:cubicBezTo>
                    <a:pt x="1911915" y="380121"/>
                    <a:pt x="1904567" y="374092"/>
                    <a:pt x="1897219" y="368364"/>
                  </a:cubicBezTo>
                  <a:lnTo>
                    <a:pt x="1897219" y="359020"/>
                  </a:lnTo>
                  <a:cubicBezTo>
                    <a:pt x="1888033" y="357814"/>
                    <a:pt x="1879307" y="356909"/>
                    <a:pt x="1870122" y="355704"/>
                  </a:cubicBezTo>
                  <a:cubicBezTo>
                    <a:pt x="1872418" y="349976"/>
                    <a:pt x="1874255" y="343947"/>
                    <a:pt x="1876552" y="338220"/>
                  </a:cubicBezTo>
                  <a:cubicBezTo>
                    <a:pt x="1872418" y="326464"/>
                    <a:pt x="1867826" y="315009"/>
                    <a:pt x="1863692" y="303252"/>
                  </a:cubicBezTo>
                  <a:lnTo>
                    <a:pt x="1863692" y="295415"/>
                  </a:lnTo>
                  <a:cubicBezTo>
                    <a:pt x="1877011" y="282151"/>
                    <a:pt x="1889870" y="268888"/>
                    <a:pt x="1903189" y="255624"/>
                  </a:cubicBezTo>
                  <a:cubicBezTo>
                    <a:pt x="1908700" y="243567"/>
                    <a:pt x="1913752" y="231207"/>
                    <a:pt x="1919263" y="219150"/>
                  </a:cubicBezTo>
                  <a:lnTo>
                    <a:pt x="1936715" y="209504"/>
                  </a:lnTo>
                  <a:lnTo>
                    <a:pt x="1995501" y="219150"/>
                  </a:lnTo>
                  <a:cubicBezTo>
                    <a:pt x="1996420" y="226987"/>
                    <a:pt x="1997797" y="235126"/>
                    <a:pt x="1998716" y="242964"/>
                  </a:cubicBezTo>
                  <a:cubicBezTo>
                    <a:pt x="1992286" y="255021"/>
                    <a:pt x="1985856" y="267381"/>
                    <a:pt x="1979427" y="279438"/>
                  </a:cubicBezTo>
                  <a:cubicBezTo>
                    <a:pt x="1983560" y="283659"/>
                    <a:pt x="1988153" y="287879"/>
                    <a:pt x="1992286" y="292099"/>
                  </a:cubicBezTo>
                  <a:cubicBezTo>
                    <a:pt x="1994582" y="299937"/>
                    <a:pt x="1996420" y="308076"/>
                    <a:pt x="1998716" y="315913"/>
                  </a:cubicBezTo>
                  <a:cubicBezTo>
                    <a:pt x="1996420" y="334603"/>
                    <a:pt x="1994582" y="352991"/>
                    <a:pt x="1992286" y="371680"/>
                  </a:cubicBezTo>
                  <a:cubicBezTo>
                    <a:pt x="2001471" y="379518"/>
                    <a:pt x="2010197" y="387657"/>
                    <a:pt x="2019383" y="395494"/>
                  </a:cubicBezTo>
                  <a:cubicBezTo>
                    <a:pt x="2015249" y="403332"/>
                    <a:pt x="2010657" y="411471"/>
                    <a:pt x="2006523" y="419308"/>
                  </a:cubicBezTo>
                  <a:cubicBezTo>
                    <a:pt x="1993205" y="437696"/>
                    <a:pt x="1980345" y="456386"/>
                    <a:pt x="1967027" y="474774"/>
                  </a:cubicBezTo>
                  <a:lnTo>
                    <a:pt x="1989071" y="481104"/>
                  </a:lnTo>
                  <a:cubicBezTo>
                    <a:pt x="1992745" y="475980"/>
                    <a:pt x="1996420" y="470554"/>
                    <a:pt x="2000094" y="465429"/>
                  </a:cubicBezTo>
                  <a:lnTo>
                    <a:pt x="2025812" y="455783"/>
                  </a:lnTo>
                  <a:cubicBezTo>
                    <a:pt x="2027649" y="450056"/>
                    <a:pt x="2029946" y="444027"/>
                    <a:pt x="2031783" y="438299"/>
                  </a:cubicBezTo>
                  <a:cubicBezTo>
                    <a:pt x="2037753" y="431969"/>
                    <a:pt x="2043264" y="425639"/>
                    <a:pt x="2049235" y="419308"/>
                  </a:cubicBezTo>
                  <a:cubicBezTo>
                    <a:pt x="2044642" y="412375"/>
                    <a:pt x="2039590" y="405442"/>
                    <a:pt x="2034998" y="398509"/>
                  </a:cubicBezTo>
                  <a:cubicBezTo>
                    <a:pt x="2038672" y="390671"/>
                    <a:pt x="2042805" y="382532"/>
                    <a:pt x="2046479" y="374695"/>
                  </a:cubicBezTo>
                  <a:cubicBezTo>
                    <a:pt x="2038672" y="373790"/>
                    <a:pt x="2030405" y="372585"/>
                    <a:pt x="2022598" y="371680"/>
                  </a:cubicBezTo>
                  <a:cubicBezTo>
                    <a:pt x="2020301" y="364144"/>
                    <a:pt x="2018464" y="356909"/>
                    <a:pt x="2016168" y="349373"/>
                  </a:cubicBezTo>
                  <a:cubicBezTo>
                    <a:pt x="2022598" y="336110"/>
                    <a:pt x="2028568" y="322846"/>
                    <a:pt x="2034998" y="309583"/>
                  </a:cubicBezTo>
                  <a:cubicBezTo>
                    <a:pt x="2024435" y="298429"/>
                    <a:pt x="2013872" y="287577"/>
                    <a:pt x="2003308" y="276424"/>
                  </a:cubicBezTo>
                  <a:cubicBezTo>
                    <a:pt x="2017546" y="267381"/>
                    <a:pt x="2032242" y="258337"/>
                    <a:pt x="2046479" y="249294"/>
                  </a:cubicBezTo>
                  <a:cubicBezTo>
                    <a:pt x="2044183" y="239346"/>
                    <a:pt x="2042346" y="229097"/>
                    <a:pt x="2040050" y="219150"/>
                  </a:cubicBezTo>
                  <a:lnTo>
                    <a:pt x="2049235" y="219150"/>
                  </a:lnTo>
                  <a:cubicBezTo>
                    <a:pt x="2053368" y="226083"/>
                    <a:pt x="2057961" y="233016"/>
                    <a:pt x="2062094" y="239949"/>
                  </a:cubicBezTo>
                  <a:cubicBezTo>
                    <a:pt x="2058879" y="254117"/>
                    <a:pt x="2055665" y="268586"/>
                    <a:pt x="2052450" y="282754"/>
                  </a:cubicBezTo>
                  <a:lnTo>
                    <a:pt x="2076331" y="289085"/>
                  </a:lnTo>
                  <a:cubicBezTo>
                    <a:pt x="2072657" y="279137"/>
                    <a:pt x="2068983" y="268888"/>
                    <a:pt x="2065309" y="258940"/>
                  </a:cubicBezTo>
                  <a:lnTo>
                    <a:pt x="2104806" y="239949"/>
                  </a:lnTo>
                  <a:lnTo>
                    <a:pt x="2149354" y="239949"/>
                  </a:lnTo>
                  <a:lnTo>
                    <a:pt x="2192525" y="261955"/>
                  </a:lnTo>
                  <a:cubicBezTo>
                    <a:pt x="2184718" y="250198"/>
                    <a:pt x="2176451" y="238744"/>
                    <a:pt x="2168643" y="226987"/>
                  </a:cubicBezTo>
                  <a:lnTo>
                    <a:pt x="2168643" y="185689"/>
                  </a:lnTo>
                  <a:cubicBezTo>
                    <a:pt x="2181962" y="182675"/>
                    <a:pt x="2194821" y="179359"/>
                    <a:pt x="2208140" y="176345"/>
                  </a:cubicBezTo>
                  <a:lnTo>
                    <a:pt x="2260496" y="179359"/>
                  </a:lnTo>
                  <a:lnTo>
                    <a:pt x="2308259" y="173029"/>
                  </a:lnTo>
                  <a:cubicBezTo>
                    <a:pt x="2302289" y="165191"/>
                    <a:pt x="2296778" y="157052"/>
                    <a:pt x="2290807" y="149215"/>
                  </a:cubicBezTo>
                  <a:cubicBezTo>
                    <a:pt x="2299993" y="138664"/>
                    <a:pt x="2308719" y="128114"/>
                    <a:pt x="2317904" y="117563"/>
                  </a:cubicBezTo>
                  <a:lnTo>
                    <a:pt x="2341786" y="117563"/>
                  </a:lnTo>
                  <a:lnTo>
                    <a:pt x="2384497" y="96764"/>
                  </a:lnTo>
                  <a:lnTo>
                    <a:pt x="2443283" y="87419"/>
                  </a:lnTo>
                  <a:cubicBezTo>
                    <a:pt x="2446039" y="84103"/>
                    <a:pt x="2448335" y="81088"/>
                    <a:pt x="2451091" y="77773"/>
                  </a:cubicBezTo>
                  <a:lnTo>
                    <a:pt x="2506661" y="74758"/>
                  </a:lnTo>
                  <a:cubicBezTo>
                    <a:pt x="2513091" y="77773"/>
                    <a:pt x="2519062" y="81088"/>
                    <a:pt x="2525491" y="84103"/>
                  </a:cubicBezTo>
                  <a:lnTo>
                    <a:pt x="2576469" y="60289"/>
                  </a:lnTo>
                  <a:lnTo>
                    <a:pt x="2616425" y="60289"/>
                  </a:lnTo>
                  <a:cubicBezTo>
                    <a:pt x="2618262" y="53959"/>
                    <a:pt x="2620559" y="47628"/>
                    <a:pt x="2622396" y="41298"/>
                  </a:cubicBezTo>
                  <a:lnTo>
                    <a:pt x="2643063" y="2049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213">
              <a:extLst>
                <a:ext uri="{FF2B5EF4-FFF2-40B4-BE49-F238E27FC236}">
                  <a16:creationId xmlns:a16="http://schemas.microsoft.com/office/drawing/2014/main" id="{5DBE25D9-2EFA-4704-A893-87DB5F7B8010}"/>
                </a:ext>
              </a:extLst>
            </p:cNvPr>
            <p:cNvSpPr>
              <a:spLocks/>
            </p:cNvSpPr>
            <p:nvPr/>
          </p:nvSpPr>
          <p:spPr bwMode="auto">
            <a:xfrm>
              <a:off x="2233614" y="2286050"/>
              <a:ext cx="61913" cy="20647"/>
            </a:xfrm>
            <a:custGeom>
              <a:avLst/>
              <a:gdLst>
                <a:gd name="T0" fmla="*/ 0 w 39"/>
                <a:gd name="T1" fmla="*/ 0 h 13"/>
                <a:gd name="T2" fmla="*/ 29 w 39"/>
                <a:gd name="T3" fmla="*/ 0 h 13"/>
                <a:gd name="T4" fmla="*/ 39 w 39"/>
                <a:gd name="T5" fmla="*/ 7 h 13"/>
                <a:gd name="T6" fmla="*/ 37 w 39"/>
                <a:gd name="T7" fmla="*/ 11 h 13"/>
                <a:gd name="T8" fmla="*/ 31 w 39"/>
                <a:gd name="T9" fmla="*/ 13 h 13"/>
                <a:gd name="T10" fmla="*/ 4 w 39"/>
                <a:gd name="T11" fmla="*/ 9 h 13"/>
                <a:gd name="T12" fmla="*/ 0 w 39"/>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39" h="13">
                  <a:moveTo>
                    <a:pt x="0" y="0"/>
                  </a:moveTo>
                  <a:lnTo>
                    <a:pt x="29" y="0"/>
                  </a:lnTo>
                  <a:lnTo>
                    <a:pt x="39" y="7"/>
                  </a:lnTo>
                  <a:lnTo>
                    <a:pt x="37" y="11"/>
                  </a:lnTo>
                  <a:lnTo>
                    <a:pt x="31" y="13"/>
                  </a:lnTo>
                  <a:lnTo>
                    <a:pt x="4" y="9"/>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215">
              <a:extLst>
                <a:ext uri="{FF2B5EF4-FFF2-40B4-BE49-F238E27FC236}">
                  <a16:creationId xmlns:a16="http://schemas.microsoft.com/office/drawing/2014/main" id="{29B620F7-0074-46F2-818A-E372DD46E9B9}"/>
                </a:ext>
              </a:extLst>
            </p:cNvPr>
            <p:cNvSpPr>
              <a:spLocks/>
            </p:cNvSpPr>
            <p:nvPr/>
          </p:nvSpPr>
          <p:spPr bwMode="auto">
            <a:xfrm>
              <a:off x="1855789" y="2270168"/>
              <a:ext cx="82550" cy="36530"/>
            </a:xfrm>
            <a:custGeom>
              <a:avLst/>
              <a:gdLst>
                <a:gd name="T0" fmla="*/ 33 w 52"/>
                <a:gd name="T1" fmla="*/ 0 h 23"/>
                <a:gd name="T2" fmla="*/ 52 w 52"/>
                <a:gd name="T3" fmla="*/ 6 h 23"/>
                <a:gd name="T4" fmla="*/ 48 w 52"/>
                <a:gd name="T5" fmla="*/ 14 h 23"/>
                <a:gd name="T6" fmla="*/ 21 w 52"/>
                <a:gd name="T7" fmla="*/ 23 h 23"/>
                <a:gd name="T8" fmla="*/ 0 w 52"/>
                <a:gd name="T9" fmla="*/ 14 h 23"/>
                <a:gd name="T10" fmla="*/ 14 w 52"/>
                <a:gd name="T11" fmla="*/ 4 h 23"/>
                <a:gd name="T12" fmla="*/ 33 w 52"/>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52" h="23">
                  <a:moveTo>
                    <a:pt x="33" y="0"/>
                  </a:moveTo>
                  <a:lnTo>
                    <a:pt x="52" y="6"/>
                  </a:lnTo>
                  <a:lnTo>
                    <a:pt x="48" y="14"/>
                  </a:lnTo>
                  <a:lnTo>
                    <a:pt x="21" y="23"/>
                  </a:lnTo>
                  <a:lnTo>
                    <a:pt x="0" y="14"/>
                  </a:lnTo>
                  <a:lnTo>
                    <a:pt x="14" y="4"/>
                  </a:lnTo>
                  <a:lnTo>
                    <a:pt x="3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217">
              <a:extLst>
                <a:ext uri="{FF2B5EF4-FFF2-40B4-BE49-F238E27FC236}">
                  <a16:creationId xmlns:a16="http://schemas.microsoft.com/office/drawing/2014/main" id="{F3CAC812-50E7-4B95-990D-92F16851921E}"/>
                </a:ext>
              </a:extLst>
            </p:cNvPr>
            <p:cNvSpPr>
              <a:spLocks/>
            </p:cNvSpPr>
            <p:nvPr/>
          </p:nvSpPr>
          <p:spPr bwMode="auto">
            <a:xfrm>
              <a:off x="4822825" y="2257462"/>
              <a:ext cx="92075" cy="49235"/>
            </a:xfrm>
            <a:custGeom>
              <a:avLst/>
              <a:gdLst>
                <a:gd name="T0" fmla="*/ 31 w 58"/>
                <a:gd name="T1" fmla="*/ 0 h 31"/>
                <a:gd name="T2" fmla="*/ 39 w 58"/>
                <a:gd name="T3" fmla="*/ 12 h 31"/>
                <a:gd name="T4" fmla="*/ 58 w 58"/>
                <a:gd name="T5" fmla="*/ 18 h 31"/>
                <a:gd name="T6" fmla="*/ 27 w 58"/>
                <a:gd name="T7" fmla="*/ 31 h 31"/>
                <a:gd name="T8" fmla="*/ 0 w 58"/>
                <a:gd name="T9" fmla="*/ 23 h 31"/>
                <a:gd name="T10" fmla="*/ 10 w 58"/>
                <a:gd name="T11" fmla="*/ 16 h 31"/>
                <a:gd name="T12" fmla="*/ 2 w 58"/>
                <a:gd name="T13" fmla="*/ 4 h 31"/>
                <a:gd name="T14" fmla="*/ 31 w 58"/>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31">
                  <a:moveTo>
                    <a:pt x="31" y="0"/>
                  </a:moveTo>
                  <a:lnTo>
                    <a:pt x="39" y="12"/>
                  </a:lnTo>
                  <a:lnTo>
                    <a:pt x="58" y="18"/>
                  </a:lnTo>
                  <a:lnTo>
                    <a:pt x="27" y="31"/>
                  </a:lnTo>
                  <a:lnTo>
                    <a:pt x="0" y="23"/>
                  </a:lnTo>
                  <a:lnTo>
                    <a:pt x="10" y="16"/>
                  </a:lnTo>
                  <a:lnTo>
                    <a:pt x="2" y="4"/>
                  </a:lnTo>
                  <a:lnTo>
                    <a:pt x="3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219">
              <a:extLst>
                <a:ext uri="{FF2B5EF4-FFF2-40B4-BE49-F238E27FC236}">
                  <a16:creationId xmlns:a16="http://schemas.microsoft.com/office/drawing/2014/main" id="{9F74C8B0-94F2-48B7-A12C-87822D0C0896}"/>
                </a:ext>
              </a:extLst>
            </p:cNvPr>
            <p:cNvSpPr>
              <a:spLocks/>
            </p:cNvSpPr>
            <p:nvPr/>
          </p:nvSpPr>
          <p:spPr bwMode="auto">
            <a:xfrm>
              <a:off x="1881189" y="2239992"/>
              <a:ext cx="63500" cy="20647"/>
            </a:xfrm>
            <a:custGeom>
              <a:avLst/>
              <a:gdLst>
                <a:gd name="T0" fmla="*/ 13 w 40"/>
                <a:gd name="T1" fmla="*/ 0 h 13"/>
                <a:gd name="T2" fmla="*/ 21 w 40"/>
                <a:gd name="T3" fmla="*/ 0 h 13"/>
                <a:gd name="T4" fmla="*/ 40 w 40"/>
                <a:gd name="T5" fmla="*/ 6 h 13"/>
                <a:gd name="T6" fmla="*/ 23 w 40"/>
                <a:gd name="T7" fmla="*/ 13 h 13"/>
                <a:gd name="T8" fmla="*/ 0 w 40"/>
                <a:gd name="T9" fmla="*/ 13 h 13"/>
                <a:gd name="T10" fmla="*/ 0 w 40"/>
                <a:gd name="T11" fmla="*/ 8 h 13"/>
                <a:gd name="T12" fmla="*/ 13 w 4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0" h="13">
                  <a:moveTo>
                    <a:pt x="13" y="0"/>
                  </a:moveTo>
                  <a:lnTo>
                    <a:pt x="21" y="0"/>
                  </a:lnTo>
                  <a:lnTo>
                    <a:pt x="40" y="6"/>
                  </a:lnTo>
                  <a:lnTo>
                    <a:pt x="23" y="13"/>
                  </a:lnTo>
                  <a:lnTo>
                    <a:pt x="0" y="13"/>
                  </a:lnTo>
                  <a:lnTo>
                    <a:pt x="0" y="8"/>
                  </a:lnTo>
                  <a:lnTo>
                    <a:pt x="1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221">
              <a:extLst>
                <a:ext uri="{FF2B5EF4-FFF2-40B4-BE49-F238E27FC236}">
                  <a16:creationId xmlns:a16="http://schemas.microsoft.com/office/drawing/2014/main" id="{2E12C447-8365-4CDD-B414-4713C9F3312F}"/>
                </a:ext>
              </a:extLst>
            </p:cNvPr>
            <p:cNvSpPr>
              <a:spLocks/>
            </p:cNvSpPr>
            <p:nvPr/>
          </p:nvSpPr>
          <p:spPr bwMode="auto">
            <a:xfrm>
              <a:off x="2185989" y="2236816"/>
              <a:ext cx="66675" cy="49235"/>
            </a:xfrm>
            <a:custGeom>
              <a:avLst/>
              <a:gdLst>
                <a:gd name="T0" fmla="*/ 0 w 42"/>
                <a:gd name="T1" fmla="*/ 0 h 31"/>
                <a:gd name="T2" fmla="*/ 19 w 42"/>
                <a:gd name="T3" fmla="*/ 2 h 31"/>
                <a:gd name="T4" fmla="*/ 26 w 42"/>
                <a:gd name="T5" fmla="*/ 4 h 31"/>
                <a:gd name="T6" fmla="*/ 42 w 42"/>
                <a:gd name="T7" fmla="*/ 13 h 31"/>
                <a:gd name="T8" fmla="*/ 38 w 42"/>
                <a:gd name="T9" fmla="*/ 25 h 31"/>
                <a:gd name="T10" fmla="*/ 19 w 42"/>
                <a:gd name="T11" fmla="*/ 31 h 31"/>
                <a:gd name="T12" fmla="*/ 7 w 42"/>
                <a:gd name="T13" fmla="*/ 25 h 31"/>
                <a:gd name="T14" fmla="*/ 2 w 42"/>
                <a:gd name="T15" fmla="*/ 13 h 31"/>
                <a:gd name="T16" fmla="*/ 0 w 42"/>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1">
                  <a:moveTo>
                    <a:pt x="0" y="0"/>
                  </a:moveTo>
                  <a:lnTo>
                    <a:pt x="19" y="2"/>
                  </a:lnTo>
                  <a:lnTo>
                    <a:pt x="26" y="4"/>
                  </a:lnTo>
                  <a:lnTo>
                    <a:pt x="42" y="13"/>
                  </a:lnTo>
                  <a:lnTo>
                    <a:pt x="38" y="25"/>
                  </a:lnTo>
                  <a:lnTo>
                    <a:pt x="19" y="31"/>
                  </a:lnTo>
                  <a:lnTo>
                    <a:pt x="7" y="25"/>
                  </a:lnTo>
                  <a:lnTo>
                    <a:pt x="2" y="13"/>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223">
              <a:extLst>
                <a:ext uri="{FF2B5EF4-FFF2-40B4-BE49-F238E27FC236}">
                  <a16:creationId xmlns:a16="http://schemas.microsoft.com/office/drawing/2014/main" id="{0FAECF81-15AA-462F-9551-9676A33F3B81}"/>
                </a:ext>
              </a:extLst>
            </p:cNvPr>
            <p:cNvSpPr>
              <a:spLocks/>
            </p:cNvSpPr>
            <p:nvPr/>
          </p:nvSpPr>
          <p:spPr bwMode="auto">
            <a:xfrm>
              <a:off x="2036764" y="2216168"/>
              <a:ext cx="127000" cy="66705"/>
            </a:xfrm>
            <a:custGeom>
              <a:avLst/>
              <a:gdLst>
                <a:gd name="T0" fmla="*/ 0 w 80"/>
                <a:gd name="T1" fmla="*/ 0 h 42"/>
                <a:gd name="T2" fmla="*/ 26 w 80"/>
                <a:gd name="T3" fmla="*/ 3 h 42"/>
                <a:gd name="T4" fmla="*/ 65 w 80"/>
                <a:gd name="T5" fmla="*/ 15 h 42"/>
                <a:gd name="T6" fmla="*/ 74 w 80"/>
                <a:gd name="T7" fmla="*/ 28 h 42"/>
                <a:gd name="T8" fmla="*/ 80 w 80"/>
                <a:gd name="T9" fmla="*/ 42 h 42"/>
                <a:gd name="T10" fmla="*/ 57 w 80"/>
                <a:gd name="T11" fmla="*/ 40 h 42"/>
                <a:gd name="T12" fmla="*/ 34 w 80"/>
                <a:gd name="T13" fmla="*/ 28 h 42"/>
                <a:gd name="T14" fmla="*/ 3 w 80"/>
                <a:gd name="T15" fmla="*/ 28 h 42"/>
                <a:gd name="T16" fmla="*/ 17 w 80"/>
                <a:gd name="T17" fmla="*/ 19 h 42"/>
                <a:gd name="T18" fmla="*/ 0 w 80"/>
                <a:gd name="T19" fmla="*/ 11 h 42"/>
                <a:gd name="T20" fmla="*/ 0 w 80"/>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2">
                  <a:moveTo>
                    <a:pt x="0" y="0"/>
                  </a:moveTo>
                  <a:lnTo>
                    <a:pt x="26" y="3"/>
                  </a:lnTo>
                  <a:lnTo>
                    <a:pt x="65" y="15"/>
                  </a:lnTo>
                  <a:lnTo>
                    <a:pt x="74" y="28"/>
                  </a:lnTo>
                  <a:lnTo>
                    <a:pt x="80" y="42"/>
                  </a:lnTo>
                  <a:lnTo>
                    <a:pt x="57" y="40"/>
                  </a:lnTo>
                  <a:lnTo>
                    <a:pt x="34" y="28"/>
                  </a:lnTo>
                  <a:lnTo>
                    <a:pt x="3" y="28"/>
                  </a:lnTo>
                  <a:lnTo>
                    <a:pt x="17" y="19"/>
                  </a:lnTo>
                  <a:lnTo>
                    <a:pt x="0" y="11"/>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225">
              <a:extLst>
                <a:ext uri="{FF2B5EF4-FFF2-40B4-BE49-F238E27FC236}">
                  <a16:creationId xmlns:a16="http://schemas.microsoft.com/office/drawing/2014/main" id="{F56D0D12-139F-4C10-B577-98C2F79104BF}"/>
                </a:ext>
              </a:extLst>
            </p:cNvPr>
            <p:cNvSpPr>
              <a:spLocks/>
            </p:cNvSpPr>
            <p:nvPr/>
          </p:nvSpPr>
          <p:spPr bwMode="auto">
            <a:xfrm>
              <a:off x="6569075" y="2212992"/>
              <a:ext cx="130175" cy="69882"/>
            </a:xfrm>
            <a:custGeom>
              <a:avLst/>
              <a:gdLst>
                <a:gd name="T0" fmla="*/ 36 w 82"/>
                <a:gd name="T1" fmla="*/ 0 h 44"/>
                <a:gd name="T2" fmla="*/ 46 w 82"/>
                <a:gd name="T3" fmla="*/ 3 h 44"/>
                <a:gd name="T4" fmla="*/ 82 w 82"/>
                <a:gd name="T5" fmla="*/ 21 h 44"/>
                <a:gd name="T6" fmla="*/ 77 w 82"/>
                <a:gd name="T7" fmla="*/ 30 h 44"/>
                <a:gd name="T8" fmla="*/ 0 w 82"/>
                <a:gd name="T9" fmla="*/ 44 h 44"/>
                <a:gd name="T10" fmla="*/ 23 w 82"/>
                <a:gd name="T11" fmla="*/ 3 h 44"/>
                <a:gd name="T12" fmla="*/ 36 w 82"/>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82" h="44">
                  <a:moveTo>
                    <a:pt x="36" y="0"/>
                  </a:moveTo>
                  <a:lnTo>
                    <a:pt x="46" y="3"/>
                  </a:lnTo>
                  <a:lnTo>
                    <a:pt x="82" y="21"/>
                  </a:lnTo>
                  <a:lnTo>
                    <a:pt x="77" y="30"/>
                  </a:lnTo>
                  <a:lnTo>
                    <a:pt x="0" y="44"/>
                  </a:lnTo>
                  <a:lnTo>
                    <a:pt x="23" y="3"/>
                  </a:lnTo>
                  <a:lnTo>
                    <a:pt x="36"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227">
              <a:extLst>
                <a:ext uri="{FF2B5EF4-FFF2-40B4-BE49-F238E27FC236}">
                  <a16:creationId xmlns:a16="http://schemas.microsoft.com/office/drawing/2014/main" id="{CA784634-F767-42DC-9FB5-945BC614F07C}"/>
                </a:ext>
              </a:extLst>
            </p:cNvPr>
            <p:cNvSpPr>
              <a:spLocks/>
            </p:cNvSpPr>
            <p:nvPr/>
          </p:nvSpPr>
          <p:spPr bwMode="auto">
            <a:xfrm>
              <a:off x="4597400" y="2179640"/>
              <a:ext cx="244475" cy="157234"/>
            </a:xfrm>
            <a:custGeom>
              <a:avLst/>
              <a:gdLst>
                <a:gd name="T0" fmla="*/ 90 w 154"/>
                <a:gd name="T1" fmla="*/ 0 h 99"/>
                <a:gd name="T2" fmla="*/ 110 w 154"/>
                <a:gd name="T3" fmla="*/ 11 h 99"/>
                <a:gd name="T4" fmla="*/ 154 w 154"/>
                <a:gd name="T5" fmla="*/ 34 h 99"/>
                <a:gd name="T6" fmla="*/ 119 w 154"/>
                <a:gd name="T7" fmla="*/ 46 h 99"/>
                <a:gd name="T8" fmla="*/ 114 w 154"/>
                <a:gd name="T9" fmla="*/ 67 h 99"/>
                <a:gd name="T10" fmla="*/ 100 w 154"/>
                <a:gd name="T11" fmla="*/ 72 h 99"/>
                <a:gd name="T12" fmla="*/ 92 w 154"/>
                <a:gd name="T13" fmla="*/ 99 h 99"/>
                <a:gd name="T14" fmla="*/ 75 w 154"/>
                <a:gd name="T15" fmla="*/ 99 h 99"/>
                <a:gd name="T16" fmla="*/ 46 w 154"/>
                <a:gd name="T17" fmla="*/ 82 h 99"/>
                <a:gd name="T18" fmla="*/ 60 w 154"/>
                <a:gd name="T19" fmla="*/ 71 h 99"/>
                <a:gd name="T20" fmla="*/ 39 w 154"/>
                <a:gd name="T21" fmla="*/ 63 h 99"/>
                <a:gd name="T22" fmla="*/ 10 w 154"/>
                <a:gd name="T23" fmla="*/ 36 h 99"/>
                <a:gd name="T24" fmla="*/ 0 w 154"/>
                <a:gd name="T25" fmla="*/ 13 h 99"/>
                <a:gd name="T26" fmla="*/ 39 w 154"/>
                <a:gd name="T27" fmla="*/ 1 h 99"/>
                <a:gd name="T28" fmla="*/ 46 w 154"/>
                <a:gd name="T29" fmla="*/ 11 h 99"/>
                <a:gd name="T30" fmla="*/ 66 w 154"/>
                <a:gd name="T31" fmla="*/ 11 h 99"/>
                <a:gd name="T32" fmla="*/ 71 w 154"/>
                <a:gd name="T33" fmla="*/ 1 h 99"/>
                <a:gd name="T34" fmla="*/ 90 w 154"/>
                <a:gd name="T3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 h="99">
                  <a:moveTo>
                    <a:pt x="90" y="0"/>
                  </a:moveTo>
                  <a:lnTo>
                    <a:pt x="110" y="11"/>
                  </a:lnTo>
                  <a:lnTo>
                    <a:pt x="154" y="34"/>
                  </a:lnTo>
                  <a:lnTo>
                    <a:pt x="119" y="46"/>
                  </a:lnTo>
                  <a:lnTo>
                    <a:pt x="114" y="67"/>
                  </a:lnTo>
                  <a:lnTo>
                    <a:pt x="100" y="72"/>
                  </a:lnTo>
                  <a:lnTo>
                    <a:pt x="92" y="99"/>
                  </a:lnTo>
                  <a:lnTo>
                    <a:pt x="75" y="99"/>
                  </a:lnTo>
                  <a:lnTo>
                    <a:pt x="46" y="82"/>
                  </a:lnTo>
                  <a:lnTo>
                    <a:pt x="60" y="71"/>
                  </a:lnTo>
                  <a:lnTo>
                    <a:pt x="39" y="63"/>
                  </a:lnTo>
                  <a:lnTo>
                    <a:pt x="10" y="36"/>
                  </a:lnTo>
                  <a:lnTo>
                    <a:pt x="0" y="13"/>
                  </a:lnTo>
                  <a:lnTo>
                    <a:pt x="39" y="1"/>
                  </a:lnTo>
                  <a:lnTo>
                    <a:pt x="46" y="11"/>
                  </a:lnTo>
                  <a:lnTo>
                    <a:pt x="66" y="11"/>
                  </a:lnTo>
                  <a:lnTo>
                    <a:pt x="71" y="1"/>
                  </a:lnTo>
                  <a:lnTo>
                    <a:pt x="9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229">
              <a:extLst>
                <a:ext uri="{FF2B5EF4-FFF2-40B4-BE49-F238E27FC236}">
                  <a16:creationId xmlns:a16="http://schemas.microsoft.com/office/drawing/2014/main" id="{CA63FD32-14AA-47FC-B09F-75444D0BAF02}"/>
                </a:ext>
              </a:extLst>
            </p:cNvPr>
            <p:cNvSpPr>
              <a:spLocks/>
            </p:cNvSpPr>
            <p:nvPr/>
          </p:nvSpPr>
          <p:spPr bwMode="auto">
            <a:xfrm>
              <a:off x="4749800" y="2144699"/>
              <a:ext cx="222250" cy="65117"/>
            </a:xfrm>
            <a:custGeom>
              <a:avLst/>
              <a:gdLst>
                <a:gd name="T0" fmla="*/ 79 w 140"/>
                <a:gd name="T1" fmla="*/ 0 h 41"/>
                <a:gd name="T2" fmla="*/ 113 w 140"/>
                <a:gd name="T3" fmla="*/ 8 h 41"/>
                <a:gd name="T4" fmla="*/ 140 w 140"/>
                <a:gd name="T5" fmla="*/ 22 h 41"/>
                <a:gd name="T6" fmla="*/ 121 w 140"/>
                <a:gd name="T7" fmla="*/ 37 h 41"/>
                <a:gd name="T8" fmla="*/ 81 w 140"/>
                <a:gd name="T9" fmla="*/ 41 h 41"/>
                <a:gd name="T10" fmla="*/ 39 w 140"/>
                <a:gd name="T11" fmla="*/ 35 h 41"/>
                <a:gd name="T12" fmla="*/ 37 w 140"/>
                <a:gd name="T13" fmla="*/ 27 h 41"/>
                <a:gd name="T14" fmla="*/ 18 w 140"/>
                <a:gd name="T15" fmla="*/ 27 h 41"/>
                <a:gd name="T16" fmla="*/ 0 w 140"/>
                <a:gd name="T17" fmla="*/ 12 h 41"/>
                <a:gd name="T18" fmla="*/ 44 w 140"/>
                <a:gd name="T19" fmla="*/ 4 h 41"/>
                <a:gd name="T20" fmla="*/ 64 w 140"/>
                <a:gd name="T21" fmla="*/ 10 h 41"/>
                <a:gd name="T22" fmla="*/ 79 w 140"/>
                <a:gd name="T2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41">
                  <a:moveTo>
                    <a:pt x="79" y="0"/>
                  </a:moveTo>
                  <a:lnTo>
                    <a:pt x="113" y="8"/>
                  </a:lnTo>
                  <a:lnTo>
                    <a:pt x="140" y="22"/>
                  </a:lnTo>
                  <a:lnTo>
                    <a:pt x="121" y="37"/>
                  </a:lnTo>
                  <a:lnTo>
                    <a:pt x="81" y="41"/>
                  </a:lnTo>
                  <a:lnTo>
                    <a:pt x="39" y="35"/>
                  </a:lnTo>
                  <a:lnTo>
                    <a:pt x="37" y="27"/>
                  </a:lnTo>
                  <a:lnTo>
                    <a:pt x="18" y="27"/>
                  </a:lnTo>
                  <a:lnTo>
                    <a:pt x="0" y="12"/>
                  </a:lnTo>
                  <a:lnTo>
                    <a:pt x="44" y="4"/>
                  </a:lnTo>
                  <a:lnTo>
                    <a:pt x="64" y="10"/>
                  </a:lnTo>
                  <a:lnTo>
                    <a:pt x="79"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231">
              <a:extLst>
                <a:ext uri="{FF2B5EF4-FFF2-40B4-BE49-F238E27FC236}">
                  <a16:creationId xmlns:a16="http://schemas.microsoft.com/office/drawing/2014/main" id="{04237488-F960-4B21-B6B0-320649307880}"/>
                </a:ext>
              </a:extLst>
            </p:cNvPr>
            <p:cNvSpPr>
              <a:spLocks/>
            </p:cNvSpPr>
            <p:nvPr/>
          </p:nvSpPr>
          <p:spPr bwMode="auto">
            <a:xfrm>
              <a:off x="5359400" y="2133581"/>
              <a:ext cx="149225" cy="47647"/>
            </a:xfrm>
            <a:custGeom>
              <a:avLst/>
              <a:gdLst>
                <a:gd name="T0" fmla="*/ 71 w 94"/>
                <a:gd name="T1" fmla="*/ 0 h 30"/>
                <a:gd name="T2" fmla="*/ 94 w 94"/>
                <a:gd name="T3" fmla="*/ 7 h 30"/>
                <a:gd name="T4" fmla="*/ 88 w 94"/>
                <a:gd name="T5" fmla="*/ 13 h 30"/>
                <a:gd name="T6" fmla="*/ 69 w 94"/>
                <a:gd name="T7" fmla="*/ 15 h 30"/>
                <a:gd name="T8" fmla="*/ 58 w 94"/>
                <a:gd name="T9" fmla="*/ 19 h 30"/>
                <a:gd name="T10" fmla="*/ 56 w 94"/>
                <a:gd name="T11" fmla="*/ 25 h 30"/>
                <a:gd name="T12" fmla="*/ 38 w 94"/>
                <a:gd name="T13" fmla="*/ 30 h 30"/>
                <a:gd name="T14" fmla="*/ 23 w 94"/>
                <a:gd name="T15" fmla="*/ 21 h 30"/>
                <a:gd name="T16" fmla="*/ 33 w 94"/>
                <a:gd name="T17" fmla="*/ 11 h 30"/>
                <a:gd name="T18" fmla="*/ 0 w 94"/>
                <a:gd name="T19" fmla="*/ 11 h 30"/>
                <a:gd name="T20" fmla="*/ 27 w 94"/>
                <a:gd name="T21" fmla="*/ 5 h 30"/>
                <a:gd name="T22" fmla="*/ 48 w 94"/>
                <a:gd name="T23" fmla="*/ 5 h 30"/>
                <a:gd name="T24" fmla="*/ 52 w 94"/>
                <a:gd name="T25" fmla="*/ 13 h 30"/>
                <a:gd name="T26" fmla="*/ 61 w 94"/>
                <a:gd name="T27" fmla="*/ 5 h 30"/>
                <a:gd name="T28" fmla="*/ 71 w 94"/>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30">
                  <a:moveTo>
                    <a:pt x="71" y="0"/>
                  </a:moveTo>
                  <a:lnTo>
                    <a:pt x="94" y="7"/>
                  </a:lnTo>
                  <a:lnTo>
                    <a:pt x="88" y="13"/>
                  </a:lnTo>
                  <a:lnTo>
                    <a:pt x="69" y="15"/>
                  </a:lnTo>
                  <a:lnTo>
                    <a:pt x="58" y="19"/>
                  </a:lnTo>
                  <a:lnTo>
                    <a:pt x="56" y="25"/>
                  </a:lnTo>
                  <a:lnTo>
                    <a:pt x="38" y="30"/>
                  </a:lnTo>
                  <a:lnTo>
                    <a:pt x="23" y="21"/>
                  </a:lnTo>
                  <a:lnTo>
                    <a:pt x="33" y="11"/>
                  </a:lnTo>
                  <a:lnTo>
                    <a:pt x="0" y="11"/>
                  </a:lnTo>
                  <a:lnTo>
                    <a:pt x="27" y="5"/>
                  </a:lnTo>
                  <a:lnTo>
                    <a:pt x="48" y="5"/>
                  </a:lnTo>
                  <a:lnTo>
                    <a:pt x="52" y="13"/>
                  </a:lnTo>
                  <a:lnTo>
                    <a:pt x="61" y="5"/>
                  </a:lnTo>
                  <a:lnTo>
                    <a:pt x="71"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233">
              <a:extLst>
                <a:ext uri="{FF2B5EF4-FFF2-40B4-BE49-F238E27FC236}">
                  <a16:creationId xmlns:a16="http://schemas.microsoft.com/office/drawing/2014/main" id="{7B8DB531-273B-45F3-8BE0-BA83C12F90E7}"/>
                </a:ext>
              </a:extLst>
            </p:cNvPr>
            <p:cNvSpPr>
              <a:spLocks/>
            </p:cNvSpPr>
            <p:nvPr/>
          </p:nvSpPr>
          <p:spPr bwMode="auto">
            <a:xfrm>
              <a:off x="6383338" y="2117699"/>
              <a:ext cx="200025" cy="125470"/>
            </a:xfrm>
            <a:custGeom>
              <a:avLst/>
              <a:gdLst>
                <a:gd name="T0" fmla="*/ 67 w 126"/>
                <a:gd name="T1" fmla="*/ 0 h 79"/>
                <a:gd name="T2" fmla="*/ 94 w 126"/>
                <a:gd name="T3" fmla="*/ 15 h 79"/>
                <a:gd name="T4" fmla="*/ 126 w 126"/>
                <a:gd name="T5" fmla="*/ 46 h 79"/>
                <a:gd name="T6" fmla="*/ 123 w 126"/>
                <a:gd name="T7" fmla="*/ 75 h 79"/>
                <a:gd name="T8" fmla="*/ 92 w 126"/>
                <a:gd name="T9" fmla="*/ 79 h 79"/>
                <a:gd name="T10" fmla="*/ 53 w 126"/>
                <a:gd name="T11" fmla="*/ 69 h 79"/>
                <a:gd name="T12" fmla="*/ 30 w 126"/>
                <a:gd name="T13" fmla="*/ 58 h 79"/>
                <a:gd name="T14" fmla="*/ 21 w 126"/>
                <a:gd name="T15" fmla="*/ 35 h 79"/>
                <a:gd name="T16" fmla="*/ 0 w 126"/>
                <a:gd name="T17" fmla="*/ 29 h 79"/>
                <a:gd name="T18" fmla="*/ 36 w 126"/>
                <a:gd name="T19" fmla="*/ 6 h 79"/>
                <a:gd name="T20" fmla="*/ 67 w 126"/>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79">
                  <a:moveTo>
                    <a:pt x="67" y="0"/>
                  </a:moveTo>
                  <a:lnTo>
                    <a:pt x="94" y="15"/>
                  </a:lnTo>
                  <a:lnTo>
                    <a:pt x="126" y="46"/>
                  </a:lnTo>
                  <a:lnTo>
                    <a:pt x="123" y="75"/>
                  </a:lnTo>
                  <a:lnTo>
                    <a:pt x="92" y="79"/>
                  </a:lnTo>
                  <a:lnTo>
                    <a:pt x="53" y="69"/>
                  </a:lnTo>
                  <a:lnTo>
                    <a:pt x="30" y="58"/>
                  </a:lnTo>
                  <a:lnTo>
                    <a:pt x="21" y="35"/>
                  </a:lnTo>
                  <a:lnTo>
                    <a:pt x="0" y="29"/>
                  </a:lnTo>
                  <a:lnTo>
                    <a:pt x="36" y="6"/>
                  </a:lnTo>
                  <a:lnTo>
                    <a:pt x="67"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235">
              <a:extLst>
                <a:ext uri="{FF2B5EF4-FFF2-40B4-BE49-F238E27FC236}">
                  <a16:creationId xmlns:a16="http://schemas.microsoft.com/office/drawing/2014/main" id="{669D55B3-0142-40D5-99DE-C45DB7631CEA}"/>
                </a:ext>
              </a:extLst>
            </p:cNvPr>
            <p:cNvSpPr>
              <a:spLocks/>
            </p:cNvSpPr>
            <p:nvPr/>
          </p:nvSpPr>
          <p:spPr bwMode="auto">
            <a:xfrm>
              <a:off x="2230439" y="2117699"/>
              <a:ext cx="241300" cy="149292"/>
            </a:xfrm>
            <a:custGeom>
              <a:avLst/>
              <a:gdLst>
                <a:gd name="T0" fmla="*/ 60 w 152"/>
                <a:gd name="T1" fmla="*/ 0 h 94"/>
                <a:gd name="T2" fmla="*/ 77 w 152"/>
                <a:gd name="T3" fmla="*/ 15 h 94"/>
                <a:gd name="T4" fmla="*/ 100 w 152"/>
                <a:gd name="T5" fmla="*/ 23 h 94"/>
                <a:gd name="T6" fmla="*/ 123 w 152"/>
                <a:gd name="T7" fmla="*/ 29 h 94"/>
                <a:gd name="T8" fmla="*/ 135 w 152"/>
                <a:gd name="T9" fmla="*/ 50 h 94"/>
                <a:gd name="T10" fmla="*/ 152 w 152"/>
                <a:gd name="T11" fmla="*/ 62 h 94"/>
                <a:gd name="T12" fmla="*/ 133 w 152"/>
                <a:gd name="T13" fmla="*/ 69 h 94"/>
                <a:gd name="T14" fmla="*/ 106 w 152"/>
                <a:gd name="T15" fmla="*/ 92 h 94"/>
                <a:gd name="T16" fmla="*/ 81 w 152"/>
                <a:gd name="T17" fmla="*/ 94 h 94"/>
                <a:gd name="T18" fmla="*/ 52 w 152"/>
                <a:gd name="T19" fmla="*/ 90 h 94"/>
                <a:gd name="T20" fmla="*/ 39 w 152"/>
                <a:gd name="T21" fmla="*/ 79 h 94"/>
                <a:gd name="T22" fmla="*/ 39 w 152"/>
                <a:gd name="T23" fmla="*/ 67 h 94"/>
                <a:gd name="T24" fmla="*/ 50 w 152"/>
                <a:gd name="T25" fmla="*/ 60 h 94"/>
                <a:gd name="T26" fmla="*/ 23 w 152"/>
                <a:gd name="T27" fmla="*/ 60 h 94"/>
                <a:gd name="T28" fmla="*/ 8 w 152"/>
                <a:gd name="T29" fmla="*/ 50 h 94"/>
                <a:gd name="T30" fmla="*/ 0 w 152"/>
                <a:gd name="T31" fmla="*/ 35 h 94"/>
                <a:gd name="T32" fmla="*/ 10 w 152"/>
                <a:gd name="T33" fmla="*/ 21 h 94"/>
                <a:gd name="T34" fmla="*/ 18 w 152"/>
                <a:gd name="T35" fmla="*/ 12 h 94"/>
                <a:gd name="T36" fmla="*/ 33 w 152"/>
                <a:gd name="T37" fmla="*/ 8 h 94"/>
                <a:gd name="T38" fmla="*/ 27 w 152"/>
                <a:gd name="T39" fmla="*/ 2 h 94"/>
                <a:gd name="T40" fmla="*/ 60 w 152"/>
                <a:gd name="T4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94">
                  <a:moveTo>
                    <a:pt x="60" y="0"/>
                  </a:moveTo>
                  <a:lnTo>
                    <a:pt x="77" y="15"/>
                  </a:lnTo>
                  <a:lnTo>
                    <a:pt x="100" y="23"/>
                  </a:lnTo>
                  <a:lnTo>
                    <a:pt x="123" y="29"/>
                  </a:lnTo>
                  <a:lnTo>
                    <a:pt x="135" y="50"/>
                  </a:lnTo>
                  <a:lnTo>
                    <a:pt x="152" y="62"/>
                  </a:lnTo>
                  <a:lnTo>
                    <a:pt x="133" y="69"/>
                  </a:lnTo>
                  <a:lnTo>
                    <a:pt x="106" y="92"/>
                  </a:lnTo>
                  <a:lnTo>
                    <a:pt x="81" y="94"/>
                  </a:lnTo>
                  <a:lnTo>
                    <a:pt x="52" y="90"/>
                  </a:lnTo>
                  <a:lnTo>
                    <a:pt x="39" y="79"/>
                  </a:lnTo>
                  <a:lnTo>
                    <a:pt x="39" y="67"/>
                  </a:lnTo>
                  <a:lnTo>
                    <a:pt x="50" y="60"/>
                  </a:lnTo>
                  <a:lnTo>
                    <a:pt x="23" y="60"/>
                  </a:lnTo>
                  <a:lnTo>
                    <a:pt x="8" y="50"/>
                  </a:lnTo>
                  <a:lnTo>
                    <a:pt x="0" y="35"/>
                  </a:lnTo>
                  <a:lnTo>
                    <a:pt x="10" y="21"/>
                  </a:lnTo>
                  <a:lnTo>
                    <a:pt x="18" y="12"/>
                  </a:lnTo>
                  <a:lnTo>
                    <a:pt x="33" y="8"/>
                  </a:lnTo>
                  <a:lnTo>
                    <a:pt x="27" y="2"/>
                  </a:lnTo>
                  <a:lnTo>
                    <a:pt x="6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237">
              <a:extLst>
                <a:ext uri="{FF2B5EF4-FFF2-40B4-BE49-F238E27FC236}">
                  <a16:creationId xmlns:a16="http://schemas.microsoft.com/office/drawing/2014/main" id="{04E93950-36C0-4067-B760-3199B0DD239B}"/>
                </a:ext>
              </a:extLst>
            </p:cNvPr>
            <p:cNvSpPr>
              <a:spLocks/>
            </p:cNvSpPr>
            <p:nvPr/>
          </p:nvSpPr>
          <p:spPr bwMode="auto">
            <a:xfrm>
              <a:off x="2339976" y="2011289"/>
              <a:ext cx="661988" cy="354173"/>
            </a:xfrm>
            <a:custGeom>
              <a:avLst/>
              <a:gdLst>
                <a:gd name="T0" fmla="*/ 292 w 417"/>
                <a:gd name="T1" fmla="*/ 2 h 223"/>
                <a:gd name="T2" fmla="*/ 359 w 417"/>
                <a:gd name="T3" fmla="*/ 6 h 223"/>
                <a:gd name="T4" fmla="*/ 417 w 417"/>
                <a:gd name="T5" fmla="*/ 19 h 223"/>
                <a:gd name="T6" fmla="*/ 380 w 417"/>
                <a:gd name="T7" fmla="*/ 44 h 223"/>
                <a:gd name="T8" fmla="*/ 334 w 417"/>
                <a:gd name="T9" fmla="*/ 58 h 223"/>
                <a:gd name="T10" fmla="*/ 330 w 417"/>
                <a:gd name="T11" fmla="*/ 79 h 223"/>
                <a:gd name="T12" fmla="*/ 284 w 417"/>
                <a:gd name="T13" fmla="*/ 113 h 223"/>
                <a:gd name="T14" fmla="*/ 248 w 417"/>
                <a:gd name="T15" fmla="*/ 125 h 223"/>
                <a:gd name="T16" fmla="*/ 225 w 417"/>
                <a:gd name="T17" fmla="*/ 130 h 223"/>
                <a:gd name="T18" fmla="*/ 227 w 417"/>
                <a:gd name="T19" fmla="*/ 152 h 223"/>
                <a:gd name="T20" fmla="*/ 192 w 417"/>
                <a:gd name="T21" fmla="*/ 171 h 223"/>
                <a:gd name="T22" fmla="*/ 167 w 417"/>
                <a:gd name="T23" fmla="*/ 194 h 223"/>
                <a:gd name="T24" fmla="*/ 190 w 417"/>
                <a:gd name="T25" fmla="*/ 198 h 223"/>
                <a:gd name="T26" fmla="*/ 154 w 417"/>
                <a:gd name="T27" fmla="*/ 223 h 223"/>
                <a:gd name="T28" fmla="*/ 77 w 417"/>
                <a:gd name="T29" fmla="*/ 219 h 223"/>
                <a:gd name="T30" fmla="*/ 31 w 417"/>
                <a:gd name="T31" fmla="*/ 213 h 223"/>
                <a:gd name="T32" fmla="*/ 54 w 417"/>
                <a:gd name="T33" fmla="*/ 194 h 223"/>
                <a:gd name="T34" fmla="*/ 56 w 417"/>
                <a:gd name="T35" fmla="*/ 171 h 223"/>
                <a:gd name="T36" fmla="*/ 73 w 417"/>
                <a:gd name="T37" fmla="*/ 163 h 223"/>
                <a:gd name="T38" fmla="*/ 64 w 417"/>
                <a:gd name="T39" fmla="*/ 146 h 223"/>
                <a:gd name="T40" fmla="*/ 93 w 417"/>
                <a:gd name="T41" fmla="*/ 127 h 223"/>
                <a:gd name="T42" fmla="*/ 66 w 417"/>
                <a:gd name="T43" fmla="*/ 98 h 223"/>
                <a:gd name="T44" fmla="*/ 116 w 417"/>
                <a:gd name="T45" fmla="*/ 104 h 223"/>
                <a:gd name="T46" fmla="*/ 106 w 417"/>
                <a:gd name="T47" fmla="*/ 88 h 223"/>
                <a:gd name="T48" fmla="*/ 33 w 417"/>
                <a:gd name="T49" fmla="*/ 81 h 223"/>
                <a:gd name="T50" fmla="*/ 4 w 417"/>
                <a:gd name="T51" fmla="*/ 56 h 223"/>
                <a:gd name="T52" fmla="*/ 22 w 417"/>
                <a:gd name="T53" fmla="*/ 38 h 223"/>
                <a:gd name="T54" fmla="*/ 66 w 417"/>
                <a:gd name="T55" fmla="*/ 31 h 223"/>
                <a:gd name="T56" fmla="*/ 102 w 417"/>
                <a:gd name="T57" fmla="*/ 21 h 223"/>
                <a:gd name="T58" fmla="*/ 129 w 417"/>
                <a:gd name="T59" fmla="*/ 11 h 223"/>
                <a:gd name="T60" fmla="*/ 173 w 417"/>
                <a:gd name="T61" fmla="*/ 4 h 223"/>
                <a:gd name="T62" fmla="*/ 223 w 417"/>
                <a:gd name="T63" fmla="*/ 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7" h="223">
                  <a:moveTo>
                    <a:pt x="263" y="0"/>
                  </a:moveTo>
                  <a:lnTo>
                    <a:pt x="292" y="2"/>
                  </a:lnTo>
                  <a:lnTo>
                    <a:pt x="323" y="4"/>
                  </a:lnTo>
                  <a:lnTo>
                    <a:pt x="359" y="6"/>
                  </a:lnTo>
                  <a:lnTo>
                    <a:pt x="392" y="11"/>
                  </a:lnTo>
                  <a:lnTo>
                    <a:pt x="417" y="19"/>
                  </a:lnTo>
                  <a:lnTo>
                    <a:pt x="417" y="29"/>
                  </a:lnTo>
                  <a:lnTo>
                    <a:pt x="380" y="44"/>
                  </a:lnTo>
                  <a:lnTo>
                    <a:pt x="348" y="50"/>
                  </a:lnTo>
                  <a:lnTo>
                    <a:pt x="334" y="58"/>
                  </a:lnTo>
                  <a:lnTo>
                    <a:pt x="367" y="58"/>
                  </a:lnTo>
                  <a:lnTo>
                    <a:pt x="330" y="79"/>
                  </a:lnTo>
                  <a:lnTo>
                    <a:pt x="311" y="86"/>
                  </a:lnTo>
                  <a:lnTo>
                    <a:pt x="284" y="113"/>
                  </a:lnTo>
                  <a:lnTo>
                    <a:pt x="256" y="119"/>
                  </a:lnTo>
                  <a:lnTo>
                    <a:pt x="248" y="125"/>
                  </a:lnTo>
                  <a:lnTo>
                    <a:pt x="206" y="129"/>
                  </a:lnTo>
                  <a:lnTo>
                    <a:pt x="225" y="130"/>
                  </a:lnTo>
                  <a:lnTo>
                    <a:pt x="215" y="136"/>
                  </a:lnTo>
                  <a:lnTo>
                    <a:pt x="227" y="152"/>
                  </a:lnTo>
                  <a:lnTo>
                    <a:pt x="213" y="163"/>
                  </a:lnTo>
                  <a:lnTo>
                    <a:pt x="192" y="171"/>
                  </a:lnTo>
                  <a:lnTo>
                    <a:pt x="187" y="184"/>
                  </a:lnTo>
                  <a:lnTo>
                    <a:pt x="167" y="194"/>
                  </a:lnTo>
                  <a:lnTo>
                    <a:pt x="167" y="200"/>
                  </a:lnTo>
                  <a:lnTo>
                    <a:pt x="190" y="198"/>
                  </a:lnTo>
                  <a:lnTo>
                    <a:pt x="192" y="205"/>
                  </a:lnTo>
                  <a:lnTo>
                    <a:pt x="154" y="223"/>
                  </a:lnTo>
                  <a:lnTo>
                    <a:pt x="119" y="215"/>
                  </a:lnTo>
                  <a:lnTo>
                    <a:pt x="77" y="219"/>
                  </a:lnTo>
                  <a:lnTo>
                    <a:pt x="58" y="215"/>
                  </a:lnTo>
                  <a:lnTo>
                    <a:pt x="31" y="213"/>
                  </a:lnTo>
                  <a:lnTo>
                    <a:pt x="29" y="200"/>
                  </a:lnTo>
                  <a:lnTo>
                    <a:pt x="54" y="194"/>
                  </a:lnTo>
                  <a:lnTo>
                    <a:pt x="46" y="171"/>
                  </a:lnTo>
                  <a:lnTo>
                    <a:pt x="56" y="171"/>
                  </a:lnTo>
                  <a:lnTo>
                    <a:pt x="94" y="184"/>
                  </a:lnTo>
                  <a:lnTo>
                    <a:pt x="73" y="163"/>
                  </a:lnTo>
                  <a:lnTo>
                    <a:pt x="52" y="157"/>
                  </a:lnTo>
                  <a:lnTo>
                    <a:pt x="64" y="146"/>
                  </a:lnTo>
                  <a:lnTo>
                    <a:pt x="87" y="138"/>
                  </a:lnTo>
                  <a:lnTo>
                    <a:pt x="93" y="127"/>
                  </a:lnTo>
                  <a:lnTo>
                    <a:pt x="73" y="115"/>
                  </a:lnTo>
                  <a:lnTo>
                    <a:pt x="66" y="98"/>
                  </a:lnTo>
                  <a:lnTo>
                    <a:pt x="104" y="100"/>
                  </a:lnTo>
                  <a:lnTo>
                    <a:pt x="116" y="104"/>
                  </a:lnTo>
                  <a:lnTo>
                    <a:pt x="139" y="92"/>
                  </a:lnTo>
                  <a:lnTo>
                    <a:pt x="106" y="88"/>
                  </a:lnTo>
                  <a:lnTo>
                    <a:pt x="58" y="90"/>
                  </a:lnTo>
                  <a:lnTo>
                    <a:pt x="33" y="81"/>
                  </a:lnTo>
                  <a:lnTo>
                    <a:pt x="22" y="67"/>
                  </a:lnTo>
                  <a:lnTo>
                    <a:pt x="4" y="56"/>
                  </a:lnTo>
                  <a:lnTo>
                    <a:pt x="0" y="44"/>
                  </a:lnTo>
                  <a:lnTo>
                    <a:pt x="22" y="38"/>
                  </a:lnTo>
                  <a:lnTo>
                    <a:pt x="39" y="38"/>
                  </a:lnTo>
                  <a:lnTo>
                    <a:pt x="66" y="31"/>
                  </a:lnTo>
                  <a:lnTo>
                    <a:pt x="85" y="19"/>
                  </a:lnTo>
                  <a:lnTo>
                    <a:pt x="102" y="21"/>
                  </a:lnTo>
                  <a:lnTo>
                    <a:pt x="117" y="29"/>
                  </a:lnTo>
                  <a:lnTo>
                    <a:pt x="129" y="11"/>
                  </a:lnTo>
                  <a:lnTo>
                    <a:pt x="148" y="6"/>
                  </a:lnTo>
                  <a:lnTo>
                    <a:pt x="173" y="4"/>
                  </a:lnTo>
                  <a:lnTo>
                    <a:pt x="215" y="2"/>
                  </a:lnTo>
                  <a:lnTo>
                    <a:pt x="223" y="6"/>
                  </a:lnTo>
                  <a:lnTo>
                    <a:pt x="26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239">
              <a:extLst>
                <a:ext uri="{FF2B5EF4-FFF2-40B4-BE49-F238E27FC236}">
                  <a16:creationId xmlns:a16="http://schemas.microsoft.com/office/drawing/2014/main" id="{0AD94A6C-E319-4953-AAA3-57E4494D0090}"/>
                </a:ext>
              </a:extLst>
            </p:cNvPr>
            <p:cNvSpPr>
              <a:spLocks/>
            </p:cNvSpPr>
            <p:nvPr/>
          </p:nvSpPr>
          <p:spPr bwMode="auto">
            <a:xfrm>
              <a:off x="2746375" y="1987465"/>
              <a:ext cx="1352550" cy="995813"/>
            </a:xfrm>
            <a:custGeom>
              <a:avLst/>
              <a:gdLst>
                <a:gd name="T0" fmla="*/ 731 w 852"/>
                <a:gd name="T1" fmla="*/ 30 h 627"/>
                <a:gd name="T2" fmla="*/ 577 w 852"/>
                <a:gd name="T3" fmla="*/ 49 h 627"/>
                <a:gd name="T4" fmla="*/ 675 w 852"/>
                <a:gd name="T5" fmla="*/ 63 h 627"/>
                <a:gd name="T6" fmla="*/ 698 w 852"/>
                <a:gd name="T7" fmla="*/ 84 h 627"/>
                <a:gd name="T8" fmla="*/ 844 w 852"/>
                <a:gd name="T9" fmla="*/ 67 h 627"/>
                <a:gd name="T10" fmla="*/ 786 w 852"/>
                <a:gd name="T11" fmla="*/ 109 h 627"/>
                <a:gd name="T12" fmla="*/ 758 w 852"/>
                <a:gd name="T13" fmla="*/ 140 h 627"/>
                <a:gd name="T14" fmla="*/ 763 w 852"/>
                <a:gd name="T15" fmla="*/ 213 h 627"/>
                <a:gd name="T16" fmla="*/ 746 w 852"/>
                <a:gd name="T17" fmla="*/ 239 h 627"/>
                <a:gd name="T18" fmla="*/ 752 w 852"/>
                <a:gd name="T19" fmla="*/ 289 h 627"/>
                <a:gd name="T20" fmla="*/ 733 w 852"/>
                <a:gd name="T21" fmla="*/ 312 h 627"/>
                <a:gd name="T22" fmla="*/ 710 w 852"/>
                <a:gd name="T23" fmla="*/ 335 h 627"/>
                <a:gd name="T24" fmla="*/ 683 w 852"/>
                <a:gd name="T25" fmla="*/ 335 h 627"/>
                <a:gd name="T26" fmla="*/ 713 w 852"/>
                <a:gd name="T27" fmla="*/ 366 h 627"/>
                <a:gd name="T28" fmla="*/ 683 w 852"/>
                <a:gd name="T29" fmla="*/ 380 h 627"/>
                <a:gd name="T30" fmla="*/ 654 w 852"/>
                <a:gd name="T31" fmla="*/ 397 h 627"/>
                <a:gd name="T32" fmla="*/ 673 w 852"/>
                <a:gd name="T33" fmla="*/ 420 h 627"/>
                <a:gd name="T34" fmla="*/ 577 w 852"/>
                <a:gd name="T35" fmla="*/ 447 h 627"/>
                <a:gd name="T36" fmla="*/ 514 w 852"/>
                <a:gd name="T37" fmla="*/ 499 h 627"/>
                <a:gd name="T38" fmla="*/ 466 w 852"/>
                <a:gd name="T39" fmla="*/ 512 h 627"/>
                <a:gd name="T40" fmla="*/ 454 w 852"/>
                <a:gd name="T41" fmla="*/ 539 h 627"/>
                <a:gd name="T42" fmla="*/ 431 w 852"/>
                <a:gd name="T43" fmla="*/ 589 h 627"/>
                <a:gd name="T44" fmla="*/ 397 w 852"/>
                <a:gd name="T45" fmla="*/ 627 h 627"/>
                <a:gd name="T46" fmla="*/ 335 w 852"/>
                <a:gd name="T47" fmla="*/ 598 h 627"/>
                <a:gd name="T48" fmla="*/ 295 w 852"/>
                <a:gd name="T49" fmla="*/ 537 h 627"/>
                <a:gd name="T50" fmla="*/ 280 w 852"/>
                <a:gd name="T51" fmla="*/ 479 h 627"/>
                <a:gd name="T52" fmla="*/ 303 w 852"/>
                <a:gd name="T53" fmla="*/ 433 h 627"/>
                <a:gd name="T54" fmla="*/ 297 w 852"/>
                <a:gd name="T55" fmla="*/ 412 h 627"/>
                <a:gd name="T56" fmla="*/ 261 w 852"/>
                <a:gd name="T57" fmla="*/ 412 h 627"/>
                <a:gd name="T58" fmla="*/ 278 w 852"/>
                <a:gd name="T59" fmla="*/ 380 h 627"/>
                <a:gd name="T60" fmla="*/ 268 w 852"/>
                <a:gd name="T61" fmla="*/ 364 h 627"/>
                <a:gd name="T62" fmla="*/ 259 w 852"/>
                <a:gd name="T63" fmla="*/ 335 h 627"/>
                <a:gd name="T64" fmla="*/ 224 w 852"/>
                <a:gd name="T65" fmla="*/ 278 h 627"/>
                <a:gd name="T66" fmla="*/ 169 w 852"/>
                <a:gd name="T67" fmla="*/ 239 h 627"/>
                <a:gd name="T68" fmla="*/ 67 w 852"/>
                <a:gd name="T69" fmla="*/ 239 h 627"/>
                <a:gd name="T70" fmla="*/ 63 w 852"/>
                <a:gd name="T71" fmla="*/ 205 h 627"/>
                <a:gd name="T72" fmla="*/ 0 w 852"/>
                <a:gd name="T73" fmla="*/ 182 h 627"/>
                <a:gd name="T74" fmla="*/ 107 w 852"/>
                <a:gd name="T75" fmla="*/ 140 h 627"/>
                <a:gd name="T76" fmla="*/ 86 w 852"/>
                <a:gd name="T77" fmla="*/ 105 h 627"/>
                <a:gd name="T78" fmla="*/ 149 w 852"/>
                <a:gd name="T79" fmla="*/ 65 h 627"/>
                <a:gd name="T80" fmla="*/ 266 w 852"/>
                <a:gd name="T81" fmla="*/ 49 h 627"/>
                <a:gd name="T82" fmla="*/ 353 w 852"/>
                <a:gd name="T83" fmla="*/ 55 h 627"/>
                <a:gd name="T84" fmla="*/ 368 w 852"/>
                <a:gd name="T85" fmla="*/ 49 h 627"/>
                <a:gd name="T86" fmla="*/ 466 w 852"/>
                <a:gd name="T87" fmla="*/ 1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2" h="627">
                  <a:moveTo>
                    <a:pt x="533" y="0"/>
                  </a:moveTo>
                  <a:lnTo>
                    <a:pt x="644" y="3"/>
                  </a:lnTo>
                  <a:lnTo>
                    <a:pt x="731" y="30"/>
                  </a:lnTo>
                  <a:lnTo>
                    <a:pt x="706" y="44"/>
                  </a:lnTo>
                  <a:lnTo>
                    <a:pt x="652" y="46"/>
                  </a:lnTo>
                  <a:lnTo>
                    <a:pt x="577" y="49"/>
                  </a:lnTo>
                  <a:lnTo>
                    <a:pt x="585" y="57"/>
                  </a:lnTo>
                  <a:lnTo>
                    <a:pt x="635" y="51"/>
                  </a:lnTo>
                  <a:lnTo>
                    <a:pt x="675" y="63"/>
                  </a:lnTo>
                  <a:lnTo>
                    <a:pt x="702" y="53"/>
                  </a:lnTo>
                  <a:lnTo>
                    <a:pt x="713" y="65"/>
                  </a:lnTo>
                  <a:lnTo>
                    <a:pt x="698" y="84"/>
                  </a:lnTo>
                  <a:lnTo>
                    <a:pt x="735" y="71"/>
                  </a:lnTo>
                  <a:lnTo>
                    <a:pt x="802" y="59"/>
                  </a:lnTo>
                  <a:lnTo>
                    <a:pt x="844" y="67"/>
                  </a:lnTo>
                  <a:lnTo>
                    <a:pt x="852" y="80"/>
                  </a:lnTo>
                  <a:lnTo>
                    <a:pt x="794" y="103"/>
                  </a:lnTo>
                  <a:lnTo>
                    <a:pt x="786" y="109"/>
                  </a:lnTo>
                  <a:lnTo>
                    <a:pt x="742" y="117"/>
                  </a:lnTo>
                  <a:lnTo>
                    <a:pt x="775" y="119"/>
                  </a:lnTo>
                  <a:lnTo>
                    <a:pt x="758" y="140"/>
                  </a:lnTo>
                  <a:lnTo>
                    <a:pt x="748" y="161"/>
                  </a:lnTo>
                  <a:lnTo>
                    <a:pt x="748" y="193"/>
                  </a:lnTo>
                  <a:lnTo>
                    <a:pt x="763" y="213"/>
                  </a:lnTo>
                  <a:lnTo>
                    <a:pt x="742" y="215"/>
                  </a:lnTo>
                  <a:lnTo>
                    <a:pt x="719" y="226"/>
                  </a:lnTo>
                  <a:lnTo>
                    <a:pt x="746" y="239"/>
                  </a:lnTo>
                  <a:lnTo>
                    <a:pt x="748" y="264"/>
                  </a:lnTo>
                  <a:lnTo>
                    <a:pt x="735" y="266"/>
                  </a:lnTo>
                  <a:lnTo>
                    <a:pt x="752" y="289"/>
                  </a:lnTo>
                  <a:lnTo>
                    <a:pt x="719" y="291"/>
                  </a:lnTo>
                  <a:lnTo>
                    <a:pt x="736" y="305"/>
                  </a:lnTo>
                  <a:lnTo>
                    <a:pt x="733" y="312"/>
                  </a:lnTo>
                  <a:lnTo>
                    <a:pt x="712" y="316"/>
                  </a:lnTo>
                  <a:lnTo>
                    <a:pt x="694" y="316"/>
                  </a:lnTo>
                  <a:lnTo>
                    <a:pt x="710" y="335"/>
                  </a:lnTo>
                  <a:lnTo>
                    <a:pt x="710" y="341"/>
                  </a:lnTo>
                  <a:lnTo>
                    <a:pt x="710" y="347"/>
                  </a:lnTo>
                  <a:lnTo>
                    <a:pt x="683" y="335"/>
                  </a:lnTo>
                  <a:lnTo>
                    <a:pt x="677" y="343"/>
                  </a:lnTo>
                  <a:lnTo>
                    <a:pt x="696" y="349"/>
                  </a:lnTo>
                  <a:lnTo>
                    <a:pt x="713" y="366"/>
                  </a:lnTo>
                  <a:lnTo>
                    <a:pt x="719" y="385"/>
                  </a:lnTo>
                  <a:lnTo>
                    <a:pt x="694" y="391"/>
                  </a:lnTo>
                  <a:lnTo>
                    <a:pt x="683" y="380"/>
                  </a:lnTo>
                  <a:lnTo>
                    <a:pt x="665" y="366"/>
                  </a:lnTo>
                  <a:lnTo>
                    <a:pt x="671" y="383"/>
                  </a:lnTo>
                  <a:lnTo>
                    <a:pt x="654" y="397"/>
                  </a:lnTo>
                  <a:lnTo>
                    <a:pt x="690" y="397"/>
                  </a:lnTo>
                  <a:lnTo>
                    <a:pt x="710" y="399"/>
                  </a:lnTo>
                  <a:lnTo>
                    <a:pt x="673" y="420"/>
                  </a:lnTo>
                  <a:lnTo>
                    <a:pt x="635" y="439"/>
                  </a:lnTo>
                  <a:lnTo>
                    <a:pt x="594" y="447"/>
                  </a:lnTo>
                  <a:lnTo>
                    <a:pt x="577" y="447"/>
                  </a:lnTo>
                  <a:lnTo>
                    <a:pt x="566" y="456"/>
                  </a:lnTo>
                  <a:lnTo>
                    <a:pt x="545" y="483"/>
                  </a:lnTo>
                  <a:lnTo>
                    <a:pt x="514" y="499"/>
                  </a:lnTo>
                  <a:lnTo>
                    <a:pt x="506" y="499"/>
                  </a:lnTo>
                  <a:lnTo>
                    <a:pt x="487" y="504"/>
                  </a:lnTo>
                  <a:lnTo>
                    <a:pt x="466" y="512"/>
                  </a:lnTo>
                  <a:lnTo>
                    <a:pt x="454" y="524"/>
                  </a:lnTo>
                  <a:lnTo>
                    <a:pt x="454" y="533"/>
                  </a:lnTo>
                  <a:lnTo>
                    <a:pt x="454" y="539"/>
                  </a:lnTo>
                  <a:lnTo>
                    <a:pt x="447" y="554"/>
                  </a:lnTo>
                  <a:lnTo>
                    <a:pt x="426" y="573"/>
                  </a:lnTo>
                  <a:lnTo>
                    <a:pt x="431" y="589"/>
                  </a:lnTo>
                  <a:lnTo>
                    <a:pt x="426" y="606"/>
                  </a:lnTo>
                  <a:lnTo>
                    <a:pt x="418" y="627"/>
                  </a:lnTo>
                  <a:lnTo>
                    <a:pt x="397" y="627"/>
                  </a:lnTo>
                  <a:lnTo>
                    <a:pt x="378" y="612"/>
                  </a:lnTo>
                  <a:lnTo>
                    <a:pt x="349" y="612"/>
                  </a:lnTo>
                  <a:lnTo>
                    <a:pt x="335" y="598"/>
                  </a:lnTo>
                  <a:lnTo>
                    <a:pt x="328" y="577"/>
                  </a:lnTo>
                  <a:lnTo>
                    <a:pt x="303" y="550"/>
                  </a:lnTo>
                  <a:lnTo>
                    <a:pt x="295" y="537"/>
                  </a:lnTo>
                  <a:lnTo>
                    <a:pt x="293" y="518"/>
                  </a:lnTo>
                  <a:lnTo>
                    <a:pt x="274" y="495"/>
                  </a:lnTo>
                  <a:lnTo>
                    <a:pt x="280" y="479"/>
                  </a:lnTo>
                  <a:lnTo>
                    <a:pt x="270" y="472"/>
                  </a:lnTo>
                  <a:lnTo>
                    <a:pt x="284" y="443"/>
                  </a:lnTo>
                  <a:lnTo>
                    <a:pt x="303" y="433"/>
                  </a:lnTo>
                  <a:lnTo>
                    <a:pt x="311" y="424"/>
                  </a:lnTo>
                  <a:lnTo>
                    <a:pt x="312" y="405"/>
                  </a:lnTo>
                  <a:lnTo>
                    <a:pt x="297" y="412"/>
                  </a:lnTo>
                  <a:lnTo>
                    <a:pt x="289" y="418"/>
                  </a:lnTo>
                  <a:lnTo>
                    <a:pt x="278" y="420"/>
                  </a:lnTo>
                  <a:lnTo>
                    <a:pt x="261" y="412"/>
                  </a:lnTo>
                  <a:lnTo>
                    <a:pt x="259" y="395"/>
                  </a:lnTo>
                  <a:lnTo>
                    <a:pt x="264" y="382"/>
                  </a:lnTo>
                  <a:lnTo>
                    <a:pt x="278" y="380"/>
                  </a:lnTo>
                  <a:lnTo>
                    <a:pt x="305" y="387"/>
                  </a:lnTo>
                  <a:lnTo>
                    <a:pt x="284" y="372"/>
                  </a:lnTo>
                  <a:lnTo>
                    <a:pt x="268" y="364"/>
                  </a:lnTo>
                  <a:lnTo>
                    <a:pt x="255" y="368"/>
                  </a:lnTo>
                  <a:lnTo>
                    <a:pt x="243" y="360"/>
                  </a:lnTo>
                  <a:lnTo>
                    <a:pt x="259" y="335"/>
                  </a:lnTo>
                  <a:lnTo>
                    <a:pt x="251" y="328"/>
                  </a:lnTo>
                  <a:lnTo>
                    <a:pt x="241" y="307"/>
                  </a:lnTo>
                  <a:lnTo>
                    <a:pt x="224" y="278"/>
                  </a:lnTo>
                  <a:lnTo>
                    <a:pt x="205" y="268"/>
                  </a:lnTo>
                  <a:lnTo>
                    <a:pt x="205" y="257"/>
                  </a:lnTo>
                  <a:lnTo>
                    <a:pt x="169" y="239"/>
                  </a:lnTo>
                  <a:lnTo>
                    <a:pt x="138" y="239"/>
                  </a:lnTo>
                  <a:lnTo>
                    <a:pt x="101" y="239"/>
                  </a:lnTo>
                  <a:lnTo>
                    <a:pt x="67" y="239"/>
                  </a:lnTo>
                  <a:lnTo>
                    <a:pt x="51" y="232"/>
                  </a:lnTo>
                  <a:lnTo>
                    <a:pt x="27" y="213"/>
                  </a:lnTo>
                  <a:lnTo>
                    <a:pt x="63" y="205"/>
                  </a:lnTo>
                  <a:lnTo>
                    <a:pt x="92" y="203"/>
                  </a:lnTo>
                  <a:lnTo>
                    <a:pt x="32" y="195"/>
                  </a:lnTo>
                  <a:lnTo>
                    <a:pt x="0" y="182"/>
                  </a:lnTo>
                  <a:lnTo>
                    <a:pt x="2" y="170"/>
                  </a:lnTo>
                  <a:lnTo>
                    <a:pt x="55" y="155"/>
                  </a:lnTo>
                  <a:lnTo>
                    <a:pt x="107" y="140"/>
                  </a:lnTo>
                  <a:lnTo>
                    <a:pt x="113" y="130"/>
                  </a:lnTo>
                  <a:lnTo>
                    <a:pt x="74" y="119"/>
                  </a:lnTo>
                  <a:lnTo>
                    <a:pt x="86" y="105"/>
                  </a:lnTo>
                  <a:lnTo>
                    <a:pt x="136" y="84"/>
                  </a:lnTo>
                  <a:lnTo>
                    <a:pt x="155" y="78"/>
                  </a:lnTo>
                  <a:lnTo>
                    <a:pt x="149" y="65"/>
                  </a:lnTo>
                  <a:lnTo>
                    <a:pt x="182" y="55"/>
                  </a:lnTo>
                  <a:lnTo>
                    <a:pt x="226" y="49"/>
                  </a:lnTo>
                  <a:lnTo>
                    <a:pt x="266" y="49"/>
                  </a:lnTo>
                  <a:lnTo>
                    <a:pt x="284" y="59"/>
                  </a:lnTo>
                  <a:lnTo>
                    <a:pt x="320" y="42"/>
                  </a:lnTo>
                  <a:lnTo>
                    <a:pt x="353" y="55"/>
                  </a:lnTo>
                  <a:lnTo>
                    <a:pt x="372" y="57"/>
                  </a:lnTo>
                  <a:lnTo>
                    <a:pt x="401" y="69"/>
                  </a:lnTo>
                  <a:lnTo>
                    <a:pt x="368" y="49"/>
                  </a:lnTo>
                  <a:lnTo>
                    <a:pt x="370" y="34"/>
                  </a:lnTo>
                  <a:lnTo>
                    <a:pt x="418" y="15"/>
                  </a:lnTo>
                  <a:lnTo>
                    <a:pt x="466" y="17"/>
                  </a:lnTo>
                  <a:lnTo>
                    <a:pt x="483" y="2"/>
                  </a:lnTo>
                  <a:lnTo>
                    <a:pt x="533"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241">
              <a:extLst>
                <a:ext uri="{FF2B5EF4-FFF2-40B4-BE49-F238E27FC236}">
                  <a16:creationId xmlns:a16="http://schemas.microsoft.com/office/drawing/2014/main" id="{E7E7E5D4-4A66-4135-9814-DE09944A66A9}"/>
                </a:ext>
              </a:extLst>
            </p:cNvPr>
            <p:cNvSpPr>
              <a:spLocks/>
            </p:cNvSpPr>
            <p:nvPr/>
          </p:nvSpPr>
          <p:spPr bwMode="auto">
            <a:xfrm>
              <a:off x="665164" y="2973749"/>
              <a:ext cx="39688" cy="22235"/>
            </a:xfrm>
            <a:custGeom>
              <a:avLst/>
              <a:gdLst>
                <a:gd name="T0" fmla="*/ 14 w 25"/>
                <a:gd name="T1" fmla="*/ 0 h 14"/>
                <a:gd name="T2" fmla="*/ 25 w 25"/>
                <a:gd name="T3" fmla="*/ 2 h 14"/>
                <a:gd name="T4" fmla="*/ 25 w 25"/>
                <a:gd name="T5" fmla="*/ 10 h 14"/>
                <a:gd name="T6" fmla="*/ 17 w 25"/>
                <a:gd name="T7" fmla="*/ 14 h 14"/>
                <a:gd name="T8" fmla="*/ 8 w 25"/>
                <a:gd name="T9" fmla="*/ 8 h 14"/>
                <a:gd name="T10" fmla="*/ 0 w 25"/>
                <a:gd name="T11" fmla="*/ 4 h 14"/>
                <a:gd name="T12" fmla="*/ 14 w 25"/>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14" y="0"/>
                  </a:moveTo>
                  <a:lnTo>
                    <a:pt x="25" y="2"/>
                  </a:lnTo>
                  <a:lnTo>
                    <a:pt x="25" y="10"/>
                  </a:lnTo>
                  <a:lnTo>
                    <a:pt x="17" y="14"/>
                  </a:lnTo>
                  <a:lnTo>
                    <a:pt x="8" y="8"/>
                  </a:lnTo>
                  <a:lnTo>
                    <a:pt x="0" y="4"/>
                  </a:lnTo>
                  <a:lnTo>
                    <a:pt x="14"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243">
              <a:extLst>
                <a:ext uri="{FF2B5EF4-FFF2-40B4-BE49-F238E27FC236}">
                  <a16:creationId xmlns:a16="http://schemas.microsoft.com/office/drawing/2014/main" id="{35290ABB-7037-4330-B66F-01176C819103}"/>
                </a:ext>
              </a:extLst>
            </p:cNvPr>
            <p:cNvSpPr>
              <a:spLocks/>
            </p:cNvSpPr>
            <p:nvPr/>
          </p:nvSpPr>
          <p:spPr bwMode="auto">
            <a:xfrm>
              <a:off x="571501" y="2857808"/>
              <a:ext cx="66675" cy="28588"/>
            </a:xfrm>
            <a:custGeom>
              <a:avLst/>
              <a:gdLst>
                <a:gd name="T0" fmla="*/ 0 w 42"/>
                <a:gd name="T1" fmla="*/ 0 h 18"/>
                <a:gd name="T2" fmla="*/ 7 w 42"/>
                <a:gd name="T3" fmla="*/ 4 h 18"/>
                <a:gd name="T4" fmla="*/ 17 w 42"/>
                <a:gd name="T5" fmla="*/ 2 h 18"/>
                <a:gd name="T6" fmla="*/ 28 w 42"/>
                <a:gd name="T7" fmla="*/ 8 h 18"/>
                <a:gd name="T8" fmla="*/ 42 w 42"/>
                <a:gd name="T9" fmla="*/ 12 h 18"/>
                <a:gd name="T10" fmla="*/ 40 w 42"/>
                <a:gd name="T11" fmla="*/ 12 h 18"/>
                <a:gd name="T12" fmla="*/ 30 w 42"/>
                <a:gd name="T13" fmla="*/ 18 h 18"/>
                <a:gd name="T14" fmla="*/ 21 w 42"/>
                <a:gd name="T15" fmla="*/ 12 h 18"/>
                <a:gd name="T16" fmla="*/ 15 w 42"/>
                <a:gd name="T17" fmla="*/ 10 h 18"/>
                <a:gd name="T18" fmla="*/ 2 w 42"/>
                <a:gd name="T19" fmla="*/ 10 h 18"/>
                <a:gd name="T20" fmla="*/ 0 w 42"/>
                <a:gd name="T21" fmla="*/ 8 h 18"/>
                <a:gd name="T22" fmla="*/ 0 w 42"/>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18">
                  <a:moveTo>
                    <a:pt x="0" y="0"/>
                  </a:moveTo>
                  <a:lnTo>
                    <a:pt x="7" y="4"/>
                  </a:lnTo>
                  <a:lnTo>
                    <a:pt x="17" y="2"/>
                  </a:lnTo>
                  <a:lnTo>
                    <a:pt x="28" y="8"/>
                  </a:lnTo>
                  <a:lnTo>
                    <a:pt x="42" y="12"/>
                  </a:lnTo>
                  <a:lnTo>
                    <a:pt x="40" y="12"/>
                  </a:lnTo>
                  <a:lnTo>
                    <a:pt x="30" y="18"/>
                  </a:lnTo>
                  <a:lnTo>
                    <a:pt x="21" y="12"/>
                  </a:lnTo>
                  <a:lnTo>
                    <a:pt x="15" y="10"/>
                  </a:lnTo>
                  <a:lnTo>
                    <a:pt x="2" y="10"/>
                  </a:lnTo>
                  <a:lnTo>
                    <a:pt x="0" y="8"/>
                  </a:lnTo>
                  <a:lnTo>
                    <a:pt x="0" y="0"/>
                  </a:lnTo>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24" name="Rectangle 223">
            <a:extLst>
              <a:ext uri="{FF2B5EF4-FFF2-40B4-BE49-F238E27FC236}">
                <a16:creationId xmlns:a16="http://schemas.microsoft.com/office/drawing/2014/main" id="{C69EC4AE-281A-46D9-873E-07BB1E51B05A}"/>
              </a:ext>
            </a:extLst>
          </p:cNvPr>
          <p:cNvSpPr/>
          <p:nvPr userDrawn="1"/>
        </p:nvSpPr>
        <p:spPr>
          <a:xfrm flipV="1">
            <a:off x="974274" y="3227405"/>
            <a:ext cx="10243456" cy="1245901"/>
          </a:xfrm>
          <a:prstGeom prst="rect">
            <a:avLst/>
          </a:prstGeom>
          <a:gradFill flip="none" rotWithShape="1">
            <a:gsLst>
              <a:gs pos="0">
                <a:schemeClr val="bg1"/>
              </a:gs>
              <a:gs pos="49000">
                <a:schemeClr val="bg1">
                  <a:alpha val="60000"/>
                </a:schemeClr>
              </a:gs>
              <a:gs pos="100000">
                <a:schemeClr val="bg1">
                  <a:alpha val="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225" name="Title 1">
            <a:extLst>
              <a:ext uri="{FF2B5EF4-FFF2-40B4-BE49-F238E27FC236}">
                <a16:creationId xmlns:a16="http://schemas.microsoft.com/office/drawing/2014/main" id="{35737774-FF6C-4629-B50A-18CFF24C5375}"/>
              </a:ext>
            </a:extLst>
          </p:cNvPr>
          <p:cNvSpPr>
            <a:spLocks noGrp="1"/>
          </p:cNvSpPr>
          <p:nvPr>
            <p:ph type="ctrTitle" hasCustomPrompt="1"/>
          </p:nvPr>
        </p:nvSpPr>
        <p:spPr>
          <a:xfrm>
            <a:off x="1929251" y="1929170"/>
            <a:ext cx="3504407" cy="220414"/>
          </a:xfrm>
        </p:spPr>
        <p:txBody>
          <a:bodyPr vert="horz" anchor="ctr" anchorCtr="0"/>
          <a:lstStyle>
            <a:lvl1pPr algn="r">
              <a:defRPr sz="1100" b="0" spc="0" baseline="0">
                <a:solidFill>
                  <a:schemeClr val="tx1"/>
                </a:solidFill>
              </a:defRPr>
            </a:lvl1pPr>
          </a:lstStyle>
          <a:p>
            <a:r>
              <a:rPr lang="en-US"/>
              <a:t>Type Name 1, Title</a:t>
            </a:r>
          </a:p>
        </p:txBody>
      </p:sp>
      <p:sp>
        <p:nvSpPr>
          <p:cNvPr id="226" name="Text Placeholder 12">
            <a:extLst>
              <a:ext uri="{FF2B5EF4-FFF2-40B4-BE49-F238E27FC236}">
                <a16:creationId xmlns:a16="http://schemas.microsoft.com/office/drawing/2014/main" id="{763DFA56-A75B-4906-9775-8AAB400E4C31}"/>
              </a:ext>
            </a:extLst>
          </p:cNvPr>
          <p:cNvSpPr>
            <a:spLocks noGrp="1"/>
          </p:cNvSpPr>
          <p:nvPr>
            <p:ph type="body" sz="quarter" idx="10" hasCustomPrompt="1"/>
          </p:nvPr>
        </p:nvSpPr>
        <p:spPr>
          <a:xfrm>
            <a:off x="1929251" y="2161154"/>
            <a:ext cx="3504407" cy="220414"/>
          </a:xfrm>
        </p:spPr>
        <p:txBody>
          <a:bodyPr anchor="ctr">
            <a:noAutofit/>
          </a:bodyPr>
          <a:lstStyle>
            <a:lvl1pPr algn="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227" name="Text Placeholder 12">
            <a:extLst>
              <a:ext uri="{FF2B5EF4-FFF2-40B4-BE49-F238E27FC236}">
                <a16:creationId xmlns:a16="http://schemas.microsoft.com/office/drawing/2014/main" id="{1F8CE907-3C90-41EB-91C7-DA18FA106401}"/>
              </a:ext>
            </a:extLst>
          </p:cNvPr>
          <p:cNvSpPr>
            <a:spLocks noGrp="1"/>
          </p:cNvSpPr>
          <p:nvPr>
            <p:ph type="body" sz="quarter" idx="11" hasCustomPrompt="1"/>
          </p:nvPr>
        </p:nvSpPr>
        <p:spPr>
          <a:xfrm>
            <a:off x="1929251" y="2956917"/>
            <a:ext cx="3504407" cy="220414"/>
          </a:xfrm>
        </p:spPr>
        <p:txBody>
          <a:bodyPr anchor="ctr">
            <a:noAutofit/>
          </a:bodyPr>
          <a:lstStyle>
            <a:lvl1pPr algn="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228" name="Text Placeholder 12">
            <a:extLst>
              <a:ext uri="{FF2B5EF4-FFF2-40B4-BE49-F238E27FC236}">
                <a16:creationId xmlns:a16="http://schemas.microsoft.com/office/drawing/2014/main" id="{B4D241AA-6FF3-4200-BFC4-3729D0603CFF}"/>
              </a:ext>
            </a:extLst>
          </p:cNvPr>
          <p:cNvSpPr>
            <a:spLocks noGrp="1"/>
          </p:cNvSpPr>
          <p:nvPr>
            <p:ph type="body" sz="quarter" idx="12" hasCustomPrompt="1"/>
          </p:nvPr>
        </p:nvSpPr>
        <p:spPr>
          <a:xfrm>
            <a:off x="1929251" y="3744054"/>
            <a:ext cx="3504407" cy="220414"/>
          </a:xfrm>
        </p:spPr>
        <p:txBody>
          <a:bodyPr anchor="ctr">
            <a:noAutofit/>
          </a:bodyPr>
          <a:lstStyle>
            <a:lvl1pPr algn="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229" name="Text Placeholder 12">
            <a:extLst>
              <a:ext uri="{FF2B5EF4-FFF2-40B4-BE49-F238E27FC236}">
                <a16:creationId xmlns:a16="http://schemas.microsoft.com/office/drawing/2014/main" id="{F6C3451D-9208-4A3A-9A11-2DDE6C330EC8}"/>
              </a:ext>
            </a:extLst>
          </p:cNvPr>
          <p:cNvSpPr>
            <a:spLocks noGrp="1"/>
          </p:cNvSpPr>
          <p:nvPr>
            <p:ph type="body" sz="quarter" idx="26" hasCustomPrompt="1"/>
          </p:nvPr>
        </p:nvSpPr>
        <p:spPr>
          <a:xfrm>
            <a:off x="1929251" y="4531191"/>
            <a:ext cx="3504407" cy="220414"/>
          </a:xfrm>
        </p:spPr>
        <p:txBody>
          <a:bodyPr anchor="ctr">
            <a:noAutofit/>
          </a:bodyPr>
          <a:lstStyle>
            <a:lvl1pPr algn="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230" name="Text Placeholder 12">
            <a:extLst>
              <a:ext uri="{FF2B5EF4-FFF2-40B4-BE49-F238E27FC236}">
                <a16:creationId xmlns:a16="http://schemas.microsoft.com/office/drawing/2014/main" id="{6E2907FF-2C7C-460B-B05F-BE4B56F1C815}"/>
              </a:ext>
            </a:extLst>
          </p:cNvPr>
          <p:cNvSpPr>
            <a:spLocks noGrp="1"/>
          </p:cNvSpPr>
          <p:nvPr>
            <p:ph type="body" sz="quarter" idx="15" hasCustomPrompt="1"/>
          </p:nvPr>
        </p:nvSpPr>
        <p:spPr>
          <a:xfrm>
            <a:off x="1929251" y="2724933"/>
            <a:ext cx="3504407" cy="220414"/>
          </a:xfrm>
        </p:spPr>
        <p:txBody>
          <a:bodyPr anchor="ctr">
            <a:noAutofit/>
          </a:bodyPr>
          <a:lstStyle>
            <a:lvl1pPr algn="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3, Title</a:t>
            </a:r>
          </a:p>
        </p:txBody>
      </p:sp>
      <p:sp>
        <p:nvSpPr>
          <p:cNvPr id="231" name="Text Placeholder 12">
            <a:extLst>
              <a:ext uri="{FF2B5EF4-FFF2-40B4-BE49-F238E27FC236}">
                <a16:creationId xmlns:a16="http://schemas.microsoft.com/office/drawing/2014/main" id="{78719E91-891E-4FAB-9142-5F2DD1E252F5}"/>
              </a:ext>
            </a:extLst>
          </p:cNvPr>
          <p:cNvSpPr>
            <a:spLocks noGrp="1"/>
          </p:cNvSpPr>
          <p:nvPr>
            <p:ph type="body" sz="quarter" idx="16" hasCustomPrompt="1"/>
          </p:nvPr>
        </p:nvSpPr>
        <p:spPr>
          <a:xfrm>
            <a:off x="1929251" y="3512070"/>
            <a:ext cx="3504407" cy="220414"/>
          </a:xfrm>
        </p:spPr>
        <p:txBody>
          <a:bodyPr anchor="ctr">
            <a:noAutofit/>
          </a:bodyPr>
          <a:lstStyle>
            <a:lvl1pPr algn="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5, Title</a:t>
            </a:r>
          </a:p>
        </p:txBody>
      </p:sp>
      <p:sp>
        <p:nvSpPr>
          <p:cNvPr id="232" name="Text Placeholder 12">
            <a:extLst>
              <a:ext uri="{FF2B5EF4-FFF2-40B4-BE49-F238E27FC236}">
                <a16:creationId xmlns:a16="http://schemas.microsoft.com/office/drawing/2014/main" id="{7F77393C-C96C-4DF6-9050-4B3C3FB2C5EF}"/>
              </a:ext>
            </a:extLst>
          </p:cNvPr>
          <p:cNvSpPr>
            <a:spLocks noGrp="1"/>
          </p:cNvSpPr>
          <p:nvPr>
            <p:ph type="body" sz="quarter" idx="27" hasCustomPrompt="1"/>
          </p:nvPr>
        </p:nvSpPr>
        <p:spPr>
          <a:xfrm>
            <a:off x="1929251" y="4299207"/>
            <a:ext cx="3504407" cy="220414"/>
          </a:xfrm>
        </p:spPr>
        <p:txBody>
          <a:bodyPr anchor="ctr">
            <a:noAutofit/>
          </a:bodyPr>
          <a:lstStyle>
            <a:lvl1pPr algn="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7, Title</a:t>
            </a:r>
          </a:p>
        </p:txBody>
      </p:sp>
      <p:sp>
        <p:nvSpPr>
          <p:cNvPr id="233" name="Text Placeholder 12">
            <a:extLst>
              <a:ext uri="{FF2B5EF4-FFF2-40B4-BE49-F238E27FC236}">
                <a16:creationId xmlns:a16="http://schemas.microsoft.com/office/drawing/2014/main" id="{BA4218A5-F5D0-4116-B615-8D1922502525}"/>
              </a:ext>
            </a:extLst>
          </p:cNvPr>
          <p:cNvSpPr>
            <a:spLocks noGrp="1"/>
          </p:cNvSpPr>
          <p:nvPr>
            <p:ph type="body" sz="quarter" idx="28" hasCustomPrompt="1"/>
          </p:nvPr>
        </p:nvSpPr>
        <p:spPr>
          <a:xfrm>
            <a:off x="6806051" y="2161154"/>
            <a:ext cx="3504407" cy="220414"/>
          </a:xfrm>
        </p:spPr>
        <p:txBody>
          <a:bodyPr anchor="ctr">
            <a:noAutofit/>
          </a:bodyPr>
          <a:lstStyle>
            <a:lvl1pP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234" name="Text Placeholder 12">
            <a:extLst>
              <a:ext uri="{FF2B5EF4-FFF2-40B4-BE49-F238E27FC236}">
                <a16:creationId xmlns:a16="http://schemas.microsoft.com/office/drawing/2014/main" id="{8722B1D3-D916-4E16-8E31-739781F5F3B5}"/>
              </a:ext>
            </a:extLst>
          </p:cNvPr>
          <p:cNvSpPr>
            <a:spLocks noGrp="1"/>
          </p:cNvSpPr>
          <p:nvPr>
            <p:ph type="body" sz="quarter" idx="29" hasCustomPrompt="1"/>
          </p:nvPr>
        </p:nvSpPr>
        <p:spPr>
          <a:xfrm>
            <a:off x="6806051" y="2956917"/>
            <a:ext cx="3504407" cy="220414"/>
          </a:xfrm>
        </p:spPr>
        <p:txBody>
          <a:bodyPr anchor="ctr">
            <a:noAutofit/>
          </a:bodyPr>
          <a:lstStyle>
            <a:lvl1pP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235" name="Text Placeholder 12">
            <a:extLst>
              <a:ext uri="{FF2B5EF4-FFF2-40B4-BE49-F238E27FC236}">
                <a16:creationId xmlns:a16="http://schemas.microsoft.com/office/drawing/2014/main" id="{F0A13DB8-9044-4579-A67C-3278A2ADBB21}"/>
              </a:ext>
            </a:extLst>
          </p:cNvPr>
          <p:cNvSpPr>
            <a:spLocks noGrp="1"/>
          </p:cNvSpPr>
          <p:nvPr>
            <p:ph type="body" sz="quarter" idx="30" hasCustomPrompt="1"/>
          </p:nvPr>
        </p:nvSpPr>
        <p:spPr>
          <a:xfrm>
            <a:off x="6806051" y="3744054"/>
            <a:ext cx="3504407" cy="220414"/>
          </a:xfrm>
        </p:spPr>
        <p:txBody>
          <a:bodyPr anchor="ctr">
            <a:noAutofit/>
          </a:bodyPr>
          <a:lstStyle>
            <a:lvl1pP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236" name="Text Placeholder 12">
            <a:extLst>
              <a:ext uri="{FF2B5EF4-FFF2-40B4-BE49-F238E27FC236}">
                <a16:creationId xmlns:a16="http://schemas.microsoft.com/office/drawing/2014/main" id="{DBE8D341-5191-4133-94BC-B8AFA2172D62}"/>
              </a:ext>
            </a:extLst>
          </p:cNvPr>
          <p:cNvSpPr>
            <a:spLocks noGrp="1"/>
          </p:cNvSpPr>
          <p:nvPr>
            <p:ph type="body" sz="quarter" idx="31" hasCustomPrompt="1"/>
          </p:nvPr>
        </p:nvSpPr>
        <p:spPr>
          <a:xfrm>
            <a:off x="6806051" y="4531191"/>
            <a:ext cx="3504407" cy="220414"/>
          </a:xfrm>
        </p:spPr>
        <p:txBody>
          <a:bodyPr anchor="ctr">
            <a:noAutofit/>
          </a:bodyPr>
          <a:lstStyle>
            <a:lvl1pPr>
              <a:buNone/>
              <a:defRPr sz="1100">
                <a:solidFill>
                  <a:schemeClr val="accent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Email</a:t>
            </a:r>
          </a:p>
        </p:txBody>
      </p:sp>
      <p:sp>
        <p:nvSpPr>
          <p:cNvPr id="237" name="Text Placeholder 12">
            <a:extLst>
              <a:ext uri="{FF2B5EF4-FFF2-40B4-BE49-F238E27FC236}">
                <a16:creationId xmlns:a16="http://schemas.microsoft.com/office/drawing/2014/main" id="{E0D9B687-E5AC-4EB2-8E32-52C6A7BC273A}"/>
              </a:ext>
            </a:extLst>
          </p:cNvPr>
          <p:cNvSpPr>
            <a:spLocks noGrp="1"/>
          </p:cNvSpPr>
          <p:nvPr>
            <p:ph type="body" sz="quarter" idx="32" hasCustomPrompt="1"/>
          </p:nvPr>
        </p:nvSpPr>
        <p:spPr>
          <a:xfrm>
            <a:off x="6806051" y="2724933"/>
            <a:ext cx="3504407" cy="220414"/>
          </a:xfrm>
        </p:spPr>
        <p:txBody>
          <a:bodyPr anchor="ctr">
            <a:noAutofit/>
          </a:bodyPr>
          <a:lstStyle>
            <a:lvl1pP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4, Title</a:t>
            </a:r>
          </a:p>
        </p:txBody>
      </p:sp>
      <p:sp>
        <p:nvSpPr>
          <p:cNvPr id="238" name="Text Placeholder 12">
            <a:extLst>
              <a:ext uri="{FF2B5EF4-FFF2-40B4-BE49-F238E27FC236}">
                <a16:creationId xmlns:a16="http://schemas.microsoft.com/office/drawing/2014/main" id="{B72450F8-D29A-4586-A330-65D7B8850D1A}"/>
              </a:ext>
            </a:extLst>
          </p:cNvPr>
          <p:cNvSpPr>
            <a:spLocks noGrp="1"/>
          </p:cNvSpPr>
          <p:nvPr>
            <p:ph type="body" sz="quarter" idx="33" hasCustomPrompt="1"/>
          </p:nvPr>
        </p:nvSpPr>
        <p:spPr>
          <a:xfrm>
            <a:off x="6806051" y="3512070"/>
            <a:ext cx="3504407" cy="220414"/>
          </a:xfrm>
        </p:spPr>
        <p:txBody>
          <a:bodyPr anchor="ctr">
            <a:noAutofit/>
          </a:bodyPr>
          <a:lstStyle>
            <a:lvl1pP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6, Title</a:t>
            </a:r>
          </a:p>
        </p:txBody>
      </p:sp>
      <p:sp>
        <p:nvSpPr>
          <p:cNvPr id="239" name="Text Placeholder 12">
            <a:extLst>
              <a:ext uri="{FF2B5EF4-FFF2-40B4-BE49-F238E27FC236}">
                <a16:creationId xmlns:a16="http://schemas.microsoft.com/office/drawing/2014/main" id="{580A7465-6C73-4C3D-85E5-58D1DFF9741D}"/>
              </a:ext>
            </a:extLst>
          </p:cNvPr>
          <p:cNvSpPr>
            <a:spLocks noGrp="1"/>
          </p:cNvSpPr>
          <p:nvPr>
            <p:ph type="body" sz="quarter" idx="34" hasCustomPrompt="1"/>
          </p:nvPr>
        </p:nvSpPr>
        <p:spPr>
          <a:xfrm>
            <a:off x="6806051" y="4299207"/>
            <a:ext cx="3504407" cy="220414"/>
          </a:xfrm>
        </p:spPr>
        <p:txBody>
          <a:bodyPr anchor="ctr">
            <a:noAutofit/>
          </a:bodyPr>
          <a:lstStyle>
            <a:lvl1pP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8, Title</a:t>
            </a:r>
          </a:p>
        </p:txBody>
      </p:sp>
      <p:sp>
        <p:nvSpPr>
          <p:cNvPr id="240" name="Text Placeholder 12">
            <a:extLst>
              <a:ext uri="{FF2B5EF4-FFF2-40B4-BE49-F238E27FC236}">
                <a16:creationId xmlns:a16="http://schemas.microsoft.com/office/drawing/2014/main" id="{3981ACA2-061D-42E5-84B6-56462232FC2D}"/>
              </a:ext>
            </a:extLst>
          </p:cNvPr>
          <p:cNvSpPr>
            <a:spLocks noGrp="1"/>
          </p:cNvSpPr>
          <p:nvPr>
            <p:ph type="body" sz="quarter" idx="35" hasCustomPrompt="1"/>
          </p:nvPr>
        </p:nvSpPr>
        <p:spPr>
          <a:xfrm>
            <a:off x="6806051" y="1929170"/>
            <a:ext cx="3504407" cy="220414"/>
          </a:xfrm>
        </p:spPr>
        <p:txBody>
          <a:bodyPr anchor="ctr">
            <a:noAutofit/>
          </a:bodyPr>
          <a:lstStyle>
            <a:lvl1pPr>
              <a:buNone/>
              <a:defRPr sz="1100">
                <a:solidFill>
                  <a:schemeClr val="tx1"/>
                </a:solidFill>
              </a:defRPr>
            </a:lvl1pPr>
            <a:lvl2pPr>
              <a:defRPr sz="1200">
                <a:solidFill>
                  <a:schemeClr val="accent2"/>
                </a:solidFill>
              </a:defRPr>
            </a:lvl2pPr>
            <a:lvl3pPr>
              <a:defRPr sz="1200">
                <a:solidFill>
                  <a:schemeClr val="accent2"/>
                </a:solidFill>
              </a:defRPr>
            </a:lvl3pPr>
            <a:lvl4pPr>
              <a:defRPr sz="1200">
                <a:solidFill>
                  <a:schemeClr val="accent2"/>
                </a:solidFill>
              </a:defRPr>
            </a:lvl4pPr>
            <a:lvl5pPr>
              <a:defRPr sz="1200">
                <a:solidFill>
                  <a:schemeClr val="accent2"/>
                </a:solidFill>
              </a:defRPr>
            </a:lvl5pPr>
          </a:lstStyle>
          <a:p>
            <a:pPr lvl="0"/>
            <a:r>
              <a:rPr lang="en-US"/>
              <a:t>Type Name 2, Title</a:t>
            </a:r>
          </a:p>
        </p:txBody>
      </p:sp>
      <p:grpSp>
        <p:nvGrpSpPr>
          <p:cNvPr id="2" name="Group 1">
            <a:extLst>
              <a:ext uri="{FF2B5EF4-FFF2-40B4-BE49-F238E27FC236}">
                <a16:creationId xmlns:a16="http://schemas.microsoft.com/office/drawing/2014/main" id="{DB9F30B6-DF89-1762-7679-92C83D8EC1B8}"/>
              </a:ext>
            </a:extLst>
          </p:cNvPr>
          <p:cNvGrpSpPr/>
          <p:nvPr userDrawn="1"/>
        </p:nvGrpSpPr>
        <p:grpSpPr>
          <a:xfrm>
            <a:off x="367368" y="5725874"/>
            <a:ext cx="951309" cy="341297"/>
            <a:chOff x="367368" y="6371773"/>
            <a:chExt cx="951309" cy="341297"/>
          </a:xfrm>
        </p:grpSpPr>
        <p:sp>
          <p:nvSpPr>
            <p:cNvPr id="3" name="Shape 2452">
              <a:extLst>
                <a:ext uri="{FF2B5EF4-FFF2-40B4-BE49-F238E27FC236}">
                  <a16:creationId xmlns:a16="http://schemas.microsoft.com/office/drawing/2014/main" id="{14AF95AC-A041-2120-6470-824591C6F158}"/>
                </a:ext>
              </a:extLst>
            </p:cNvPr>
            <p:cNvSpPr>
              <a:spLocks noChangeAspect="1"/>
            </p:cNvSpPr>
            <p:nvPr userDrawn="1"/>
          </p:nvSpPr>
          <p:spPr>
            <a:xfrm>
              <a:off x="796852"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4" name="TextBox 3">
              <a:extLst>
                <a:ext uri="{FF2B5EF4-FFF2-40B4-BE49-F238E27FC236}">
                  <a16:creationId xmlns:a16="http://schemas.microsoft.com/office/drawing/2014/main" id="{0AA41FEB-DAEA-49CC-1E4C-EB286F735838}"/>
                </a:ext>
              </a:extLst>
            </p:cNvPr>
            <p:cNvSpPr txBox="1"/>
            <p:nvPr userDrawn="1"/>
          </p:nvSpPr>
          <p:spPr>
            <a:xfrm>
              <a:off x="367368"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WALTHAM</a:t>
              </a:r>
            </a:p>
          </p:txBody>
        </p:sp>
      </p:grpSp>
      <p:grpSp>
        <p:nvGrpSpPr>
          <p:cNvPr id="35" name="Group 34">
            <a:extLst>
              <a:ext uri="{FF2B5EF4-FFF2-40B4-BE49-F238E27FC236}">
                <a16:creationId xmlns:a16="http://schemas.microsoft.com/office/drawing/2014/main" id="{615B14D5-E45B-DD0B-8A90-B77E6773B7B9}"/>
              </a:ext>
            </a:extLst>
          </p:cNvPr>
          <p:cNvGrpSpPr/>
          <p:nvPr userDrawn="1"/>
        </p:nvGrpSpPr>
        <p:grpSpPr>
          <a:xfrm>
            <a:off x="1419076" y="5725874"/>
            <a:ext cx="951309" cy="341297"/>
            <a:chOff x="1419076" y="6371773"/>
            <a:chExt cx="951309" cy="341297"/>
          </a:xfrm>
        </p:grpSpPr>
        <p:sp>
          <p:nvSpPr>
            <p:cNvPr id="36" name="Shape 2452">
              <a:extLst>
                <a:ext uri="{FF2B5EF4-FFF2-40B4-BE49-F238E27FC236}">
                  <a16:creationId xmlns:a16="http://schemas.microsoft.com/office/drawing/2014/main" id="{5985CE1B-A8DE-2791-691C-74AB5AB551B7}"/>
                </a:ext>
              </a:extLst>
            </p:cNvPr>
            <p:cNvSpPr>
              <a:spLocks noChangeAspect="1"/>
            </p:cNvSpPr>
            <p:nvPr userDrawn="1"/>
          </p:nvSpPr>
          <p:spPr>
            <a:xfrm>
              <a:off x="1848560"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37" name="TextBox 36">
              <a:extLst>
                <a:ext uri="{FF2B5EF4-FFF2-40B4-BE49-F238E27FC236}">
                  <a16:creationId xmlns:a16="http://schemas.microsoft.com/office/drawing/2014/main" id="{31C51F9D-F912-B335-BC5C-EE36F6AEFBC5}"/>
                </a:ext>
              </a:extLst>
            </p:cNvPr>
            <p:cNvSpPr txBox="1"/>
            <p:nvPr userDrawn="1"/>
          </p:nvSpPr>
          <p:spPr>
            <a:xfrm>
              <a:off x="1419076"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CAMBRIDGE</a:t>
              </a:r>
            </a:p>
          </p:txBody>
        </p:sp>
      </p:grpSp>
      <p:grpSp>
        <p:nvGrpSpPr>
          <p:cNvPr id="44" name="Group 43">
            <a:extLst>
              <a:ext uri="{FF2B5EF4-FFF2-40B4-BE49-F238E27FC236}">
                <a16:creationId xmlns:a16="http://schemas.microsoft.com/office/drawing/2014/main" id="{30A16698-4CC1-817F-2E21-7D413FED1EE6}"/>
              </a:ext>
            </a:extLst>
          </p:cNvPr>
          <p:cNvGrpSpPr/>
          <p:nvPr userDrawn="1"/>
        </p:nvGrpSpPr>
        <p:grpSpPr>
          <a:xfrm>
            <a:off x="2470784" y="5725874"/>
            <a:ext cx="951309" cy="341297"/>
            <a:chOff x="2470784" y="6371773"/>
            <a:chExt cx="951309" cy="341297"/>
          </a:xfrm>
        </p:grpSpPr>
        <p:sp>
          <p:nvSpPr>
            <p:cNvPr id="45" name="Shape 2452">
              <a:extLst>
                <a:ext uri="{FF2B5EF4-FFF2-40B4-BE49-F238E27FC236}">
                  <a16:creationId xmlns:a16="http://schemas.microsoft.com/office/drawing/2014/main" id="{F590BB96-8911-EDB7-62F8-767AE73FC0D4}"/>
                </a:ext>
              </a:extLst>
            </p:cNvPr>
            <p:cNvSpPr>
              <a:spLocks noChangeAspect="1"/>
            </p:cNvSpPr>
            <p:nvPr userDrawn="1"/>
          </p:nvSpPr>
          <p:spPr>
            <a:xfrm>
              <a:off x="2900268"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46" name="TextBox 45">
              <a:extLst>
                <a:ext uri="{FF2B5EF4-FFF2-40B4-BE49-F238E27FC236}">
                  <a16:creationId xmlns:a16="http://schemas.microsoft.com/office/drawing/2014/main" id="{D63CD3C3-9455-1520-3768-3288A1BC4AED}"/>
                </a:ext>
              </a:extLst>
            </p:cNvPr>
            <p:cNvSpPr txBox="1"/>
            <p:nvPr userDrawn="1"/>
          </p:nvSpPr>
          <p:spPr>
            <a:xfrm>
              <a:off x="2470784"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NEW YORK</a:t>
              </a:r>
            </a:p>
          </p:txBody>
        </p:sp>
      </p:grpSp>
      <p:grpSp>
        <p:nvGrpSpPr>
          <p:cNvPr id="47" name="Group 46">
            <a:extLst>
              <a:ext uri="{FF2B5EF4-FFF2-40B4-BE49-F238E27FC236}">
                <a16:creationId xmlns:a16="http://schemas.microsoft.com/office/drawing/2014/main" id="{050252AC-6335-832D-AC27-C9EEF2700BC0}"/>
              </a:ext>
            </a:extLst>
          </p:cNvPr>
          <p:cNvGrpSpPr/>
          <p:nvPr userDrawn="1"/>
        </p:nvGrpSpPr>
        <p:grpSpPr>
          <a:xfrm>
            <a:off x="5625908" y="5725874"/>
            <a:ext cx="951309" cy="341297"/>
            <a:chOff x="5625908" y="6371773"/>
            <a:chExt cx="951309" cy="341297"/>
          </a:xfrm>
        </p:grpSpPr>
        <p:sp>
          <p:nvSpPr>
            <p:cNvPr id="48" name="Shape 2452">
              <a:extLst>
                <a:ext uri="{FF2B5EF4-FFF2-40B4-BE49-F238E27FC236}">
                  <a16:creationId xmlns:a16="http://schemas.microsoft.com/office/drawing/2014/main" id="{5DFB239C-A55B-4B96-F168-E0A6A4BEC60A}"/>
                </a:ext>
              </a:extLst>
            </p:cNvPr>
            <p:cNvSpPr>
              <a:spLocks noChangeAspect="1"/>
            </p:cNvSpPr>
            <p:nvPr userDrawn="1"/>
          </p:nvSpPr>
          <p:spPr>
            <a:xfrm>
              <a:off x="6055392"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50" name="TextBox 49">
              <a:extLst>
                <a:ext uri="{FF2B5EF4-FFF2-40B4-BE49-F238E27FC236}">
                  <a16:creationId xmlns:a16="http://schemas.microsoft.com/office/drawing/2014/main" id="{855306DA-489E-C9AC-3665-8C63AC75922D}"/>
                </a:ext>
              </a:extLst>
            </p:cNvPr>
            <p:cNvSpPr txBox="1"/>
            <p:nvPr userDrawn="1"/>
          </p:nvSpPr>
          <p:spPr>
            <a:xfrm>
              <a:off x="5625908"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SAN FRANCISCO</a:t>
              </a:r>
            </a:p>
          </p:txBody>
        </p:sp>
      </p:grpSp>
      <p:grpSp>
        <p:nvGrpSpPr>
          <p:cNvPr id="52" name="Group 51">
            <a:extLst>
              <a:ext uri="{FF2B5EF4-FFF2-40B4-BE49-F238E27FC236}">
                <a16:creationId xmlns:a16="http://schemas.microsoft.com/office/drawing/2014/main" id="{D3C30A7A-006B-1E46-EE5E-60E6CE4C1E04}"/>
              </a:ext>
            </a:extLst>
          </p:cNvPr>
          <p:cNvGrpSpPr/>
          <p:nvPr userDrawn="1"/>
        </p:nvGrpSpPr>
        <p:grpSpPr>
          <a:xfrm>
            <a:off x="9832740" y="5725874"/>
            <a:ext cx="951309" cy="341297"/>
            <a:chOff x="9832740" y="6371773"/>
            <a:chExt cx="951309" cy="341297"/>
          </a:xfrm>
        </p:grpSpPr>
        <p:sp>
          <p:nvSpPr>
            <p:cNvPr id="54" name="Shape 2452">
              <a:extLst>
                <a:ext uri="{FF2B5EF4-FFF2-40B4-BE49-F238E27FC236}">
                  <a16:creationId xmlns:a16="http://schemas.microsoft.com/office/drawing/2014/main" id="{EB45FF2F-D800-0371-9D79-42CF70843CD7}"/>
                </a:ext>
              </a:extLst>
            </p:cNvPr>
            <p:cNvSpPr>
              <a:spLocks noChangeAspect="1"/>
            </p:cNvSpPr>
            <p:nvPr userDrawn="1"/>
          </p:nvSpPr>
          <p:spPr>
            <a:xfrm>
              <a:off x="10262224"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56" name="TextBox 55">
              <a:extLst>
                <a:ext uri="{FF2B5EF4-FFF2-40B4-BE49-F238E27FC236}">
                  <a16:creationId xmlns:a16="http://schemas.microsoft.com/office/drawing/2014/main" id="{27C7C02A-57B5-2FD9-16FA-1866A17FAE9C}"/>
                </a:ext>
              </a:extLst>
            </p:cNvPr>
            <p:cNvSpPr txBox="1"/>
            <p:nvPr userDrawn="1"/>
          </p:nvSpPr>
          <p:spPr>
            <a:xfrm>
              <a:off x="9832740"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BANGALORE</a:t>
              </a:r>
            </a:p>
          </p:txBody>
        </p:sp>
      </p:grpSp>
      <p:grpSp>
        <p:nvGrpSpPr>
          <p:cNvPr id="57" name="Group 56">
            <a:extLst>
              <a:ext uri="{FF2B5EF4-FFF2-40B4-BE49-F238E27FC236}">
                <a16:creationId xmlns:a16="http://schemas.microsoft.com/office/drawing/2014/main" id="{26767756-A20B-A02E-FD5B-72FDC0BB91E3}"/>
              </a:ext>
            </a:extLst>
          </p:cNvPr>
          <p:cNvGrpSpPr/>
          <p:nvPr userDrawn="1"/>
        </p:nvGrpSpPr>
        <p:grpSpPr>
          <a:xfrm>
            <a:off x="7729324" y="5725874"/>
            <a:ext cx="951309" cy="341297"/>
            <a:chOff x="7729324" y="5725874"/>
            <a:chExt cx="951309" cy="341297"/>
          </a:xfrm>
        </p:grpSpPr>
        <p:sp>
          <p:nvSpPr>
            <p:cNvPr id="58" name="TextBox 57">
              <a:extLst>
                <a:ext uri="{FF2B5EF4-FFF2-40B4-BE49-F238E27FC236}">
                  <a16:creationId xmlns:a16="http://schemas.microsoft.com/office/drawing/2014/main" id="{72F9C6CE-F70E-833E-1BB7-1C8F1DCA37E7}"/>
                </a:ext>
              </a:extLst>
            </p:cNvPr>
            <p:cNvSpPr txBox="1"/>
            <p:nvPr userDrawn="1"/>
          </p:nvSpPr>
          <p:spPr>
            <a:xfrm>
              <a:off x="7729324" y="5928672"/>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LONDON</a:t>
              </a:r>
            </a:p>
          </p:txBody>
        </p:sp>
        <p:sp>
          <p:nvSpPr>
            <p:cNvPr id="59" name="Shape 2452">
              <a:extLst>
                <a:ext uri="{FF2B5EF4-FFF2-40B4-BE49-F238E27FC236}">
                  <a16:creationId xmlns:a16="http://schemas.microsoft.com/office/drawing/2014/main" id="{48E720C1-09C7-D199-59F5-47D28055041C}"/>
                </a:ext>
              </a:extLst>
            </p:cNvPr>
            <p:cNvSpPr>
              <a:spLocks noChangeAspect="1"/>
            </p:cNvSpPr>
            <p:nvPr userDrawn="1"/>
          </p:nvSpPr>
          <p:spPr>
            <a:xfrm>
              <a:off x="8158808" y="5725874"/>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grpSp>
      <p:grpSp>
        <p:nvGrpSpPr>
          <p:cNvPr id="60" name="Group 59">
            <a:extLst>
              <a:ext uri="{FF2B5EF4-FFF2-40B4-BE49-F238E27FC236}">
                <a16:creationId xmlns:a16="http://schemas.microsoft.com/office/drawing/2014/main" id="{18B1E878-87CB-AEF4-C457-DBEE9AF1D1FE}"/>
              </a:ext>
            </a:extLst>
          </p:cNvPr>
          <p:cNvGrpSpPr/>
          <p:nvPr userDrawn="1"/>
        </p:nvGrpSpPr>
        <p:grpSpPr>
          <a:xfrm>
            <a:off x="6677616" y="5725874"/>
            <a:ext cx="951309" cy="341297"/>
            <a:chOff x="6677616" y="5725874"/>
            <a:chExt cx="951309" cy="341297"/>
          </a:xfrm>
        </p:grpSpPr>
        <p:sp>
          <p:nvSpPr>
            <p:cNvPr id="61" name="Shape 2452">
              <a:extLst>
                <a:ext uri="{FF2B5EF4-FFF2-40B4-BE49-F238E27FC236}">
                  <a16:creationId xmlns:a16="http://schemas.microsoft.com/office/drawing/2014/main" id="{1E2971BA-A131-BDFE-BE81-A6CD1AB1B9B0}"/>
                </a:ext>
              </a:extLst>
            </p:cNvPr>
            <p:cNvSpPr>
              <a:spLocks noChangeAspect="1"/>
            </p:cNvSpPr>
            <p:nvPr userDrawn="1"/>
          </p:nvSpPr>
          <p:spPr>
            <a:xfrm>
              <a:off x="7107100" y="5725874"/>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62" name="TextBox 61">
              <a:extLst>
                <a:ext uri="{FF2B5EF4-FFF2-40B4-BE49-F238E27FC236}">
                  <a16:creationId xmlns:a16="http://schemas.microsoft.com/office/drawing/2014/main" id="{CB4A05A2-09C0-FAF2-861A-20D9048A37C2}"/>
                </a:ext>
              </a:extLst>
            </p:cNvPr>
            <p:cNvSpPr txBox="1"/>
            <p:nvPr userDrawn="1"/>
          </p:nvSpPr>
          <p:spPr>
            <a:xfrm>
              <a:off x="6677616" y="5928672"/>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MUNICH</a:t>
              </a:r>
            </a:p>
          </p:txBody>
        </p:sp>
      </p:grpSp>
      <p:grpSp>
        <p:nvGrpSpPr>
          <p:cNvPr id="63" name="Group 62">
            <a:extLst>
              <a:ext uri="{FF2B5EF4-FFF2-40B4-BE49-F238E27FC236}">
                <a16:creationId xmlns:a16="http://schemas.microsoft.com/office/drawing/2014/main" id="{CD5339AF-4A3A-171E-55C8-CAF44EB8C981}"/>
              </a:ext>
            </a:extLst>
          </p:cNvPr>
          <p:cNvGrpSpPr/>
          <p:nvPr userDrawn="1"/>
        </p:nvGrpSpPr>
        <p:grpSpPr>
          <a:xfrm>
            <a:off x="8781032" y="5725874"/>
            <a:ext cx="951309" cy="341297"/>
            <a:chOff x="8781032" y="6371773"/>
            <a:chExt cx="951309" cy="341297"/>
          </a:xfrm>
        </p:grpSpPr>
        <p:sp>
          <p:nvSpPr>
            <p:cNvPr id="65" name="Shape 2452">
              <a:extLst>
                <a:ext uri="{FF2B5EF4-FFF2-40B4-BE49-F238E27FC236}">
                  <a16:creationId xmlns:a16="http://schemas.microsoft.com/office/drawing/2014/main" id="{DB060A30-71EE-AAA9-CECC-CE31F66A7C7E}"/>
                </a:ext>
              </a:extLst>
            </p:cNvPr>
            <p:cNvSpPr>
              <a:spLocks noChangeAspect="1"/>
            </p:cNvSpPr>
            <p:nvPr userDrawn="1"/>
          </p:nvSpPr>
          <p:spPr>
            <a:xfrm>
              <a:off x="9210516"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67" name="TextBox 66">
              <a:extLst>
                <a:ext uri="{FF2B5EF4-FFF2-40B4-BE49-F238E27FC236}">
                  <a16:creationId xmlns:a16="http://schemas.microsoft.com/office/drawing/2014/main" id="{2BD68742-E44C-4D53-4FCE-6CC36B61013C}"/>
                </a:ext>
              </a:extLst>
            </p:cNvPr>
            <p:cNvSpPr txBox="1"/>
            <p:nvPr userDrawn="1"/>
          </p:nvSpPr>
          <p:spPr>
            <a:xfrm>
              <a:off x="8781032"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GURGAON</a:t>
              </a:r>
            </a:p>
          </p:txBody>
        </p:sp>
      </p:grpSp>
      <p:grpSp>
        <p:nvGrpSpPr>
          <p:cNvPr id="68" name="Group 67">
            <a:extLst>
              <a:ext uri="{FF2B5EF4-FFF2-40B4-BE49-F238E27FC236}">
                <a16:creationId xmlns:a16="http://schemas.microsoft.com/office/drawing/2014/main" id="{9B7B5779-AE47-57F2-B872-D35098B4C0A9}"/>
              </a:ext>
            </a:extLst>
          </p:cNvPr>
          <p:cNvGrpSpPr/>
          <p:nvPr userDrawn="1"/>
        </p:nvGrpSpPr>
        <p:grpSpPr>
          <a:xfrm>
            <a:off x="3522492" y="5725874"/>
            <a:ext cx="951309" cy="341297"/>
            <a:chOff x="3522492" y="6371773"/>
            <a:chExt cx="951309" cy="341297"/>
          </a:xfrm>
        </p:grpSpPr>
        <p:sp>
          <p:nvSpPr>
            <p:cNvPr id="69" name="TextBox 68">
              <a:extLst>
                <a:ext uri="{FF2B5EF4-FFF2-40B4-BE49-F238E27FC236}">
                  <a16:creationId xmlns:a16="http://schemas.microsoft.com/office/drawing/2014/main" id="{ECA45C61-9282-422B-BECB-C7E2EC28EE8C}"/>
                </a:ext>
              </a:extLst>
            </p:cNvPr>
            <p:cNvSpPr txBox="1"/>
            <p:nvPr userDrawn="1"/>
          </p:nvSpPr>
          <p:spPr>
            <a:xfrm>
              <a:off x="3522492"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PRINCETON</a:t>
              </a:r>
            </a:p>
          </p:txBody>
        </p:sp>
        <p:sp>
          <p:nvSpPr>
            <p:cNvPr id="70" name="Shape 2452">
              <a:extLst>
                <a:ext uri="{FF2B5EF4-FFF2-40B4-BE49-F238E27FC236}">
                  <a16:creationId xmlns:a16="http://schemas.microsoft.com/office/drawing/2014/main" id="{B693884A-B083-8581-D747-028FDFF22DB0}"/>
                </a:ext>
              </a:extLst>
            </p:cNvPr>
            <p:cNvSpPr>
              <a:spLocks noChangeAspect="1"/>
            </p:cNvSpPr>
            <p:nvPr userDrawn="1"/>
          </p:nvSpPr>
          <p:spPr>
            <a:xfrm>
              <a:off x="3951976"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grpSp>
      <p:grpSp>
        <p:nvGrpSpPr>
          <p:cNvPr id="71" name="Group 70">
            <a:extLst>
              <a:ext uri="{FF2B5EF4-FFF2-40B4-BE49-F238E27FC236}">
                <a16:creationId xmlns:a16="http://schemas.microsoft.com/office/drawing/2014/main" id="{EA616A0A-90B7-2E87-3CFD-340C49FC782C}"/>
              </a:ext>
            </a:extLst>
          </p:cNvPr>
          <p:cNvGrpSpPr/>
          <p:nvPr userDrawn="1"/>
        </p:nvGrpSpPr>
        <p:grpSpPr>
          <a:xfrm>
            <a:off x="4574200" y="5725874"/>
            <a:ext cx="951309" cy="341297"/>
            <a:chOff x="4574200" y="6371773"/>
            <a:chExt cx="951309" cy="341297"/>
          </a:xfrm>
        </p:grpSpPr>
        <p:sp>
          <p:nvSpPr>
            <p:cNvPr id="72" name="Shape 2452">
              <a:extLst>
                <a:ext uri="{FF2B5EF4-FFF2-40B4-BE49-F238E27FC236}">
                  <a16:creationId xmlns:a16="http://schemas.microsoft.com/office/drawing/2014/main" id="{A86B73BD-7A41-724C-DBB4-ADD739B2A3BD}"/>
                </a:ext>
              </a:extLst>
            </p:cNvPr>
            <p:cNvSpPr>
              <a:spLocks noChangeAspect="1"/>
            </p:cNvSpPr>
            <p:nvPr userDrawn="1"/>
          </p:nvSpPr>
          <p:spPr>
            <a:xfrm>
              <a:off x="5003684"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sp>
          <p:nvSpPr>
            <p:cNvPr id="73" name="TextBox 72">
              <a:extLst>
                <a:ext uri="{FF2B5EF4-FFF2-40B4-BE49-F238E27FC236}">
                  <a16:creationId xmlns:a16="http://schemas.microsoft.com/office/drawing/2014/main" id="{3D741C62-88EF-CA5A-EE8A-1577FEE61D9C}"/>
                </a:ext>
              </a:extLst>
            </p:cNvPr>
            <p:cNvSpPr txBox="1"/>
            <p:nvPr userDrawn="1"/>
          </p:nvSpPr>
          <p:spPr>
            <a:xfrm>
              <a:off x="4574200"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PHILADELPHIA</a:t>
              </a:r>
            </a:p>
          </p:txBody>
        </p:sp>
      </p:grpSp>
      <p:grpSp>
        <p:nvGrpSpPr>
          <p:cNvPr id="75" name="Group 74">
            <a:extLst>
              <a:ext uri="{FF2B5EF4-FFF2-40B4-BE49-F238E27FC236}">
                <a16:creationId xmlns:a16="http://schemas.microsoft.com/office/drawing/2014/main" id="{F2DB4799-6867-3FB9-47CA-484D46A1CE0C}"/>
              </a:ext>
            </a:extLst>
          </p:cNvPr>
          <p:cNvGrpSpPr/>
          <p:nvPr userDrawn="1"/>
        </p:nvGrpSpPr>
        <p:grpSpPr>
          <a:xfrm>
            <a:off x="10884444" y="5725874"/>
            <a:ext cx="951309" cy="341297"/>
            <a:chOff x="10884444" y="6371773"/>
            <a:chExt cx="951309" cy="341297"/>
          </a:xfrm>
        </p:grpSpPr>
        <p:sp>
          <p:nvSpPr>
            <p:cNvPr id="85" name="TextBox 84">
              <a:extLst>
                <a:ext uri="{FF2B5EF4-FFF2-40B4-BE49-F238E27FC236}">
                  <a16:creationId xmlns:a16="http://schemas.microsoft.com/office/drawing/2014/main" id="{3CE03958-D72C-4FD5-5323-79A5DE9C88BE}"/>
                </a:ext>
              </a:extLst>
            </p:cNvPr>
            <p:cNvSpPr txBox="1"/>
            <p:nvPr userDrawn="1"/>
          </p:nvSpPr>
          <p:spPr>
            <a:xfrm>
              <a:off x="10884444" y="6574571"/>
              <a:ext cx="951309" cy="138499"/>
            </a:xfrm>
            <a:prstGeom prst="rect">
              <a:avLst/>
            </a:prstGeom>
            <a:noFill/>
          </p:spPr>
          <p:txBody>
            <a:bodyPr vert="horz" wrap="square" lIns="0" tIns="0" rIns="0" bIns="0" rtlCol="0" anchor="t">
              <a:spAutoFit/>
            </a:bodyPr>
            <a:lstStyle/>
            <a:p>
              <a:pPr marL="0" algn="ctr" defTabSz="914400" rtl="0" eaLnBrk="1" latinLnBrk="0" hangingPunct="1"/>
              <a:r>
                <a:rPr lang="en-US" sz="900" b="0" u="none" kern="1200" spc="100" baseline="0">
                  <a:solidFill>
                    <a:schemeClr val="tx1"/>
                  </a:solidFill>
                  <a:latin typeface="+mj-lt"/>
                  <a:ea typeface="+mn-ea"/>
                  <a:cs typeface="Tahoma" pitchFamily="34" charset="0"/>
                </a:rPr>
                <a:t>CHENNAI</a:t>
              </a:r>
            </a:p>
          </p:txBody>
        </p:sp>
        <p:sp>
          <p:nvSpPr>
            <p:cNvPr id="86" name="Shape 2452">
              <a:extLst>
                <a:ext uri="{FF2B5EF4-FFF2-40B4-BE49-F238E27FC236}">
                  <a16:creationId xmlns:a16="http://schemas.microsoft.com/office/drawing/2014/main" id="{2C68EC04-1FA6-29D6-3AC6-97E221C51C69}"/>
                </a:ext>
              </a:extLst>
            </p:cNvPr>
            <p:cNvSpPr>
              <a:spLocks noChangeAspect="1"/>
            </p:cNvSpPr>
            <p:nvPr userDrawn="1"/>
          </p:nvSpPr>
          <p:spPr>
            <a:xfrm>
              <a:off x="11313928" y="6371773"/>
              <a:ext cx="92341" cy="125987"/>
            </a:xfrm>
            <a:custGeom>
              <a:avLst/>
              <a:gdLst/>
              <a:ahLst/>
              <a:cxnLst>
                <a:cxn ang="0">
                  <a:pos x="wd2" y="hd2"/>
                </a:cxn>
                <a:cxn ang="5400000">
                  <a:pos x="wd2" y="hd2"/>
                </a:cxn>
                <a:cxn ang="10800000">
                  <a:pos x="wd2" y="hd2"/>
                </a:cxn>
                <a:cxn ang="16200000">
                  <a:pos x="wd2" y="hd2"/>
                </a:cxn>
              </a:cxnLst>
              <a:rect l="0" t="0" r="r" b="b"/>
              <a:pathLst>
                <a:path w="21600" h="21600" extrusionOk="0">
                  <a:moveTo>
                    <a:pt x="10789" y="0"/>
                  </a:moveTo>
                  <a:cubicBezTo>
                    <a:pt x="4857" y="0"/>
                    <a:pt x="0" y="3511"/>
                    <a:pt x="0" y="7919"/>
                  </a:cubicBezTo>
                  <a:cubicBezTo>
                    <a:pt x="0" y="12264"/>
                    <a:pt x="10789" y="21600"/>
                    <a:pt x="10789" y="21600"/>
                  </a:cubicBezTo>
                  <a:cubicBezTo>
                    <a:pt x="10789" y="21600"/>
                    <a:pt x="21600" y="12280"/>
                    <a:pt x="21600" y="7919"/>
                  </a:cubicBezTo>
                  <a:cubicBezTo>
                    <a:pt x="21600" y="3574"/>
                    <a:pt x="16743" y="0"/>
                    <a:pt x="10789" y="0"/>
                  </a:cubicBezTo>
                </a:path>
              </a:pathLst>
            </a:custGeom>
            <a:solidFill>
              <a:schemeClr val="accent1"/>
            </a:solidFill>
            <a:ln w="3175">
              <a:miter lim="400000"/>
            </a:ln>
          </p:spPr>
          <p:txBody>
            <a:bodyPr lIns="59013" tIns="59013" rIns="59013" bIns="59013" anchor="ctr"/>
            <a:lstStyle/>
            <a:p>
              <a:pPr algn="l" defTabSz="590133">
                <a:lnSpc>
                  <a:spcPct val="93000"/>
                </a:lnSpc>
                <a:defRPr sz="2200">
                  <a:latin typeface="Arial"/>
                  <a:ea typeface="Arial"/>
                  <a:cs typeface="Arial"/>
                  <a:sym typeface="Arial"/>
                </a:defRPr>
              </a:pPr>
              <a:endParaRPr sz="2400" spc="100" baseline="0">
                <a:solidFill>
                  <a:schemeClr val="accent1"/>
                </a:solidFill>
              </a:endParaRPr>
            </a:p>
          </p:txBody>
        </p:sp>
      </p:grpSp>
    </p:spTree>
    <p:extLst>
      <p:ext uri="{BB962C8B-B14F-4D97-AF65-F5344CB8AC3E}">
        <p14:creationId xmlns:p14="http://schemas.microsoft.com/office/powerpoint/2010/main" val="24428587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ags" Target="../tags/tag13.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ags" Target="../tags/tag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heme" Target="../theme/theme2.xml"/><Relationship Id="rId5" Type="http://schemas.openxmlformats.org/officeDocument/2006/relationships/slideLayout" Target="../slideLayouts/slideLayout14.xml"/><Relationship Id="rId15" Type="http://schemas.openxmlformats.org/officeDocument/2006/relationships/image" Target="../media/image1.emf"/><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1"/>
            </p:custDataLst>
            <p:extLst>
              <p:ext uri="{D42A27DB-BD31-4B8C-83A1-F6EECF244321}">
                <p14:modId xmlns:p14="http://schemas.microsoft.com/office/powerpoint/2010/main" val="2808260910"/>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13" imgW="383" imgH="384" progId="TCLayout.ActiveDocument.1">
                  <p:embed/>
                </p:oleObj>
              </mc:Choice>
              <mc:Fallback>
                <p:oleObj name="think-cell Slide" r:id="rId13" imgW="383" imgH="384" progId="TCLayout.ActiveDocument.1">
                  <p:embed/>
                  <p:pic>
                    <p:nvPicPr>
                      <p:cNvPr id="6" name="Object 5" hidden="1"/>
                      <p:cNvPicPr/>
                      <p:nvPr/>
                    </p:nvPicPr>
                    <p:blipFill>
                      <a:blip r:embed="rId14"/>
                      <a:stretch>
                        <a:fillRect/>
                      </a:stretch>
                    </p:blipFill>
                    <p:spPr>
                      <a:xfrm>
                        <a:off x="2119" y="1593"/>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210957E-023C-46D1-8B55-419F12CDC4E9}"/>
              </a:ext>
            </a:extLst>
          </p:cNvPr>
          <p:cNvSpPr/>
          <p:nvPr userDrawn="1">
            <p:custDataLst>
              <p:tags r:id="rId12"/>
            </p:custDataLst>
          </p:nvPr>
        </p:nvSpPr>
        <p:spPr>
          <a:xfrm>
            <a:off x="0" y="0"/>
            <a:ext cx="158750" cy="15875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none" lIns="0" tIns="0" rIns="0" bIns="0" numCol="1" spcCol="0" rtlCol="0" anchor="ctr" anchorCtr="0">
            <a:noAutofit/>
          </a:bodyPr>
          <a:lstStyle/>
          <a:p>
            <a:pPr marL="0" lvl="0" indent="0" algn="ctr"/>
            <a:endParaRPr lang="en-US" sz="2600" b="0" i="0" baseline="0">
              <a:latin typeface="Calibri" panose="020F0502020204030204" pitchFamily="34" charset="0"/>
              <a:ea typeface="+mj-ea"/>
              <a:cs typeface="Tahoma" panose="020B0604030504040204" pitchFamily="34" charset="0"/>
              <a:sym typeface="Calibri" panose="020F0502020204030204" pitchFamily="34" charset="0"/>
            </a:endParaRPr>
          </a:p>
        </p:txBody>
      </p:sp>
      <p:sp>
        <p:nvSpPr>
          <p:cNvPr id="2" name="Title Placeholder 1"/>
          <p:cNvSpPr>
            <a:spLocks noGrp="1"/>
          </p:cNvSpPr>
          <p:nvPr>
            <p:ph type="title"/>
          </p:nvPr>
        </p:nvSpPr>
        <p:spPr>
          <a:xfrm>
            <a:off x="609600" y="104415"/>
            <a:ext cx="10972800" cy="906738"/>
          </a:xfrm>
          <a:prstGeom prst="rect">
            <a:avLst/>
          </a:prstGeom>
          <a:noFill/>
        </p:spPr>
        <p:txBody>
          <a:bodyPr vert="horz" lIns="91440" tIns="45720" rIns="91440" bIns="45720" rtlCol="0" anchor="ctr">
            <a:noAutofit/>
          </a:bodyPr>
          <a:lstStyle/>
          <a:p>
            <a:r>
              <a:rPr lang="en-US"/>
              <a:t>Title Line 1</a:t>
            </a:r>
            <a:br>
              <a:rPr lang="en-US"/>
            </a:br>
            <a:r>
              <a:rPr lang="en-US"/>
              <a:t>Title Line Continued</a:t>
            </a:r>
          </a:p>
        </p:txBody>
      </p:sp>
      <p:sp>
        <p:nvSpPr>
          <p:cNvPr id="3" name="Text Placeholder 2"/>
          <p:cNvSpPr>
            <a:spLocks noGrp="1"/>
          </p:cNvSpPr>
          <p:nvPr>
            <p:ph type="body" idx="1"/>
          </p:nvPr>
        </p:nvSpPr>
        <p:spPr>
          <a:xfrm>
            <a:off x="609600" y="1285336"/>
            <a:ext cx="10972800" cy="5063706"/>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EA142BD3-1B1A-09BA-F50E-2F5D9AD70F0F}"/>
              </a:ext>
            </a:extLst>
          </p:cNvPr>
          <p:cNvSpPr txBox="1"/>
          <p:nvPr userDrawn="1">
            <p:extLst>
              <p:ext uri="{1162E1C5-73C7-4A58-AE30-91384D911F3F}">
                <p184:classification xmlns:p184="http://schemas.microsoft.com/office/powerpoint/2018/4/main" val="ftr"/>
              </p:ext>
            </p:extLst>
          </p:nvPr>
        </p:nvSpPr>
        <p:spPr>
          <a:xfrm>
            <a:off x="5941187" y="6642100"/>
            <a:ext cx="33813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127416966"/>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Lst>
  <p:hf hdr="0" ftr="0" dt="0"/>
  <p:txStyles>
    <p:titleStyle>
      <a:lvl1pPr algn="l" defTabSz="914400" rtl="0" eaLnBrk="1" latinLnBrk="0" hangingPunct="1">
        <a:spcBef>
          <a:spcPct val="0"/>
        </a:spcBef>
        <a:buNone/>
        <a:defRPr sz="2600" b="0" kern="1200" spc="120" baseline="0">
          <a:solidFill>
            <a:schemeClr val="tx1"/>
          </a:solidFill>
          <a:latin typeface="+mn-lt"/>
          <a:ea typeface="+mj-ea"/>
          <a:cs typeface="Tahoma" pitchFamily="34" charset="0"/>
        </a:defRPr>
      </a:lvl1pPr>
    </p:titleStyle>
    <p:bodyStyle>
      <a:lvl1pPr marL="190500" indent="-187325" algn="l" defTabSz="914400" rtl="0" eaLnBrk="1" latinLnBrk="0" hangingPunct="1">
        <a:spcBef>
          <a:spcPts val="600"/>
        </a:spcBef>
        <a:buClr>
          <a:schemeClr val="bg2">
            <a:lumMod val="50000"/>
          </a:schemeClr>
        </a:buClr>
        <a:buFont typeface="Arial" panose="020B0604020202020204" pitchFamily="34" charset="0"/>
        <a:buChar char="•"/>
        <a:defRPr sz="1800" kern="1200">
          <a:solidFill>
            <a:schemeClr val="tx1"/>
          </a:solidFill>
          <a:latin typeface="+mn-lt"/>
          <a:ea typeface="+mn-ea"/>
          <a:cs typeface="Tahoma" pitchFamily="34" charset="0"/>
        </a:defRPr>
      </a:lvl1pPr>
      <a:lvl2pPr marL="439738" indent="-250825" algn="l" defTabSz="914400" rtl="0" eaLnBrk="1" latinLnBrk="0" hangingPunct="1">
        <a:spcBef>
          <a:spcPts val="600"/>
        </a:spcBef>
        <a:buClr>
          <a:schemeClr val="bg2">
            <a:lumMod val="50000"/>
          </a:schemeClr>
        </a:buClr>
        <a:buFont typeface="Courier New" pitchFamily="49" charset="0"/>
        <a:buChar char="­"/>
        <a:defRPr sz="1600" kern="1200">
          <a:solidFill>
            <a:schemeClr val="accent1"/>
          </a:solidFill>
          <a:latin typeface="+mn-lt"/>
          <a:ea typeface="+mn-ea"/>
          <a:cs typeface="Tahoma" pitchFamily="34" charset="0"/>
        </a:defRPr>
      </a:lvl2pPr>
      <a:lvl3pPr marL="652463" indent="-217488" algn="l" defTabSz="914400" rtl="0" eaLnBrk="1" latinLnBrk="0" hangingPunct="1">
        <a:spcBef>
          <a:spcPts val="600"/>
        </a:spcBef>
        <a:buClr>
          <a:schemeClr val="bg2">
            <a:lumMod val="50000"/>
          </a:schemeClr>
        </a:buClr>
        <a:buFont typeface="Arial" panose="020B0604020202020204" pitchFamily="34" charset="0"/>
        <a:buChar char="•"/>
        <a:defRPr sz="1400" kern="1200">
          <a:solidFill>
            <a:schemeClr val="bg2">
              <a:lumMod val="50000"/>
            </a:schemeClr>
          </a:solidFill>
          <a:latin typeface="+mn-lt"/>
          <a:ea typeface="+mn-ea"/>
          <a:cs typeface="Tahoma" pitchFamily="34" charset="0"/>
        </a:defRPr>
      </a:lvl3pPr>
      <a:lvl4pPr marL="833438" indent="-173038" algn="l" defTabSz="914400" rtl="0" eaLnBrk="1" latinLnBrk="0" hangingPunct="1">
        <a:spcBef>
          <a:spcPts val="600"/>
        </a:spcBef>
        <a:buClr>
          <a:schemeClr val="bg2">
            <a:lumMod val="50000"/>
          </a:schemeClr>
        </a:buClr>
        <a:buFont typeface="Arial" pitchFamily="34" charset="0"/>
        <a:buChar char="–"/>
        <a:defRPr sz="1200" kern="1200">
          <a:solidFill>
            <a:schemeClr val="bg2">
              <a:lumMod val="50000"/>
            </a:schemeClr>
          </a:solidFill>
          <a:latin typeface="+mn-lt"/>
          <a:ea typeface="+mn-ea"/>
          <a:cs typeface="Tahoma" pitchFamily="34" charset="0"/>
        </a:defRPr>
      </a:lvl4pPr>
      <a:lvl5pPr marL="1004888" indent="-169863" algn="l" defTabSz="914400" rtl="0" eaLnBrk="1" latinLnBrk="0" hangingPunct="1">
        <a:spcBef>
          <a:spcPts val="600"/>
        </a:spcBef>
        <a:buClr>
          <a:schemeClr val="bg2">
            <a:lumMod val="50000"/>
          </a:schemeClr>
        </a:buClr>
        <a:buFont typeface="Arial" panose="020B0604020202020204" pitchFamily="34" charset="0"/>
        <a:buChar char="•"/>
        <a:defRPr sz="1000" kern="1200">
          <a:solidFill>
            <a:schemeClr val="bg2">
              <a:lumMod val="50000"/>
            </a:schemeClr>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2"/>
            </p:custDataLst>
            <p:extLst>
              <p:ext uri="{D42A27DB-BD31-4B8C-83A1-F6EECF244321}">
                <p14:modId xmlns:p14="http://schemas.microsoft.com/office/powerpoint/2010/main" val="2808260910"/>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14" imgW="383" imgH="384" progId="TCLayout.ActiveDocument.1">
                  <p:embed/>
                </p:oleObj>
              </mc:Choice>
              <mc:Fallback>
                <p:oleObj name="think-cell Slide" r:id="rId14" imgW="383" imgH="384" progId="TCLayout.ActiveDocument.1">
                  <p:embed/>
                  <p:pic>
                    <p:nvPicPr>
                      <p:cNvPr id="6" name="Object 5" hidden="1"/>
                      <p:cNvPicPr/>
                      <p:nvPr/>
                    </p:nvPicPr>
                    <p:blipFill>
                      <a:blip r:embed="rId15"/>
                      <a:stretch>
                        <a:fillRect/>
                      </a:stretch>
                    </p:blipFill>
                    <p:spPr>
                      <a:xfrm>
                        <a:off x="2119" y="1593"/>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210957E-023C-46D1-8B55-419F12CDC4E9}"/>
              </a:ext>
            </a:extLst>
          </p:cNvPr>
          <p:cNvSpPr/>
          <p:nvPr userDrawn="1">
            <p:custDataLst>
              <p:tags r:id="rId13"/>
            </p:custDataLst>
          </p:nvPr>
        </p:nvSpPr>
        <p:spPr>
          <a:xfrm>
            <a:off x="0" y="0"/>
            <a:ext cx="158750" cy="15875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none" lIns="0" tIns="0" rIns="0" bIns="0" numCol="1" spcCol="0" rtlCol="0" anchor="ctr" anchorCtr="0">
            <a:noAutofit/>
          </a:bodyPr>
          <a:lstStyle/>
          <a:p>
            <a:pPr marL="0" lvl="0" indent="0" algn="ctr"/>
            <a:endParaRPr lang="en-US" sz="2600" b="0" i="0" baseline="0">
              <a:latin typeface="Calibri" panose="020F0502020204030204" pitchFamily="34" charset="0"/>
              <a:ea typeface="+mj-ea"/>
              <a:cs typeface="Tahoma" panose="020B0604030504040204" pitchFamily="34" charset="0"/>
              <a:sym typeface="Calibri" panose="020F0502020204030204" pitchFamily="34" charset="0"/>
            </a:endParaRPr>
          </a:p>
        </p:txBody>
      </p:sp>
      <p:sp>
        <p:nvSpPr>
          <p:cNvPr id="2" name="Title Placeholder 1"/>
          <p:cNvSpPr>
            <a:spLocks noGrp="1"/>
          </p:cNvSpPr>
          <p:nvPr>
            <p:ph type="title"/>
          </p:nvPr>
        </p:nvSpPr>
        <p:spPr>
          <a:xfrm>
            <a:off x="609600" y="104415"/>
            <a:ext cx="10972800" cy="906738"/>
          </a:xfrm>
          <a:prstGeom prst="rect">
            <a:avLst/>
          </a:prstGeom>
          <a:noFill/>
        </p:spPr>
        <p:txBody>
          <a:bodyPr vert="horz" lIns="91440" tIns="45720" rIns="91440" bIns="45720" rtlCol="0" anchor="ctr">
            <a:noAutofit/>
          </a:bodyPr>
          <a:lstStyle/>
          <a:p>
            <a:r>
              <a:rPr lang="en-US"/>
              <a:t>Title Line 1</a:t>
            </a:r>
            <a:br>
              <a:rPr lang="en-US"/>
            </a:br>
            <a:r>
              <a:rPr lang="en-US"/>
              <a:t>Title Line Continued</a:t>
            </a:r>
          </a:p>
        </p:txBody>
      </p:sp>
      <p:sp>
        <p:nvSpPr>
          <p:cNvPr id="3" name="Text Placeholder 2"/>
          <p:cNvSpPr>
            <a:spLocks noGrp="1"/>
          </p:cNvSpPr>
          <p:nvPr>
            <p:ph type="body" idx="1"/>
          </p:nvPr>
        </p:nvSpPr>
        <p:spPr>
          <a:xfrm>
            <a:off x="609600" y="1285336"/>
            <a:ext cx="10972800" cy="5063706"/>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680945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Lst>
  <p:hf hdr="0" ftr="0" dt="0"/>
  <p:txStyles>
    <p:titleStyle>
      <a:lvl1pPr algn="l" defTabSz="914400" rtl="0" eaLnBrk="1" latinLnBrk="0" hangingPunct="1">
        <a:spcBef>
          <a:spcPct val="0"/>
        </a:spcBef>
        <a:buNone/>
        <a:defRPr sz="2600" b="0" kern="1200" spc="120" baseline="0">
          <a:solidFill>
            <a:schemeClr val="tx1"/>
          </a:solidFill>
          <a:latin typeface="+mn-lt"/>
          <a:ea typeface="+mj-ea"/>
          <a:cs typeface="Tahoma" pitchFamily="34" charset="0"/>
        </a:defRPr>
      </a:lvl1pPr>
    </p:titleStyle>
    <p:bodyStyle>
      <a:lvl1pPr marL="190500" indent="-187325" algn="l" defTabSz="914400" rtl="0" eaLnBrk="1" latinLnBrk="0" hangingPunct="1">
        <a:spcBef>
          <a:spcPts val="600"/>
        </a:spcBef>
        <a:buClr>
          <a:schemeClr val="bg2">
            <a:lumMod val="50000"/>
          </a:schemeClr>
        </a:buClr>
        <a:buFont typeface="Arial" panose="020B0604020202020204" pitchFamily="34" charset="0"/>
        <a:buChar char="•"/>
        <a:defRPr sz="1800" kern="1200">
          <a:solidFill>
            <a:schemeClr val="tx1"/>
          </a:solidFill>
          <a:latin typeface="+mn-lt"/>
          <a:ea typeface="+mn-ea"/>
          <a:cs typeface="Tahoma" pitchFamily="34" charset="0"/>
        </a:defRPr>
      </a:lvl1pPr>
      <a:lvl2pPr marL="439738" indent="-250825" algn="l" defTabSz="914400" rtl="0" eaLnBrk="1" latinLnBrk="0" hangingPunct="1">
        <a:spcBef>
          <a:spcPts val="600"/>
        </a:spcBef>
        <a:buClr>
          <a:schemeClr val="bg2">
            <a:lumMod val="50000"/>
          </a:schemeClr>
        </a:buClr>
        <a:buFont typeface="Courier New" pitchFamily="49" charset="0"/>
        <a:buChar char="­"/>
        <a:defRPr sz="1600" kern="1200">
          <a:solidFill>
            <a:schemeClr val="accent1"/>
          </a:solidFill>
          <a:latin typeface="+mn-lt"/>
          <a:ea typeface="+mn-ea"/>
          <a:cs typeface="Tahoma" pitchFamily="34" charset="0"/>
        </a:defRPr>
      </a:lvl2pPr>
      <a:lvl3pPr marL="652463" indent="-217488" algn="l" defTabSz="914400" rtl="0" eaLnBrk="1" latinLnBrk="0" hangingPunct="1">
        <a:spcBef>
          <a:spcPts val="600"/>
        </a:spcBef>
        <a:buClr>
          <a:schemeClr val="bg2">
            <a:lumMod val="50000"/>
          </a:schemeClr>
        </a:buClr>
        <a:buFont typeface="Arial" panose="020B0604020202020204" pitchFamily="34" charset="0"/>
        <a:buChar char="•"/>
        <a:defRPr sz="1400" kern="1200">
          <a:solidFill>
            <a:schemeClr val="bg2">
              <a:lumMod val="50000"/>
            </a:schemeClr>
          </a:solidFill>
          <a:latin typeface="+mn-lt"/>
          <a:ea typeface="+mn-ea"/>
          <a:cs typeface="Tahoma" pitchFamily="34" charset="0"/>
        </a:defRPr>
      </a:lvl3pPr>
      <a:lvl4pPr marL="833438" indent="-173038" algn="l" defTabSz="914400" rtl="0" eaLnBrk="1" latinLnBrk="0" hangingPunct="1">
        <a:spcBef>
          <a:spcPts val="600"/>
        </a:spcBef>
        <a:buClr>
          <a:schemeClr val="bg2">
            <a:lumMod val="50000"/>
          </a:schemeClr>
        </a:buClr>
        <a:buFont typeface="Arial" pitchFamily="34" charset="0"/>
        <a:buChar char="–"/>
        <a:defRPr sz="1200" kern="1200">
          <a:solidFill>
            <a:schemeClr val="bg2">
              <a:lumMod val="50000"/>
            </a:schemeClr>
          </a:solidFill>
          <a:latin typeface="+mn-lt"/>
          <a:ea typeface="+mn-ea"/>
          <a:cs typeface="Tahoma" pitchFamily="34" charset="0"/>
        </a:defRPr>
      </a:lvl4pPr>
      <a:lvl5pPr marL="1004888" indent="-169863" algn="l" defTabSz="914400" rtl="0" eaLnBrk="1" latinLnBrk="0" hangingPunct="1">
        <a:spcBef>
          <a:spcPts val="600"/>
        </a:spcBef>
        <a:buClr>
          <a:schemeClr val="bg2">
            <a:lumMod val="50000"/>
          </a:schemeClr>
        </a:buClr>
        <a:buFont typeface="Arial" panose="020B0604020202020204" pitchFamily="34" charset="0"/>
        <a:buChar char="•"/>
        <a:defRPr sz="1000" kern="1200">
          <a:solidFill>
            <a:schemeClr val="bg2">
              <a:lumMod val="50000"/>
            </a:schemeClr>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18.xml"/><Relationship Id="rId1" Type="http://schemas.openxmlformats.org/officeDocument/2006/relationships/customXml" Target="../../customXml/item9.xml"/><Relationship Id="rId4" Type="http://schemas.openxmlformats.org/officeDocument/2006/relationships/image" Target="../media/image8.sv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customXml" Target="../../customXml/item18.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customXml" Target="../../customXml/item19.xml"/></Relationships>
</file>

<file path=ppt/slides/_rels/slide12.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notesSlide" Target="../notesSlides/notesSlide1.xml"/><Relationship Id="rId7" Type="http://schemas.openxmlformats.org/officeDocument/2006/relationships/image" Target="../media/image32.png"/><Relationship Id="rId2" Type="http://schemas.openxmlformats.org/officeDocument/2006/relationships/slideLayout" Target="../slideLayouts/slideLayout12.xml"/><Relationship Id="rId1" Type="http://schemas.openxmlformats.org/officeDocument/2006/relationships/customXml" Target="../../customXml/item20.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slide" Target="slide4.xml"/><Relationship Id="rId4" Type="http://schemas.openxmlformats.org/officeDocument/2006/relationships/image" Target="../media/image17.png"/><Relationship Id="rId9" Type="http://schemas.openxmlformats.org/officeDocument/2006/relationships/image" Target="../media/image34.png"/></Relationships>
</file>

<file path=ppt/slides/_rels/slide1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2.xml"/><Relationship Id="rId7" Type="http://schemas.openxmlformats.org/officeDocument/2006/relationships/image" Target="../media/image31.svg"/><Relationship Id="rId2" Type="http://schemas.openxmlformats.org/officeDocument/2006/relationships/slideLayout" Target="../slideLayouts/slideLayout12.xml"/><Relationship Id="rId1" Type="http://schemas.openxmlformats.org/officeDocument/2006/relationships/customXml" Target="../../customXml/item21.xml"/><Relationship Id="rId6" Type="http://schemas.openxmlformats.org/officeDocument/2006/relationships/image" Target="../media/image30.png"/><Relationship Id="rId5" Type="http://schemas.openxmlformats.org/officeDocument/2006/relationships/image" Target="../media/image17.png"/><Relationship Id="rId10" Type="http://schemas.openxmlformats.org/officeDocument/2006/relationships/slide" Target="slide4.xml"/><Relationship Id="rId4" Type="http://schemas.openxmlformats.org/officeDocument/2006/relationships/image" Target="../media/image35.png"/><Relationship Id="rId9" Type="http://schemas.openxmlformats.org/officeDocument/2006/relationships/image" Target="../media/image33.svg"/></Relationships>
</file>

<file path=ppt/slides/_rels/slide14.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3.xml"/><Relationship Id="rId7" Type="http://schemas.openxmlformats.org/officeDocument/2006/relationships/image" Target="../media/image31.svg"/><Relationship Id="rId2" Type="http://schemas.openxmlformats.org/officeDocument/2006/relationships/slideLayout" Target="../slideLayouts/slideLayout12.xml"/><Relationship Id="rId1" Type="http://schemas.openxmlformats.org/officeDocument/2006/relationships/customXml" Target="../../customXml/item22.xml"/><Relationship Id="rId6" Type="http://schemas.openxmlformats.org/officeDocument/2006/relationships/image" Target="../media/image30.png"/><Relationship Id="rId5" Type="http://schemas.openxmlformats.org/officeDocument/2006/relationships/image" Target="../media/image17.png"/><Relationship Id="rId10" Type="http://schemas.openxmlformats.org/officeDocument/2006/relationships/slide" Target="slide4.xml"/><Relationship Id="rId4" Type="http://schemas.openxmlformats.org/officeDocument/2006/relationships/image" Target="../media/image36.png"/><Relationship Id="rId9" Type="http://schemas.openxmlformats.org/officeDocument/2006/relationships/image" Target="../media/image33.svg"/></Relationships>
</file>

<file path=ppt/slides/_rels/slide15.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Layout" Target="../slideLayouts/slideLayout12.xml"/><Relationship Id="rId1" Type="http://schemas.openxmlformats.org/officeDocument/2006/relationships/customXml" Target="../../customXml/item23.xml"/><Relationship Id="rId5" Type="http://schemas.openxmlformats.org/officeDocument/2006/relationships/image" Target="../media/image37.png"/><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slideLayout" Target="../slideLayouts/slideLayout12.xml"/><Relationship Id="rId1" Type="http://schemas.openxmlformats.org/officeDocument/2006/relationships/customXml" Target="../../customXml/item24.xml"/><Relationship Id="rId5" Type="http://schemas.openxmlformats.org/officeDocument/2006/relationships/image" Target="../media/image17.png"/><Relationship Id="rId4" Type="http://schemas.openxmlformats.org/officeDocument/2006/relationships/image" Target="../media/image38.pn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customXml" Target="../../customXml/item10.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12.xml"/><Relationship Id="rId1" Type="http://schemas.openxmlformats.org/officeDocument/2006/relationships/customXml" Target="../../customXml/item11.xml"/><Relationship Id="rId4" Type="http://schemas.openxmlformats.org/officeDocument/2006/relationships/image" Target="../media/image13.svg"/></Relationships>
</file>

<file path=ppt/slides/_rels/slide4.xml.rels><?xml version="1.0" encoding="UTF-8" standalone="yes"?>
<Relationships xmlns="http://schemas.openxmlformats.org/package/2006/relationships"><Relationship Id="rId8" Type="http://schemas.openxmlformats.org/officeDocument/2006/relationships/slide" Target="slide12.xml"/><Relationship Id="rId13" Type="http://schemas.openxmlformats.org/officeDocument/2006/relationships/image" Target="../media/image16.png"/><Relationship Id="rId3" Type="http://schemas.microsoft.com/office/2018/10/relationships/comments" Target="../comments/modernComment_7FFFFC56_C480AEE0.xml"/><Relationship Id="rId7" Type="http://schemas.openxmlformats.org/officeDocument/2006/relationships/image" Target="../media/image14.png"/><Relationship Id="rId12" Type="http://schemas.openxmlformats.org/officeDocument/2006/relationships/image" Target="../media/image150.png"/><Relationship Id="rId2" Type="http://schemas.openxmlformats.org/officeDocument/2006/relationships/slideLayout" Target="../slideLayouts/slideLayout12.xml"/><Relationship Id="rId1" Type="http://schemas.openxmlformats.org/officeDocument/2006/relationships/customXml" Target="../../customXml/item12.xml"/><Relationship Id="rId6" Type="http://schemas.openxmlformats.org/officeDocument/2006/relationships/slide" Target="slide14.xml"/><Relationship Id="rId11" Type="http://schemas.openxmlformats.org/officeDocument/2006/relationships/slide" Target="slide13.xml"/><Relationship Id="rId5" Type="http://schemas.openxmlformats.org/officeDocument/2006/relationships/slide" Target="slide13.xml"/><Relationship Id="rId15" Type="http://schemas.openxmlformats.org/officeDocument/2006/relationships/image" Target="../media/image160.png"/><Relationship Id="rId10" Type="http://schemas.openxmlformats.org/officeDocument/2006/relationships/image" Target="../media/image15.png"/><Relationship Id="rId4" Type="http://schemas.openxmlformats.org/officeDocument/2006/relationships/slide" Target="slide12.xml"/><Relationship Id="rId9" Type="http://schemas.openxmlformats.org/officeDocument/2006/relationships/image" Target="../media/image140.png"/><Relationship Id="rId14" Type="http://schemas.openxmlformats.org/officeDocument/2006/relationships/slide" Target="slide14.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customXml" Target="../../customXml/item13.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12.xml"/><Relationship Id="rId1" Type="http://schemas.openxmlformats.org/officeDocument/2006/relationships/customXml" Target="../../customXml/item14.xml"/><Relationship Id="rId5" Type="http://schemas.openxmlformats.org/officeDocument/2006/relationships/slide" Target="slide15.xml"/><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12.xml"/><Relationship Id="rId1" Type="http://schemas.openxmlformats.org/officeDocument/2006/relationships/customXml" Target="../../customXml/item15.xml"/><Relationship Id="rId5" Type="http://schemas.openxmlformats.org/officeDocument/2006/relationships/slide" Target="slide16.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customXml" Target="../../customXml/item16.xml"/></Relationships>
</file>

<file path=ppt/slides/_rels/slide9.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svg"/><Relationship Id="rId2" Type="http://schemas.openxmlformats.org/officeDocument/2006/relationships/slideLayout" Target="../slideLayouts/slideLayout12.xml"/><Relationship Id="rId1" Type="http://schemas.openxmlformats.org/officeDocument/2006/relationships/customXml" Target="../../customXml/item17.xml"/><Relationship Id="rId6" Type="http://schemas.openxmlformats.org/officeDocument/2006/relationships/image" Target="../media/image23.sv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 name="Freeform: Shape 221">
            <a:extLst>
              <a:ext uri="{FF2B5EF4-FFF2-40B4-BE49-F238E27FC236}">
                <a16:creationId xmlns:a16="http://schemas.microsoft.com/office/drawing/2014/main" id="{7351B089-FAC3-21DC-1399-E8AFB82D62D9}"/>
              </a:ext>
            </a:extLst>
          </p:cNvPr>
          <p:cNvSpPr/>
          <p:nvPr/>
        </p:nvSpPr>
        <p:spPr>
          <a:xfrm rot="18900000">
            <a:off x="8338751" y="89868"/>
            <a:ext cx="3814420" cy="3814420"/>
          </a:xfrm>
          <a:custGeom>
            <a:avLst/>
            <a:gdLst>
              <a:gd name="connsiteX0" fmla="*/ 3814421 w 3814420"/>
              <a:gd name="connsiteY0" fmla="*/ 1907211 h 3814420"/>
              <a:gd name="connsiteX1" fmla="*/ 1907211 w 3814420"/>
              <a:gd name="connsiteY1" fmla="*/ 3814421 h 3814420"/>
              <a:gd name="connsiteX2" fmla="*/ 0 w 3814420"/>
              <a:gd name="connsiteY2" fmla="*/ 1907211 h 3814420"/>
              <a:gd name="connsiteX3" fmla="*/ 1907211 w 3814420"/>
              <a:gd name="connsiteY3" fmla="*/ 0 h 3814420"/>
              <a:gd name="connsiteX4" fmla="*/ 3814421 w 3814420"/>
              <a:gd name="connsiteY4" fmla="*/ 1907211 h 3814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4420" h="3814420">
                <a:moveTo>
                  <a:pt x="3814421" y="1907211"/>
                </a:moveTo>
                <a:cubicBezTo>
                  <a:pt x="3814421" y="2960534"/>
                  <a:pt x="2960534" y="3814421"/>
                  <a:pt x="1907211" y="3814421"/>
                </a:cubicBezTo>
                <a:cubicBezTo>
                  <a:pt x="853887" y="3814421"/>
                  <a:pt x="0" y="2960534"/>
                  <a:pt x="0" y="1907211"/>
                </a:cubicBezTo>
                <a:cubicBezTo>
                  <a:pt x="0" y="853887"/>
                  <a:pt x="853887" y="0"/>
                  <a:pt x="1907211" y="0"/>
                </a:cubicBezTo>
                <a:cubicBezTo>
                  <a:pt x="2960534" y="0"/>
                  <a:pt x="3814421" y="853887"/>
                  <a:pt x="3814421" y="1907211"/>
                </a:cubicBezTo>
                <a:close/>
              </a:path>
            </a:pathLst>
          </a:custGeom>
          <a:gradFill>
            <a:gsLst>
              <a:gs pos="0">
                <a:srgbClr val="E8F3FA"/>
              </a:gs>
              <a:gs pos="50000">
                <a:srgbClr val="E9F2EF"/>
              </a:gs>
              <a:gs pos="100000">
                <a:srgbClr val="EAF2E5"/>
              </a:gs>
            </a:gsLst>
            <a:lin ang="2700000" scaled="1"/>
          </a:grad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3" name="Freeform: Shape 12">
            <a:extLst>
              <a:ext uri="{FF2B5EF4-FFF2-40B4-BE49-F238E27FC236}">
                <a16:creationId xmlns:a16="http://schemas.microsoft.com/office/drawing/2014/main" id="{5130E2E8-8A7A-1015-190E-B6AD02D0F41E}"/>
              </a:ext>
            </a:extLst>
          </p:cNvPr>
          <p:cNvSpPr/>
          <p:nvPr/>
        </p:nvSpPr>
        <p:spPr>
          <a:xfrm rot="16200000" flipH="1">
            <a:off x="446064" y="-462251"/>
            <a:ext cx="2452344" cy="3335730"/>
          </a:xfrm>
          <a:custGeom>
            <a:avLst/>
            <a:gdLst>
              <a:gd name="connsiteX0" fmla="*/ 3256178 w 4542182"/>
              <a:gd name="connsiteY0" fmla="*/ 2656515 h 6178372"/>
              <a:gd name="connsiteX1" fmla="*/ 0 w 4542182"/>
              <a:gd name="connsiteY1" fmla="*/ 6178373 h 6178372"/>
              <a:gd name="connsiteX2" fmla="*/ 0 w 4542182"/>
              <a:gd name="connsiteY2" fmla="*/ 0 h 6178372"/>
              <a:gd name="connsiteX3" fmla="*/ 4289130 w 4542182"/>
              <a:gd name="connsiteY3" fmla="*/ 0 h 6178372"/>
              <a:gd name="connsiteX4" fmla="*/ 3256178 w 4542182"/>
              <a:gd name="connsiteY4" fmla="*/ 2656515 h 6178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2182" h="6178372">
                <a:moveTo>
                  <a:pt x="3256178" y="2656515"/>
                </a:moveTo>
                <a:cubicBezTo>
                  <a:pt x="1203991" y="3932240"/>
                  <a:pt x="0" y="4883445"/>
                  <a:pt x="0" y="6178373"/>
                </a:cubicBezTo>
                <a:lnTo>
                  <a:pt x="0" y="0"/>
                </a:lnTo>
                <a:lnTo>
                  <a:pt x="4289130" y="0"/>
                </a:lnTo>
                <a:cubicBezTo>
                  <a:pt x="4289130" y="0"/>
                  <a:pt x="5308230" y="1380790"/>
                  <a:pt x="3256178" y="2656515"/>
                </a:cubicBezTo>
                <a:close/>
              </a:path>
            </a:pathLst>
          </a:custGeom>
          <a:gradFill flip="none" rotWithShape="1">
            <a:gsLst>
              <a:gs pos="0">
                <a:srgbClr val="4BA8E0"/>
              </a:gs>
              <a:gs pos="50000">
                <a:srgbClr val="5A76B6"/>
              </a:gs>
              <a:gs pos="100000">
                <a:srgbClr val="5E5FA9"/>
              </a:gs>
            </a:gsLst>
            <a:lin ang="0" scaled="1"/>
            <a:tileRect/>
          </a:gradFill>
          <a:ln w="19050" cap="flat" cmpd="sng" algn="ctr">
            <a:noFill/>
            <a:prstDash val="solid"/>
            <a:miter lim="800000"/>
          </a:ln>
          <a:effectLst/>
        </p:spPr>
        <p:txBody>
          <a:bodyPr wrap="none" lIns="45720" rIns="45720" rtlCol="0" anchor="b">
            <a:noAutofit/>
          </a:bodyPr>
          <a:lstStyle/>
          <a:p>
            <a:pPr marL="3175"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Freeform: Shape 9">
            <a:extLst>
              <a:ext uri="{FF2B5EF4-FFF2-40B4-BE49-F238E27FC236}">
                <a16:creationId xmlns:a16="http://schemas.microsoft.com/office/drawing/2014/main" id="{42E705A2-4909-1275-BA46-6E8EA16C8D03}"/>
              </a:ext>
            </a:extLst>
          </p:cNvPr>
          <p:cNvSpPr/>
          <p:nvPr/>
        </p:nvSpPr>
        <p:spPr>
          <a:xfrm>
            <a:off x="5765800" y="4094391"/>
            <a:ext cx="6431122" cy="2763607"/>
          </a:xfrm>
          <a:custGeom>
            <a:avLst/>
            <a:gdLst>
              <a:gd name="connsiteX0" fmla="*/ 9452244 w 9452244"/>
              <a:gd name="connsiteY0" fmla="*/ 0 h 4061856"/>
              <a:gd name="connsiteX1" fmla="*/ 9452244 w 9452244"/>
              <a:gd name="connsiteY1" fmla="*/ 4061856 h 4061856"/>
              <a:gd name="connsiteX2" fmla="*/ 0 w 9452244"/>
              <a:gd name="connsiteY2" fmla="*/ 4061856 h 4061856"/>
              <a:gd name="connsiteX3" fmla="*/ 6687648 w 9452244"/>
              <a:gd name="connsiteY3" fmla="*/ 1496004 h 4061856"/>
              <a:gd name="connsiteX4" fmla="*/ 9452244 w 9452244"/>
              <a:gd name="connsiteY4" fmla="*/ 0 h 4061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2244" h="4061856">
                <a:moveTo>
                  <a:pt x="9452244" y="0"/>
                </a:moveTo>
                <a:lnTo>
                  <a:pt x="9452244" y="4061856"/>
                </a:lnTo>
                <a:lnTo>
                  <a:pt x="0" y="4061856"/>
                </a:lnTo>
                <a:cubicBezTo>
                  <a:pt x="630936" y="2061378"/>
                  <a:pt x="3648593" y="1084387"/>
                  <a:pt x="6687648" y="1496004"/>
                </a:cubicBezTo>
                <a:cubicBezTo>
                  <a:pt x="9452244" y="1870451"/>
                  <a:pt x="9452244" y="0"/>
                  <a:pt x="9452244" y="0"/>
                </a:cubicBezTo>
                <a:close/>
              </a:path>
            </a:pathLst>
          </a:custGeom>
          <a:gradFill flip="none" rotWithShape="1">
            <a:gsLst>
              <a:gs pos="0">
                <a:srgbClr val="4BA8E0"/>
              </a:gs>
              <a:gs pos="50000">
                <a:srgbClr val="5A76B6"/>
              </a:gs>
              <a:gs pos="100000">
                <a:srgbClr val="5E5FA9"/>
              </a:gs>
            </a:gsLst>
            <a:lin ang="0" scaled="1"/>
            <a:tileRect/>
          </a:gradFill>
          <a:ln w="19050" cap="flat" cmpd="sng" algn="ctr">
            <a:noFill/>
            <a:prstDash val="solid"/>
            <a:miter lim="800000"/>
          </a:ln>
          <a:effectLst/>
        </p:spPr>
        <p:txBody>
          <a:bodyPr wrap="none" lIns="45720" rIns="45720" rtlCol="0" anchor="b">
            <a:noAutofit/>
          </a:bodyPr>
          <a:lstStyle/>
          <a:p>
            <a:pPr marL="3175"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09" name="Group 208">
            <a:extLst>
              <a:ext uri="{FF2B5EF4-FFF2-40B4-BE49-F238E27FC236}">
                <a16:creationId xmlns:a16="http://schemas.microsoft.com/office/drawing/2014/main" id="{9D1C4ECC-BF91-F127-6F2A-76905F4E9E8A}"/>
              </a:ext>
            </a:extLst>
          </p:cNvPr>
          <p:cNvGrpSpPr/>
          <p:nvPr/>
        </p:nvGrpSpPr>
        <p:grpSpPr>
          <a:xfrm>
            <a:off x="5832550" y="1527838"/>
            <a:ext cx="6205489" cy="5174683"/>
            <a:chOff x="5970406" y="1432295"/>
            <a:chExt cx="6241446" cy="5204668"/>
          </a:xfrm>
        </p:grpSpPr>
        <p:grpSp>
          <p:nvGrpSpPr>
            <p:cNvPr id="208" name="Group 207">
              <a:extLst>
                <a:ext uri="{FF2B5EF4-FFF2-40B4-BE49-F238E27FC236}">
                  <a16:creationId xmlns:a16="http://schemas.microsoft.com/office/drawing/2014/main" id="{A90A5D57-CCAB-6276-7CAB-9A496404CECE}"/>
                </a:ext>
              </a:extLst>
            </p:cNvPr>
            <p:cNvGrpSpPr/>
            <p:nvPr/>
          </p:nvGrpSpPr>
          <p:grpSpPr>
            <a:xfrm>
              <a:off x="5970406" y="1432295"/>
              <a:ext cx="6241446" cy="5042667"/>
              <a:chOff x="5970406" y="1432295"/>
              <a:chExt cx="6241446" cy="5042667"/>
            </a:xfrm>
          </p:grpSpPr>
          <p:sp>
            <p:nvSpPr>
              <p:cNvPr id="36" name="Freeform: Shape 35">
                <a:extLst>
                  <a:ext uri="{FF2B5EF4-FFF2-40B4-BE49-F238E27FC236}">
                    <a16:creationId xmlns:a16="http://schemas.microsoft.com/office/drawing/2014/main" id="{D396B65A-CE93-C90D-0C09-A77450246B72}"/>
                  </a:ext>
                </a:extLst>
              </p:cNvPr>
              <p:cNvSpPr/>
              <p:nvPr/>
            </p:nvSpPr>
            <p:spPr>
              <a:xfrm rot="10800000">
                <a:off x="8617750" y="4274047"/>
                <a:ext cx="538526" cy="1635704"/>
              </a:xfrm>
              <a:custGeom>
                <a:avLst/>
                <a:gdLst>
                  <a:gd name="connsiteX0" fmla="*/ 0 w 523093"/>
                  <a:gd name="connsiteY0" fmla="*/ 0 h 1588827"/>
                  <a:gd name="connsiteX1" fmla="*/ 523094 w 523093"/>
                  <a:gd name="connsiteY1" fmla="*/ 0 h 1588827"/>
                  <a:gd name="connsiteX2" fmla="*/ 523094 w 523093"/>
                  <a:gd name="connsiteY2" fmla="*/ 1588827 h 1588827"/>
                  <a:gd name="connsiteX3" fmla="*/ 0 w 523093"/>
                  <a:gd name="connsiteY3" fmla="*/ 1588827 h 1588827"/>
                </a:gdLst>
                <a:ahLst/>
                <a:cxnLst>
                  <a:cxn ang="0">
                    <a:pos x="connsiteX0" y="connsiteY0"/>
                  </a:cxn>
                  <a:cxn ang="0">
                    <a:pos x="connsiteX1" y="connsiteY1"/>
                  </a:cxn>
                  <a:cxn ang="0">
                    <a:pos x="connsiteX2" y="connsiteY2"/>
                  </a:cxn>
                  <a:cxn ang="0">
                    <a:pos x="connsiteX3" y="connsiteY3"/>
                  </a:cxn>
                </a:cxnLst>
                <a:rect l="l" t="t" r="r" b="b"/>
                <a:pathLst>
                  <a:path w="523093" h="1588827">
                    <a:moveTo>
                      <a:pt x="0" y="0"/>
                    </a:moveTo>
                    <a:lnTo>
                      <a:pt x="523094" y="0"/>
                    </a:lnTo>
                    <a:lnTo>
                      <a:pt x="523094" y="1588827"/>
                    </a:lnTo>
                    <a:lnTo>
                      <a:pt x="0" y="1588827"/>
                    </a:lnTo>
                    <a:close/>
                  </a:path>
                </a:pathLst>
              </a:custGeom>
              <a:solidFill>
                <a:srgbClr val="8F8F8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37" name="Freeform: Shape 36">
                <a:extLst>
                  <a:ext uri="{FF2B5EF4-FFF2-40B4-BE49-F238E27FC236}">
                    <a16:creationId xmlns:a16="http://schemas.microsoft.com/office/drawing/2014/main" id="{E32F9DD8-B8DF-A6EB-064E-00FE91822EDF}"/>
                  </a:ext>
                </a:extLst>
              </p:cNvPr>
              <p:cNvSpPr/>
              <p:nvPr/>
            </p:nvSpPr>
            <p:spPr>
              <a:xfrm rot="10800000">
                <a:off x="6561886" y="1781465"/>
                <a:ext cx="4650257" cy="3280516"/>
              </a:xfrm>
              <a:custGeom>
                <a:avLst/>
                <a:gdLst>
                  <a:gd name="connsiteX0" fmla="*/ 229743 w 4516987"/>
                  <a:gd name="connsiteY0" fmla="*/ 0 h 3186501"/>
                  <a:gd name="connsiteX1" fmla="*/ 4287245 w 4516987"/>
                  <a:gd name="connsiteY1" fmla="*/ 0 h 3186501"/>
                  <a:gd name="connsiteX2" fmla="*/ 4516988 w 4516987"/>
                  <a:gd name="connsiteY2" fmla="*/ 229743 h 3186501"/>
                  <a:gd name="connsiteX3" fmla="*/ 4516988 w 4516987"/>
                  <a:gd name="connsiteY3" fmla="*/ 2956758 h 3186501"/>
                  <a:gd name="connsiteX4" fmla="*/ 4287245 w 4516987"/>
                  <a:gd name="connsiteY4" fmla="*/ 3186501 h 3186501"/>
                  <a:gd name="connsiteX5" fmla="*/ 229743 w 4516987"/>
                  <a:gd name="connsiteY5" fmla="*/ 3186501 h 3186501"/>
                  <a:gd name="connsiteX6" fmla="*/ 0 w 4516987"/>
                  <a:gd name="connsiteY6" fmla="*/ 2956758 h 3186501"/>
                  <a:gd name="connsiteX7" fmla="*/ 0 w 4516987"/>
                  <a:gd name="connsiteY7" fmla="*/ 229743 h 3186501"/>
                  <a:gd name="connsiteX8" fmla="*/ 229743 w 4516987"/>
                  <a:gd name="connsiteY8" fmla="*/ 0 h 318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16987" h="3186501">
                    <a:moveTo>
                      <a:pt x="229743" y="0"/>
                    </a:moveTo>
                    <a:lnTo>
                      <a:pt x="4287245" y="0"/>
                    </a:lnTo>
                    <a:cubicBezTo>
                      <a:pt x="4414049" y="0"/>
                      <a:pt x="4516988" y="102939"/>
                      <a:pt x="4516988" y="229743"/>
                    </a:cubicBezTo>
                    <a:lnTo>
                      <a:pt x="4516988" y="2956758"/>
                    </a:lnTo>
                    <a:cubicBezTo>
                      <a:pt x="4516988" y="3083563"/>
                      <a:pt x="4414049" y="3186501"/>
                      <a:pt x="4287245" y="3186501"/>
                    </a:cubicBezTo>
                    <a:lnTo>
                      <a:pt x="229743" y="3186501"/>
                    </a:lnTo>
                    <a:cubicBezTo>
                      <a:pt x="102939" y="3186501"/>
                      <a:pt x="0" y="3083563"/>
                      <a:pt x="0" y="2956758"/>
                    </a:cubicBezTo>
                    <a:lnTo>
                      <a:pt x="0" y="229743"/>
                    </a:lnTo>
                    <a:cubicBezTo>
                      <a:pt x="0" y="102939"/>
                      <a:pt x="102939" y="0"/>
                      <a:pt x="229743" y="0"/>
                    </a:cubicBezTo>
                    <a:close/>
                  </a:path>
                </a:pathLst>
              </a:custGeom>
              <a:solidFill>
                <a:srgbClr val="F0F0F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38" name="Freeform: Shape 37">
                <a:extLst>
                  <a:ext uri="{FF2B5EF4-FFF2-40B4-BE49-F238E27FC236}">
                    <a16:creationId xmlns:a16="http://schemas.microsoft.com/office/drawing/2014/main" id="{6888CBA3-3F4A-24AB-C2BD-4F9E956CFD64}"/>
                  </a:ext>
                </a:extLst>
              </p:cNvPr>
              <p:cNvSpPr/>
              <p:nvPr/>
            </p:nvSpPr>
            <p:spPr>
              <a:xfrm rot="10800000">
                <a:off x="6744042" y="1432295"/>
                <a:ext cx="4285978" cy="3115587"/>
              </a:xfrm>
              <a:custGeom>
                <a:avLst/>
                <a:gdLst>
                  <a:gd name="connsiteX0" fmla="*/ 0 w 4163148"/>
                  <a:gd name="connsiteY0" fmla="*/ 0 h 3026298"/>
                  <a:gd name="connsiteX1" fmla="*/ 4163149 w 4163148"/>
                  <a:gd name="connsiteY1" fmla="*/ 0 h 3026298"/>
                  <a:gd name="connsiteX2" fmla="*/ 4163149 w 4163148"/>
                  <a:gd name="connsiteY2" fmla="*/ 3026298 h 3026298"/>
                  <a:gd name="connsiteX3" fmla="*/ 0 w 4163148"/>
                  <a:gd name="connsiteY3" fmla="*/ 3026298 h 3026298"/>
                </a:gdLst>
                <a:ahLst/>
                <a:cxnLst>
                  <a:cxn ang="0">
                    <a:pos x="connsiteX0" y="connsiteY0"/>
                  </a:cxn>
                  <a:cxn ang="0">
                    <a:pos x="connsiteX1" y="connsiteY1"/>
                  </a:cxn>
                  <a:cxn ang="0">
                    <a:pos x="connsiteX2" y="connsiteY2"/>
                  </a:cxn>
                  <a:cxn ang="0">
                    <a:pos x="connsiteX3" y="connsiteY3"/>
                  </a:cxn>
                </a:cxnLst>
                <a:rect l="l" t="t" r="r" b="b"/>
                <a:pathLst>
                  <a:path w="4163148" h="3026298">
                    <a:moveTo>
                      <a:pt x="0" y="0"/>
                    </a:moveTo>
                    <a:lnTo>
                      <a:pt x="4163149" y="0"/>
                    </a:lnTo>
                    <a:lnTo>
                      <a:pt x="4163149" y="3026298"/>
                    </a:lnTo>
                    <a:lnTo>
                      <a:pt x="0" y="3026298"/>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39" name="Freeform: Shape 38">
                <a:extLst>
                  <a:ext uri="{FF2B5EF4-FFF2-40B4-BE49-F238E27FC236}">
                    <a16:creationId xmlns:a16="http://schemas.microsoft.com/office/drawing/2014/main" id="{9547A7FF-D5DC-BB90-7D27-9294344C56EB}"/>
                  </a:ext>
                </a:extLst>
              </p:cNvPr>
              <p:cNvSpPr/>
              <p:nvPr/>
            </p:nvSpPr>
            <p:spPr>
              <a:xfrm rot="10800000">
                <a:off x="6744042" y="1432295"/>
                <a:ext cx="4285978" cy="376316"/>
              </a:xfrm>
              <a:custGeom>
                <a:avLst/>
                <a:gdLst>
                  <a:gd name="connsiteX0" fmla="*/ 0 w 4163148"/>
                  <a:gd name="connsiteY0" fmla="*/ 0 h 365531"/>
                  <a:gd name="connsiteX1" fmla="*/ 4163149 w 4163148"/>
                  <a:gd name="connsiteY1" fmla="*/ 0 h 365531"/>
                  <a:gd name="connsiteX2" fmla="*/ 4163149 w 4163148"/>
                  <a:gd name="connsiteY2" fmla="*/ 365531 h 365531"/>
                  <a:gd name="connsiteX3" fmla="*/ 0 w 4163148"/>
                  <a:gd name="connsiteY3" fmla="*/ 365531 h 365531"/>
                </a:gdLst>
                <a:ahLst/>
                <a:cxnLst>
                  <a:cxn ang="0">
                    <a:pos x="connsiteX0" y="connsiteY0"/>
                  </a:cxn>
                  <a:cxn ang="0">
                    <a:pos x="connsiteX1" y="connsiteY1"/>
                  </a:cxn>
                  <a:cxn ang="0">
                    <a:pos x="connsiteX2" y="connsiteY2"/>
                  </a:cxn>
                  <a:cxn ang="0">
                    <a:pos x="connsiteX3" y="connsiteY3"/>
                  </a:cxn>
                </a:cxnLst>
                <a:rect l="l" t="t" r="r" b="b"/>
                <a:pathLst>
                  <a:path w="4163148" h="365531">
                    <a:moveTo>
                      <a:pt x="0" y="0"/>
                    </a:moveTo>
                    <a:lnTo>
                      <a:pt x="4163149" y="0"/>
                    </a:lnTo>
                    <a:lnTo>
                      <a:pt x="4163149" y="365531"/>
                    </a:lnTo>
                    <a:lnTo>
                      <a:pt x="0" y="365531"/>
                    </a:lnTo>
                    <a:close/>
                  </a:path>
                </a:pathLst>
              </a:custGeom>
              <a:gradFill flip="none" rotWithShape="1">
                <a:gsLst>
                  <a:gs pos="0">
                    <a:srgbClr val="4BA8E0"/>
                  </a:gs>
                  <a:gs pos="50000">
                    <a:srgbClr val="5A76B6"/>
                  </a:gs>
                  <a:gs pos="100000">
                    <a:srgbClr val="5E5FA9"/>
                  </a:gs>
                </a:gsLst>
                <a:lin ang="0" scaled="1"/>
                <a:tileRect/>
              </a:gradFill>
              <a:ln w="19050" cap="flat" cmpd="sng" algn="ctr">
                <a:noFill/>
                <a:prstDash val="solid"/>
                <a:miter lim="800000"/>
              </a:ln>
              <a:effectLst/>
            </p:spPr>
            <p:txBody>
              <a:bodyPr rot="0" spcFirstLastPara="0" vertOverflow="overflow" horzOverflow="overflow" vert="horz" wrap="none" lIns="45720" tIns="45720" rIns="45720" bIns="45720" numCol="1" spcCol="0" rtlCol="0" fromWordArt="0" anchor="b" anchorCtr="0" forceAA="0" compatLnSpc="1">
                <a:prstTxWarp prst="textNoShape">
                  <a:avLst/>
                </a:prstTxWarp>
                <a:noAutofit/>
              </a:bodyPr>
              <a:lstStyle/>
              <a:p>
                <a:pPr marL="3175"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 name="Freeform: Shape 39">
                <a:extLst>
                  <a:ext uri="{FF2B5EF4-FFF2-40B4-BE49-F238E27FC236}">
                    <a16:creationId xmlns:a16="http://schemas.microsoft.com/office/drawing/2014/main" id="{84F9EED6-E6E4-6885-6473-5E3BDA4487EA}"/>
                  </a:ext>
                </a:extLst>
              </p:cNvPr>
              <p:cNvSpPr/>
              <p:nvPr/>
            </p:nvSpPr>
            <p:spPr>
              <a:xfrm>
                <a:off x="10508439" y="4633136"/>
                <a:ext cx="352735" cy="299993"/>
              </a:xfrm>
              <a:custGeom>
                <a:avLst/>
                <a:gdLst>
                  <a:gd name="connsiteX0" fmla="*/ 0 w 342626"/>
                  <a:gd name="connsiteY0" fmla="*/ 145698 h 291396"/>
                  <a:gd name="connsiteX1" fmla="*/ 171313 w 342626"/>
                  <a:gd name="connsiteY1" fmla="*/ 291396 h 291396"/>
                  <a:gd name="connsiteX2" fmla="*/ 342626 w 342626"/>
                  <a:gd name="connsiteY2" fmla="*/ 145698 h 291396"/>
                  <a:gd name="connsiteX3" fmla="*/ 171313 w 342626"/>
                  <a:gd name="connsiteY3" fmla="*/ 0 h 291396"/>
                  <a:gd name="connsiteX4" fmla="*/ 0 w 342626"/>
                  <a:gd name="connsiteY4" fmla="*/ 145698 h 291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626" h="291396">
                    <a:moveTo>
                      <a:pt x="0" y="145698"/>
                    </a:moveTo>
                    <a:cubicBezTo>
                      <a:pt x="0" y="226177"/>
                      <a:pt x="76707" y="291396"/>
                      <a:pt x="171313" y="291396"/>
                    </a:cubicBezTo>
                    <a:cubicBezTo>
                      <a:pt x="265919" y="291396"/>
                      <a:pt x="342626" y="226177"/>
                      <a:pt x="342626" y="145698"/>
                    </a:cubicBezTo>
                    <a:cubicBezTo>
                      <a:pt x="342626" y="65220"/>
                      <a:pt x="265919" y="0"/>
                      <a:pt x="171313" y="0"/>
                    </a:cubicBezTo>
                    <a:cubicBezTo>
                      <a:pt x="76707" y="0"/>
                      <a:pt x="0" y="65220"/>
                      <a:pt x="0" y="145698"/>
                    </a:cubicBezTo>
                    <a:close/>
                  </a:path>
                </a:pathLst>
              </a:custGeom>
              <a:solidFill>
                <a:srgbClr val="CCCC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41" name="Freeform: Shape 40">
                <a:extLst>
                  <a:ext uri="{FF2B5EF4-FFF2-40B4-BE49-F238E27FC236}">
                    <a16:creationId xmlns:a16="http://schemas.microsoft.com/office/drawing/2014/main" id="{B2BAA49B-2994-F3C9-38C4-F6B22593130D}"/>
                  </a:ext>
                </a:extLst>
              </p:cNvPr>
              <p:cNvSpPr/>
              <p:nvPr/>
            </p:nvSpPr>
            <p:spPr>
              <a:xfrm>
                <a:off x="7675619" y="5848009"/>
                <a:ext cx="2422790" cy="123450"/>
              </a:xfrm>
              <a:custGeom>
                <a:avLst/>
                <a:gdLst>
                  <a:gd name="connsiteX0" fmla="*/ 0 w 2353356"/>
                  <a:gd name="connsiteY0" fmla="*/ 0 h 119912"/>
                  <a:gd name="connsiteX1" fmla="*/ 2353357 w 2353356"/>
                  <a:gd name="connsiteY1" fmla="*/ 0 h 119912"/>
                  <a:gd name="connsiteX2" fmla="*/ 2353357 w 2353356"/>
                  <a:gd name="connsiteY2" fmla="*/ 119912 h 119912"/>
                  <a:gd name="connsiteX3" fmla="*/ 0 w 2353356"/>
                  <a:gd name="connsiteY3" fmla="*/ 119912 h 119912"/>
                </a:gdLst>
                <a:ahLst/>
                <a:cxnLst>
                  <a:cxn ang="0">
                    <a:pos x="connsiteX0" y="connsiteY0"/>
                  </a:cxn>
                  <a:cxn ang="0">
                    <a:pos x="connsiteX1" y="connsiteY1"/>
                  </a:cxn>
                  <a:cxn ang="0">
                    <a:pos x="connsiteX2" y="connsiteY2"/>
                  </a:cxn>
                  <a:cxn ang="0">
                    <a:pos x="connsiteX3" y="connsiteY3"/>
                  </a:cxn>
                </a:cxnLst>
                <a:rect l="l" t="t" r="r" b="b"/>
                <a:pathLst>
                  <a:path w="2353356" h="119912">
                    <a:moveTo>
                      <a:pt x="0" y="0"/>
                    </a:moveTo>
                    <a:lnTo>
                      <a:pt x="2353357" y="0"/>
                    </a:lnTo>
                    <a:lnTo>
                      <a:pt x="2353357" y="119912"/>
                    </a:lnTo>
                    <a:lnTo>
                      <a:pt x="0" y="119912"/>
                    </a:lnTo>
                    <a:close/>
                  </a:path>
                </a:pathLst>
              </a:custGeom>
              <a:solidFill>
                <a:srgbClr val="CCCCC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900216F5-955B-3FFC-AD8C-8E843B1000F7}"/>
                  </a:ext>
                </a:extLst>
              </p:cNvPr>
              <p:cNvSpPr/>
              <p:nvPr/>
            </p:nvSpPr>
            <p:spPr>
              <a:xfrm>
                <a:off x="6923057" y="1549356"/>
                <a:ext cx="611284" cy="142195"/>
              </a:xfrm>
              <a:custGeom>
                <a:avLst/>
                <a:gdLst>
                  <a:gd name="connsiteX0" fmla="*/ 49618 w 593765"/>
                  <a:gd name="connsiteY0" fmla="*/ 0 h 138120"/>
                  <a:gd name="connsiteX1" fmla="*/ 544114 w 593765"/>
                  <a:gd name="connsiteY1" fmla="*/ 0 h 138120"/>
                  <a:gd name="connsiteX2" fmla="*/ 593765 w 593765"/>
                  <a:gd name="connsiteY2" fmla="*/ 49652 h 138120"/>
                  <a:gd name="connsiteX3" fmla="*/ 593765 w 593765"/>
                  <a:gd name="connsiteY3" fmla="*/ 88468 h 138120"/>
                  <a:gd name="connsiteX4" fmla="*/ 544114 w 593765"/>
                  <a:gd name="connsiteY4" fmla="*/ 138120 h 138120"/>
                  <a:gd name="connsiteX5" fmla="*/ 49652 w 593765"/>
                  <a:gd name="connsiteY5" fmla="*/ 138120 h 138120"/>
                  <a:gd name="connsiteX6" fmla="*/ 0 w 593765"/>
                  <a:gd name="connsiteY6" fmla="*/ 88468 h 138120"/>
                  <a:gd name="connsiteX7" fmla="*/ 0 w 593765"/>
                  <a:gd name="connsiteY7" fmla="*/ 49652 h 138120"/>
                  <a:gd name="connsiteX8" fmla="*/ 49652 w 593765"/>
                  <a:gd name="connsiteY8" fmla="*/ 0 h 13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3765" h="138120">
                    <a:moveTo>
                      <a:pt x="49618" y="0"/>
                    </a:moveTo>
                    <a:lnTo>
                      <a:pt x="544114" y="0"/>
                    </a:lnTo>
                    <a:cubicBezTo>
                      <a:pt x="571511" y="0"/>
                      <a:pt x="593765" y="22254"/>
                      <a:pt x="593765" y="49652"/>
                    </a:cubicBezTo>
                    <a:lnTo>
                      <a:pt x="593765" y="88468"/>
                    </a:lnTo>
                    <a:cubicBezTo>
                      <a:pt x="593765" y="115866"/>
                      <a:pt x="571511" y="138120"/>
                      <a:pt x="544114" y="138120"/>
                    </a:cubicBezTo>
                    <a:lnTo>
                      <a:pt x="49652" y="138120"/>
                    </a:lnTo>
                    <a:cubicBezTo>
                      <a:pt x="22254" y="138120"/>
                      <a:pt x="0" y="115866"/>
                      <a:pt x="0" y="88468"/>
                    </a:cubicBezTo>
                    <a:lnTo>
                      <a:pt x="0" y="49652"/>
                    </a:lnTo>
                    <a:cubicBezTo>
                      <a:pt x="0" y="22254"/>
                      <a:pt x="22254" y="0"/>
                      <a:pt x="49652" y="0"/>
                    </a:cubicBezTo>
                    <a:close/>
                  </a:path>
                </a:pathLst>
              </a:custGeom>
              <a:solidFill>
                <a:srgbClr val="F5F7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43" name="Freeform: Shape 42">
                <a:extLst>
                  <a:ext uri="{FF2B5EF4-FFF2-40B4-BE49-F238E27FC236}">
                    <a16:creationId xmlns:a16="http://schemas.microsoft.com/office/drawing/2014/main" id="{91A80772-F509-55D9-5B7F-067F6B15C52A}"/>
                  </a:ext>
                </a:extLst>
              </p:cNvPr>
              <p:cNvSpPr/>
              <p:nvPr/>
            </p:nvSpPr>
            <p:spPr>
              <a:xfrm>
                <a:off x="7058015" y="3119752"/>
                <a:ext cx="2243988" cy="77134"/>
              </a:xfrm>
              <a:custGeom>
                <a:avLst/>
                <a:gdLst>
                  <a:gd name="connsiteX0" fmla="*/ 0 w 2179678"/>
                  <a:gd name="connsiteY0" fmla="*/ 0 h 74923"/>
                  <a:gd name="connsiteX1" fmla="*/ 2179679 w 2179678"/>
                  <a:gd name="connsiteY1" fmla="*/ 0 h 74923"/>
                  <a:gd name="connsiteX2" fmla="*/ 2179679 w 2179678"/>
                  <a:gd name="connsiteY2" fmla="*/ 74924 h 74923"/>
                  <a:gd name="connsiteX3" fmla="*/ 0 w 2179678"/>
                  <a:gd name="connsiteY3" fmla="*/ 74924 h 74923"/>
                </a:gdLst>
                <a:ahLst/>
                <a:cxnLst>
                  <a:cxn ang="0">
                    <a:pos x="connsiteX0" y="connsiteY0"/>
                  </a:cxn>
                  <a:cxn ang="0">
                    <a:pos x="connsiteX1" y="connsiteY1"/>
                  </a:cxn>
                  <a:cxn ang="0">
                    <a:pos x="connsiteX2" y="connsiteY2"/>
                  </a:cxn>
                  <a:cxn ang="0">
                    <a:pos x="connsiteX3" y="connsiteY3"/>
                  </a:cxn>
                </a:cxnLst>
                <a:rect l="l" t="t" r="r" b="b"/>
                <a:pathLst>
                  <a:path w="2179678" h="74923">
                    <a:moveTo>
                      <a:pt x="0" y="0"/>
                    </a:moveTo>
                    <a:lnTo>
                      <a:pt x="2179679" y="0"/>
                    </a:lnTo>
                    <a:lnTo>
                      <a:pt x="2179679" y="74924"/>
                    </a:lnTo>
                    <a:lnTo>
                      <a:pt x="0" y="74924"/>
                    </a:ln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44" name="Freeform: Shape 43">
                <a:extLst>
                  <a:ext uri="{FF2B5EF4-FFF2-40B4-BE49-F238E27FC236}">
                    <a16:creationId xmlns:a16="http://schemas.microsoft.com/office/drawing/2014/main" id="{E92111E6-D249-B5A9-A388-FEBBC81894BB}"/>
                  </a:ext>
                </a:extLst>
              </p:cNvPr>
              <p:cNvSpPr/>
              <p:nvPr/>
            </p:nvSpPr>
            <p:spPr>
              <a:xfrm>
                <a:off x="7058015" y="3258699"/>
                <a:ext cx="1664334" cy="77134"/>
              </a:xfrm>
              <a:custGeom>
                <a:avLst/>
                <a:gdLst>
                  <a:gd name="connsiteX0" fmla="*/ 0 w 1616636"/>
                  <a:gd name="connsiteY0" fmla="*/ 0 h 74923"/>
                  <a:gd name="connsiteX1" fmla="*/ 1616636 w 1616636"/>
                  <a:gd name="connsiteY1" fmla="*/ 0 h 74923"/>
                  <a:gd name="connsiteX2" fmla="*/ 1616636 w 1616636"/>
                  <a:gd name="connsiteY2" fmla="*/ 74924 h 74923"/>
                  <a:gd name="connsiteX3" fmla="*/ 0 w 1616636"/>
                  <a:gd name="connsiteY3" fmla="*/ 74924 h 74923"/>
                </a:gdLst>
                <a:ahLst/>
                <a:cxnLst>
                  <a:cxn ang="0">
                    <a:pos x="connsiteX0" y="connsiteY0"/>
                  </a:cxn>
                  <a:cxn ang="0">
                    <a:pos x="connsiteX1" y="connsiteY1"/>
                  </a:cxn>
                  <a:cxn ang="0">
                    <a:pos x="connsiteX2" y="connsiteY2"/>
                  </a:cxn>
                  <a:cxn ang="0">
                    <a:pos x="connsiteX3" y="connsiteY3"/>
                  </a:cxn>
                </a:cxnLst>
                <a:rect l="l" t="t" r="r" b="b"/>
                <a:pathLst>
                  <a:path w="1616636" h="74923">
                    <a:moveTo>
                      <a:pt x="0" y="0"/>
                    </a:moveTo>
                    <a:lnTo>
                      <a:pt x="1616636" y="0"/>
                    </a:lnTo>
                    <a:lnTo>
                      <a:pt x="1616636" y="74924"/>
                    </a:lnTo>
                    <a:lnTo>
                      <a:pt x="0" y="74924"/>
                    </a:ln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45" name="Freeform: Shape 44">
                <a:extLst>
                  <a:ext uri="{FF2B5EF4-FFF2-40B4-BE49-F238E27FC236}">
                    <a16:creationId xmlns:a16="http://schemas.microsoft.com/office/drawing/2014/main" id="{A05F9209-91AF-5F46-2DA7-D5524C7C790B}"/>
                  </a:ext>
                </a:extLst>
              </p:cNvPr>
              <p:cNvSpPr/>
              <p:nvPr/>
            </p:nvSpPr>
            <p:spPr>
              <a:xfrm>
                <a:off x="7058015" y="3560565"/>
                <a:ext cx="1055309" cy="77134"/>
              </a:xfrm>
              <a:custGeom>
                <a:avLst/>
                <a:gdLst>
                  <a:gd name="connsiteX0" fmla="*/ 0 w 1025065"/>
                  <a:gd name="connsiteY0" fmla="*/ 0 h 74923"/>
                  <a:gd name="connsiteX1" fmla="*/ 1025065 w 1025065"/>
                  <a:gd name="connsiteY1" fmla="*/ 0 h 74923"/>
                  <a:gd name="connsiteX2" fmla="*/ 1025065 w 1025065"/>
                  <a:gd name="connsiteY2" fmla="*/ 74923 h 74923"/>
                  <a:gd name="connsiteX3" fmla="*/ 0 w 1025065"/>
                  <a:gd name="connsiteY3" fmla="*/ 74923 h 74923"/>
                </a:gdLst>
                <a:ahLst/>
                <a:cxnLst>
                  <a:cxn ang="0">
                    <a:pos x="connsiteX0" y="connsiteY0"/>
                  </a:cxn>
                  <a:cxn ang="0">
                    <a:pos x="connsiteX1" y="connsiteY1"/>
                  </a:cxn>
                  <a:cxn ang="0">
                    <a:pos x="connsiteX2" y="connsiteY2"/>
                  </a:cxn>
                  <a:cxn ang="0">
                    <a:pos x="connsiteX3" y="connsiteY3"/>
                  </a:cxn>
                </a:cxnLst>
                <a:rect l="l" t="t" r="r" b="b"/>
                <a:pathLst>
                  <a:path w="1025065" h="74923">
                    <a:moveTo>
                      <a:pt x="0" y="0"/>
                    </a:moveTo>
                    <a:lnTo>
                      <a:pt x="1025065" y="0"/>
                    </a:lnTo>
                    <a:lnTo>
                      <a:pt x="1025065" y="74923"/>
                    </a:lnTo>
                    <a:lnTo>
                      <a:pt x="0" y="74923"/>
                    </a:ln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46" name="Freeform: Shape 45">
                <a:extLst>
                  <a:ext uri="{FF2B5EF4-FFF2-40B4-BE49-F238E27FC236}">
                    <a16:creationId xmlns:a16="http://schemas.microsoft.com/office/drawing/2014/main" id="{7E1F4264-EA1E-E2E2-CAAB-1BDB8EEF29AE}"/>
                  </a:ext>
                </a:extLst>
              </p:cNvPr>
              <p:cNvSpPr/>
              <p:nvPr/>
            </p:nvSpPr>
            <p:spPr>
              <a:xfrm>
                <a:off x="7058015" y="3699477"/>
                <a:ext cx="1895983" cy="77134"/>
              </a:xfrm>
              <a:custGeom>
                <a:avLst/>
                <a:gdLst>
                  <a:gd name="connsiteX0" fmla="*/ 0 w 1841647"/>
                  <a:gd name="connsiteY0" fmla="*/ 0 h 74923"/>
                  <a:gd name="connsiteX1" fmla="*/ 1841647 w 1841647"/>
                  <a:gd name="connsiteY1" fmla="*/ 0 h 74923"/>
                  <a:gd name="connsiteX2" fmla="*/ 1841647 w 1841647"/>
                  <a:gd name="connsiteY2" fmla="*/ 74924 h 74923"/>
                  <a:gd name="connsiteX3" fmla="*/ 0 w 1841647"/>
                  <a:gd name="connsiteY3" fmla="*/ 74924 h 74923"/>
                </a:gdLst>
                <a:ahLst/>
                <a:cxnLst>
                  <a:cxn ang="0">
                    <a:pos x="connsiteX0" y="connsiteY0"/>
                  </a:cxn>
                  <a:cxn ang="0">
                    <a:pos x="connsiteX1" y="connsiteY1"/>
                  </a:cxn>
                  <a:cxn ang="0">
                    <a:pos x="connsiteX2" y="connsiteY2"/>
                  </a:cxn>
                  <a:cxn ang="0">
                    <a:pos x="connsiteX3" y="connsiteY3"/>
                  </a:cxn>
                </a:cxnLst>
                <a:rect l="l" t="t" r="r" b="b"/>
                <a:pathLst>
                  <a:path w="1841647" h="74923">
                    <a:moveTo>
                      <a:pt x="0" y="0"/>
                    </a:moveTo>
                    <a:lnTo>
                      <a:pt x="1841647" y="0"/>
                    </a:lnTo>
                    <a:lnTo>
                      <a:pt x="1841647" y="74924"/>
                    </a:lnTo>
                    <a:lnTo>
                      <a:pt x="0" y="74924"/>
                    </a:ln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47" name="Freeform: Shape 46">
                <a:extLst>
                  <a:ext uri="{FF2B5EF4-FFF2-40B4-BE49-F238E27FC236}">
                    <a16:creationId xmlns:a16="http://schemas.microsoft.com/office/drawing/2014/main" id="{D409077A-2D96-E93F-8537-F52E148DA7F8}"/>
                  </a:ext>
                </a:extLst>
              </p:cNvPr>
              <p:cNvSpPr/>
              <p:nvPr/>
            </p:nvSpPr>
            <p:spPr>
              <a:xfrm>
                <a:off x="7058015" y="4031419"/>
                <a:ext cx="1776134" cy="77134"/>
              </a:xfrm>
              <a:custGeom>
                <a:avLst/>
                <a:gdLst>
                  <a:gd name="connsiteX0" fmla="*/ 0 w 1725232"/>
                  <a:gd name="connsiteY0" fmla="*/ 0 h 74923"/>
                  <a:gd name="connsiteX1" fmla="*/ 1725233 w 1725232"/>
                  <a:gd name="connsiteY1" fmla="*/ 0 h 74923"/>
                  <a:gd name="connsiteX2" fmla="*/ 1725233 w 1725232"/>
                  <a:gd name="connsiteY2" fmla="*/ 74923 h 74923"/>
                  <a:gd name="connsiteX3" fmla="*/ 0 w 1725232"/>
                  <a:gd name="connsiteY3" fmla="*/ 74923 h 74923"/>
                </a:gdLst>
                <a:ahLst/>
                <a:cxnLst>
                  <a:cxn ang="0">
                    <a:pos x="connsiteX0" y="connsiteY0"/>
                  </a:cxn>
                  <a:cxn ang="0">
                    <a:pos x="connsiteX1" y="connsiteY1"/>
                  </a:cxn>
                  <a:cxn ang="0">
                    <a:pos x="connsiteX2" y="connsiteY2"/>
                  </a:cxn>
                  <a:cxn ang="0">
                    <a:pos x="connsiteX3" y="connsiteY3"/>
                  </a:cxn>
                </a:cxnLst>
                <a:rect l="l" t="t" r="r" b="b"/>
                <a:pathLst>
                  <a:path w="1725232" h="74923">
                    <a:moveTo>
                      <a:pt x="0" y="0"/>
                    </a:moveTo>
                    <a:lnTo>
                      <a:pt x="1725233" y="0"/>
                    </a:lnTo>
                    <a:lnTo>
                      <a:pt x="1725233" y="74923"/>
                    </a:lnTo>
                    <a:lnTo>
                      <a:pt x="0" y="74923"/>
                    </a:ln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48" name="Freeform: Shape 47">
                <a:extLst>
                  <a:ext uri="{FF2B5EF4-FFF2-40B4-BE49-F238E27FC236}">
                    <a16:creationId xmlns:a16="http://schemas.microsoft.com/office/drawing/2014/main" id="{BC9E7763-A2EC-71E7-2A97-40DEC067B32B}"/>
                  </a:ext>
                </a:extLst>
              </p:cNvPr>
              <p:cNvSpPr/>
              <p:nvPr/>
            </p:nvSpPr>
            <p:spPr>
              <a:xfrm>
                <a:off x="7058015" y="4170331"/>
                <a:ext cx="2168830" cy="77134"/>
              </a:xfrm>
              <a:custGeom>
                <a:avLst/>
                <a:gdLst>
                  <a:gd name="connsiteX0" fmla="*/ 0 w 2106674"/>
                  <a:gd name="connsiteY0" fmla="*/ 0 h 74923"/>
                  <a:gd name="connsiteX1" fmla="*/ 2106675 w 2106674"/>
                  <a:gd name="connsiteY1" fmla="*/ 0 h 74923"/>
                  <a:gd name="connsiteX2" fmla="*/ 2106675 w 2106674"/>
                  <a:gd name="connsiteY2" fmla="*/ 74924 h 74923"/>
                  <a:gd name="connsiteX3" fmla="*/ 0 w 2106674"/>
                  <a:gd name="connsiteY3" fmla="*/ 74924 h 74923"/>
                </a:gdLst>
                <a:ahLst/>
                <a:cxnLst>
                  <a:cxn ang="0">
                    <a:pos x="connsiteX0" y="connsiteY0"/>
                  </a:cxn>
                  <a:cxn ang="0">
                    <a:pos x="connsiteX1" y="connsiteY1"/>
                  </a:cxn>
                  <a:cxn ang="0">
                    <a:pos x="connsiteX2" y="connsiteY2"/>
                  </a:cxn>
                  <a:cxn ang="0">
                    <a:pos x="connsiteX3" y="connsiteY3"/>
                  </a:cxn>
                </a:cxnLst>
                <a:rect l="l" t="t" r="r" b="b"/>
                <a:pathLst>
                  <a:path w="2106674" h="74923">
                    <a:moveTo>
                      <a:pt x="0" y="0"/>
                    </a:moveTo>
                    <a:lnTo>
                      <a:pt x="2106675" y="0"/>
                    </a:lnTo>
                    <a:lnTo>
                      <a:pt x="2106675" y="74924"/>
                    </a:lnTo>
                    <a:lnTo>
                      <a:pt x="0" y="74924"/>
                    </a:ln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49" name="Freeform: Shape 48">
                <a:extLst>
                  <a:ext uri="{FF2B5EF4-FFF2-40B4-BE49-F238E27FC236}">
                    <a16:creationId xmlns:a16="http://schemas.microsoft.com/office/drawing/2014/main" id="{D474E144-5266-CC23-7EB2-ABA8EF633DB5}"/>
                  </a:ext>
                </a:extLst>
              </p:cNvPr>
              <p:cNvSpPr/>
              <p:nvPr/>
            </p:nvSpPr>
            <p:spPr>
              <a:xfrm>
                <a:off x="6948510" y="3119752"/>
                <a:ext cx="56377" cy="216046"/>
              </a:xfrm>
              <a:custGeom>
                <a:avLst/>
                <a:gdLst>
                  <a:gd name="connsiteX0" fmla="*/ 0 w 54761"/>
                  <a:gd name="connsiteY0" fmla="*/ 0 h 209854"/>
                  <a:gd name="connsiteX1" fmla="*/ 54761 w 54761"/>
                  <a:gd name="connsiteY1" fmla="*/ 0 h 209854"/>
                  <a:gd name="connsiteX2" fmla="*/ 54761 w 54761"/>
                  <a:gd name="connsiteY2" fmla="*/ 209855 h 209854"/>
                  <a:gd name="connsiteX3" fmla="*/ 0 w 54761"/>
                  <a:gd name="connsiteY3" fmla="*/ 209855 h 209854"/>
                </a:gdLst>
                <a:ahLst/>
                <a:cxnLst>
                  <a:cxn ang="0">
                    <a:pos x="connsiteX0" y="connsiteY0"/>
                  </a:cxn>
                  <a:cxn ang="0">
                    <a:pos x="connsiteX1" y="connsiteY1"/>
                  </a:cxn>
                  <a:cxn ang="0">
                    <a:pos x="connsiteX2" y="connsiteY2"/>
                  </a:cxn>
                  <a:cxn ang="0">
                    <a:pos x="connsiteX3" y="connsiteY3"/>
                  </a:cxn>
                </a:cxnLst>
                <a:rect l="l" t="t" r="r" b="b"/>
                <a:pathLst>
                  <a:path w="54761" h="209854">
                    <a:moveTo>
                      <a:pt x="0" y="0"/>
                    </a:moveTo>
                    <a:lnTo>
                      <a:pt x="54761" y="0"/>
                    </a:lnTo>
                    <a:lnTo>
                      <a:pt x="54761" y="209855"/>
                    </a:lnTo>
                    <a:lnTo>
                      <a:pt x="0" y="209855"/>
                    </a:lnTo>
                    <a:close/>
                  </a:path>
                </a:pathLst>
              </a:custGeom>
              <a:solidFill>
                <a:srgbClr val="78C2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50" name="Freeform: Shape 49">
                <a:extLst>
                  <a:ext uri="{FF2B5EF4-FFF2-40B4-BE49-F238E27FC236}">
                    <a16:creationId xmlns:a16="http://schemas.microsoft.com/office/drawing/2014/main" id="{99A37A73-E4D7-1098-0BDA-33B7E0ADD9B9}"/>
                  </a:ext>
                </a:extLst>
              </p:cNvPr>
              <p:cNvSpPr/>
              <p:nvPr/>
            </p:nvSpPr>
            <p:spPr>
              <a:xfrm>
                <a:off x="6948510" y="3560565"/>
                <a:ext cx="56377" cy="216046"/>
              </a:xfrm>
              <a:custGeom>
                <a:avLst/>
                <a:gdLst>
                  <a:gd name="connsiteX0" fmla="*/ 0 w 54761"/>
                  <a:gd name="connsiteY0" fmla="*/ 0 h 209854"/>
                  <a:gd name="connsiteX1" fmla="*/ 54761 w 54761"/>
                  <a:gd name="connsiteY1" fmla="*/ 0 h 209854"/>
                  <a:gd name="connsiteX2" fmla="*/ 54761 w 54761"/>
                  <a:gd name="connsiteY2" fmla="*/ 209854 h 209854"/>
                  <a:gd name="connsiteX3" fmla="*/ 0 w 54761"/>
                  <a:gd name="connsiteY3" fmla="*/ 209854 h 209854"/>
                </a:gdLst>
                <a:ahLst/>
                <a:cxnLst>
                  <a:cxn ang="0">
                    <a:pos x="connsiteX0" y="connsiteY0"/>
                  </a:cxn>
                  <a:cxn ang="0">
                    <a:pos x="connsiteX1" y="connsiteY1"/>
                  </a:cxn>
                  <a:cxn ang="0">
                    <a:pos x="connsiteX2" y="connsiteY2"/>
                  </a:cxn>
                  <a:cxn ang="0">
                    <a:pos x="connsiteX3" y="connsiteY3"/>
                  </a:cxn>
                </a:cxnLst>
                <a:rect l="l" t="t" r="r" b="b"/>
                <a:pathLst>
                  <a:path w="54761" h="209854">
                    <a:moveTo>
                      <a:pt x="0" y="0"/>
                    </a:moveTo>
                    <a:lnTo>
                      <a:pt x="54761" y="0"/>
                    </a:lnTo>
                    <a:lnTo>
                      <a:pt x="54761" y="209854"/>
                    </a:lnTo>
                    <a:lnTo>
                      <a:pt x="0" y="209854"/>
                    </a:lnTo>
                    <a:close/>
                  </a:path>
                </a:pathLst>
              </a:custGeom>
              <a:solidFill>
                <a:srgbClr val="78C2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51" name="Freeform: Shape 50">
                <a:extLst>
                  <a:ext uri="{FF2B5EF4-FFF2-40B4-BE49-F238E27FC236}">
                    <a16:creationId xmlns:a16="http://schemas.microsoft.com/office/drawing/2014/main" id="{95EF748B-D50A-6B99-89C8-0C695F9B99AA}"/>
                  </a:ext>
                </a:extLst>
              </p:cNvPr>
              <p:cNvSpPr/>
              <p:nvPr/>
            </p:nvSpPr>
            <p:spPr>
              <a:xfrm>
                <a:off x="6948510" y="4031419"/>
                <a:ext cx="56377" cy="216046"/>
              </a:xfrm>
              <a:custGeom>
                <a:avLst/>
                <a:gdLst>
                  <a:gd name="connsiteX0" fmla="*/ 0 w 54761"/>
                  <a:gd name="connsiteY0" fmla="*/ 0 h 209854"/>
                  <a:gd name="connsiteX1" fmla="*/ 54761 w 54761"/>
                  <a:gd name="connsiteY1" fmla="*/ 0 h 209854"/>
                  <a:gd name="connsiteX2" fmla="*/ 54761 w 54761"/>
                  <a:gd name="connsiteY2" fmla="*/ 209855 h 209854"/>
                  <a:gd name="connsiteX3" fmla="*/ 0 w 54761"/>
                  <a:gd name="connsiteY3" fmla="*/ 209855 h 209854"/>
                </a:gdLst>
                <a:ahLst/>
                <a:cxnLst>
                  <a:cxn ang="0">
                    <a:pos x="connsiteX0" y="connsiteY0"/>
                  </a:cxn>
                  <a:cxn ang="0">
                    <a:pos x="connsiteX1" y="connsiteY1"/>
                  </a:cxn>
                  <a:cxn ang="0">
                    <a:pos x="connsiteX2" y="connsiteY2"/>
                  </a:cxn>
                  <a:cxn ang="0">
                    <a:pos x="connsiteX3" y="connsiteY3"/>
                  </a:cxn>
                </a:cxnLst>
                <a:rect l="l" t="t" r="r" b="b"/>
                <a:pathLst>
                  <a:path w="54761" h="209854">
                    <a:moveTo>
                      <a:pt x="0" y="0"/>
                    </a:moveTo>
                    <a:lnTo>
                      <a:pt x="54761" y="0"/>
                    </a:lnTo>
                    <a:lnTo>
                      <a:pt x="54761" y="209855"/>
                    </a:lnTo>
                    <a:lnTo>
                      <a:pt x="0" y="209855"/>
                    </a:lnTo>
                    <a:close/>
                  </a:path>
                </a:pathLst>
              </a:custGeom>
              <a:solidFill>
                <a:srgbClr val="78C2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grpSp>
            <p:nvGrpSpPr>
              <p:cNvPr id="52" name="Graphic 5">
                <a:extLst>
                  <a:ext uri="{FF2B5EF4-FFF2-40B4-BE49-F238E27FC236}">
                    <a16:creationId xmlns:a16="http://schemas.microsoft.com/office/drawing/2014/main" id="{85C6C826-A072-912B-D6C1-75BE1BBBBFF5}"/>
                  </a:ext>
                </a:extLst>
              </p:cNvPr>
              <p:cNvGrpSpPr/>
              <p:nvPr/>
            </p:nvGrpSpPr>
            <p:grpSpPr>
              <a:xfrm>
                <a:off x="9802864" y="4035690"/>
                <a:ext cx="309065" cy="309065"/>
                <a:chOff x="7459206" y="4110239"/>
                <a:chExt cx="300208" cy="300208"/>
              </a:xfrm>
            </p:grpSpPr>
            <p:sp>
              <p:nvSpPr>
                <p:cNvPr id="53" name="Freeform: Shape 52">
                  <a:extLst>
                    <a:ext uri="{FF2B5EF4-FFF2-40B4-BE49-F238E27FC236}">
                      <a16:creationId xmlns:a16="http://schemas.microsoft.com/office/drawing/2014/main" id="{B9A099AA-56B9-9F09-50C9-CED074BA4508}"/>
                    </a:ext>
                  </a:extLst>
                </p:cNvPr>
                <p:cNvSpPr/>
                <p:nvPr/>
              </p:nvSpPr>
              <p:spPr>
                <a:xfrm>
                  <a:off x="7459206" y="4110239"/>
                  <a:ext cx="300208" cy="300208"/>
                </a:xfrm>
                <a:custGeom>
                  <a:avLst/>
                  <a:gdLst>
                    <a:gd name="connsiteX0" fmla="*/ 237390 w 300208"/>
                    <a:gd name="connsiteY0" fmla="*/ 0 h 300208"/>
                    <a:gd name="connsiteX1" fmla="*/ 300209 w 300208"/>
                    <a:gd name="connsiteY1" fmla="*/ 62819 h 300208"/>
                    <a:gd name="connsiteX2" fmla="*/ 300209 w 300208"/>
                    <a:gd name="connsiteY2" fmla="*/ 237390 h 300208"/>
                    <a:gd name="connsiteX3" fmla="*/ 237390 w 300208"/>
                    <a:gd name="connsiteY3" fmla="*/ 300209 h 300208"/>
                    <a:gd name="connsiteX4" fmla="*/ 62820 w 300208"/>
                    <a:gd name="connsiteY4" fmla="*/ 300209 h 300208"/>
                    <a:gd name="connsiteX5" fmla="*/ 0 w 300208"/>
                    <a:gd name="connsiteY5" fmla="*/ 237390 h 300208"/>
                    <a:gd name="connsiteX6" fmla="*/ 0 w 300208"/>
                    <a:gd name="connsiteY6" fmla="*/ 62819 h 300208"/>
                    <a:gd name="connsiteX7" fmla="*/ 62820 w 300208"/>
                    <a:gd name="connsiteY7" fmla="*/ 0 h 300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208" h="300208">
                      <a:moveTo>
                        <a:pt x="237390" y="0"/>
                      </a:moveTo>
                      <a:cubicBezTo>
                        <a:pt x="272084" y="0"/>
                        <a:pt x="300209" y="28125"/>
                        <a:pt x="300209" y="62819"/>
                      </a:cubicBezTo>
                      <a:lnTo>
                        <a:pt x="300209" y="237390"/>
                      </a:lnTo>
                      <a:cubicBezTo>
                        <a:pt x="300209" y="272084"/>
                        <a:pt x="272084" y="300209"/>
                        <a:pt x="237390" y="300209"/>
                      </a:cubicBezTo>
                      <a:lnTo>
                        <a:pt x="62820" y="300209"/>
                      </a:lnTo>
                      <a:cubicBezTo>
                        <a:pt x="28125" y="300209"/>
                        <a:pt x="0" y="272084"/>
                        <a:pt x="0" y="237390"/>
                      </a:cubicBezTo>
                      <a:lnTo>
                        <a:pt x="0" y="62819"/>
                      </a:lnTo>
                      <a:cubicBezTo>
                        <a:pt x="0" y="28125"/>
                        <a:pt x="28125" y="0"/>
                        <a:pt x="62820" y="0"/>
                      </a:cubicBezTo>
                      <a:close/>
                    </a:path>
                  </a:pathLst>
                </a:custGeom>
                <a:solidFill>
                  <a:srgbClr val="78C2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54" name="Freeform: Shape 53">
                  <a:extLst>
                    <a:ext uri="{FF2B5EF4-FFF2-40B4-BE49-F238E27FC236}">
                      <a16:creationId xmlns:a16="http://schemas.microsoft.com/office/drawing/2014/main" id="{DBEE8DC1-B35E-9A70-0A80-FF519192FCD9}"/>
                    </a:ext>
                  </a:extLst>
                </p:cNvPr>
                <p:cNvSpPr/>
                <p:nvPr/>
              </p:nvSpPr>
              <p:spPr>
                <a:xfrm>
                  <a:off x="7518785" y="4194257"/>
                  <a:ext cx="181061" cy="132249"/>
                </a:xfrm>
                <a:custGeom>
                  <a:avLst/>
                  <a:gdLst>
                    <a:gd name="connsiteX0" fmla="*/ 81010 w 181061"/>
                    <a:gd name="connsiteY0" fmla="*/ 132215 h 132249"/>
                    <a:gd name="connsiteX1" fmla="*/ 5126 w 181061"/>
                    <a:gd name="connsiteY1" fmla="*/ 66069 h 132249"/>
                    <a:gd name="connsiteX2" fmla="*/ 3686 w 181061"/>
                    <a:gd name="connsiteY2" fmla="*/ 44981 h 132249"/>
                    <a:gd name="connsiteX3" fmla="*/ 24774 w 181061"/>
                    <a:gd name="connsiteY3" fmla="*/ 43541 h 132249"/>
                    <a:gd name="connsiteX4" fmla="*/ 78439 w 181061"/>
                    <a:gd name="connsiteY4" fmla="*/ 90347 h 132249"/>
                    <a:gd name="connsiteX5" fmla="*/ 154973 w 181061"/>
                    <a:gd name="connsiteY5" fmla="*/ 4965 h 132249"/>
                    <a:gd name="connsiteX6" fmla="*/ 176096 w 181061"/>
                    <a:gd name="connsiteY6" fmla="*/ 3799 h 132249"/>
                    <a:gd name="connsiteX7" fmla="*/ 177262 w 181061"/>
                    <a:gd name="connsiteY7" fmla="*/ 24921 h 132249"/>
                    <a:gd name="connsiteX8" fmla="*/ 81045 w 181061"/>
                    <a:gd name="connsiteY8" fmla="*/ 132249 h 132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061" h="132249">
                      <a:moveTo>
                        <a:pt x="81010" y="132215"/>
                      </a:moveTo>
                      <a:lnTo>
                        <a:pt x="5126" y="66069"/>
                      </a:lnTo>
                      <a:cubicBezTo>
                        <a:pt x="-1115" y="60652"/>
                        <a:pt x="-1732" y="51188"/>
                        <a:pt x="3686" y="44981"/>
                      </a:cubicBezTo>
                      <a:cubicBezTo>
                        <a:pt x="9104" y="38740"/>
                        <a:pt x="18568" y="38123"/>
                        <a:pt x="24774" y="43541"/>
                      </a:cubicBezTo>
                      <a:lnTo>
                        <a:pt x="78439" y="90347"/>
                      </a:lnTo>
                      <a:lnTo>
                        <a:pt x="154973" y="4965"/>
                      </a:lnTo>
                      <a:cubicBezTo>
                        <a:pt x="160494" y="-1173"/>
                        <a:pt x="169924" y="-1687"/>
                        <a:pt x="176096" y="3799"/>
                      </a:cubicBezTo>
                      <a:cubicBezTo>
                        <a:pt x="182234" y="9320"/>
                        <a:pt x="182748" y="18749"/>
                        <a:pt x="177262" y="24921"/>
                      </a:cubicBezTo>
                      <a:lnTo>
                        <a:pt x="81045" y="132249"/>
                      </a:lnTo>
                      <a:close/>
                    </a:path>
                  </a:pathLst>
                </a:custGeom>
                <a:solidFill>
                  <a:srgbClr val="F3F3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grpSp>
          <p:sp>
            <p:nvSpPr>
              <p:cNvPr id="55" name="Freeform: Shape 54">
                <a:extLst>
                  <a:ext uri="{FF2B5EF4-FFF2-40B4-BE49-F238E27FC236}">
                    <a16:creationId xmlns:a16="http://schemas.microsoft.com/office/drawing/2014/main" id="{AFE58A58-6C7A-9495-9FB5-638365C90DE4}"/>
                  </a:ext>
                </a:extLst>
              </p:cNvPr>
              <p:cNvSpPr/>
              <p:nvPr/>
            </p:nvSpPr>
            <p:spPr>
              <a:xfrm>
                <a:off x="9802723" y="3564659"/>
                <a:ext cx="309384" cy="309384"/>
              </a:xfrm>
              <a:custGeom>
                <a:avLst/>
                <a:gdLst>
                  <a:gd name="connsiteX0" fmla="*/ 232074 w 300517"/>
                  <a:gd name="connsiteY0" fmla="*/ 300518 h 300517"/>
                  <a:gd name="connsiteX1" fmla="*/ 68408 w 300517"/>
                  <a:gd name="connsiteY1" fmla="*/ 300518 h 300517"/>
                  <a:gd name="connsiteX2" fmla="*/ 0 w 300517"/>
                  <a:gd name="connsiteY2" fmla="*/ 232109 h 300517"/>
                  <a:gd name="connsiteX3" fmla="*/ 0 w 300517"/>
                  <a:gd name="connsiteY3" fmla="*/ 68443 h 300517"/>
                  <a:gd name="connsiteX4" fmla="*/ 68408 w 300517"/>
                  <a:gd name="connsiteY4" fmla="*/ 0 h 300517"/>
                  <a:gd name="connsiteX5" fmla="*/ 232074 w 300517"/>
                  <a:gd name="connsiteY5" fmla="*/ 0 h 300517"/>
                  <a:gd name="connsiteX6" fmla="*/ 300517 w 300517"/>
                  <a:gd name="connsiteY6" fmla="*/ 68443 h 300517"/>
                  <a:gd name="connsiteX7" fmla="*/ 300517 w 300517"/>
                  <a:gd name="connsiteY7" fmla="*/ 232109 h 300517"/>
                  <a:gd name="connsiteX8" fmla="*/ 232074 w 300517"/>
                  <a:gd name="connsiteY8" fmla="*/ 300518 h 300517"/>
                  <a:gd name="connsiteX9" fmla="*/ 68408 w 300517"/>
                  <a:gd name="connsiteY9" fmla="*/ 19065 h 300517"/>
                  <a:gd name="connsiteX10" fmla="*/ 19031 w 300517"/>
                  <a:gd name="connsiteY10" fmla="*/ 68443 h 300517"/>
                  <a:gd name="connsiteX11" fmla="*/ 19031 w 300517"/>
                  <a:gd name="connsiteY11" fmla="*/ 232109 h 300517"/>
                  <a:gd name="connsiteX12" fmla="*/ 68408 w 300517"/>
                  <a:gd name="connsiteY12" fmla="*/ 281487 h 300517"/>
                  <a:gd name="connsiteX13" fmla="*/ 232074 w 300517"/>
                  <a:gd name="connsiteY13" fmla="*/ 281487 h 300517"/>
                  <a:gd name="connsiteX14" fmla="*/ 281453 w 300517"/>
                  <a:gd name="connsiteY14" fmla="*/ 232109 h 300517"/>
                  <a:gd name="connsiteX15" fmla="*/ 281453 w 300517"/>
                  <a:gd name="connsiteY15" fmla="*/ 68443 h 300517"/>
                  <a:gd name="connsiteX16" fmla="*/ 232074 w 300517"/>
                  <a:gd name="connsiteY16" fmla="*/ 19065 h 300517"/>
                  <a:gd name="connsiteX17" fmla="*/ 68408 w 300517"/>
                  <a:gd name="connsiteY17" fmla="*/ 19065 h 300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0517" h="300517">
                    <a:moveTo>
                      <a:pt x="232074" y="300518"/>
                    </a:moveTo>
                    <a:lnTo>
                      <a:pt x="68408" y="300518"/>
                    </a:lnTo>
                    <a:cubicBezTo>
                      <a:pt x="30689" y="300518"/>
                      <a:pt x="0" y="269828"/>
                      <a:pt x="0" y="232109"/>
                    </a:cubicBezTo>
                    <a:lnTo>
                      <a:pt x="0" y="68443"/>
                    </a:lnTo>
                    <a:cubicBezTo>
                      <a:pt x="0" y="30724"/>
                      <a:pt x="30689" y="0"/>
                      <a:pt x="68408" y="0"/>
                    </a:cubicBezTo>
                    <a:lnTo>
                      <a:pt x="232074" y="0"/>
                    </a:lnTo>
                    <a:cubicBezTo>
                      <a:pt x="269794" y="0"/>
                      <a:pt x="300517" y="30689"/>
                      <a:pt x="300517" y="68443"/>
                    </a:cubicBezTo>
                    <a:lnTo>
                      <a:pt x="300517" y="232109"/>
                    </a:lnTo>
                    <a:cubicBezTo>
                      <a:pt x="300517" y="269828"/>
                      <a:pt x="269828" y="300518"/>
                      <a:pt x="232074" y="300518"/>
                    </a:cubicBezTo>
                    <a:close/>
                    <a:moveTo>
                      <a:pt x="68408" y="19065"/>
                    </a:moveTo>
                    <a:cubicBezTo>
                      <a:pt x="41182" y="19065"/>
                      <a:pt x="19031" y="41217"/>
                      <a:pt x="19031" y="68443"/>
                    </a:cubicBezTo>
                    <a:lnTo>
                      <a:pt x="19031" y="232109"/>
                    </a:lnTo>
                    <a:cubicBezTo>
                      <a:pt x="19031" y="259335"/>
                      <a:pt x="41182" y="281487"/>
                      <a:pt x="68408" y="281487"/>
                    </a:cubicBezTo>
                    <a:lnTo>
                      <a:pt x="232074" y="281487"/>
                    </a:lnTo>
                    <a:cubicBezTo>
                      <a:pt x="259301" y="281487"/>
                      <a:pt x="281453" y="259335"/>
                      <a:pt x="281453" y="232109"/>
                    </a:cubicBezTo>
                    <a:lnTo>
                      <a:pt x="281453" y="68443"/>
                    </a:lnTo>
                    <a:cubicBezTo>
                      <a:pt x="281453" y="41217"/>
                      <a:pt x="259301" y="19065"/>
                      <a:pt x="232074" y="19065"/>
                    </a:cubicBezTo>
                    <a:lnTo>
                      <a:pt x="68408" y="19065"/>
                    </a:lnTo>
                    <a:close/>
                  </a:path>
                </a:pathLst>
              </a:custGeom>
              <a:solidFill>
                <a:srgbClr val="78C2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56" name="Freeform: Shape 55">
                <a:extLst>
                  <a:ext uri="{FF2B5EF4-FFF2-40B4-BE49-F238E27FC236}">
                    <a16:creationId xmlns:a16="http://schemas.microsoft.com/office/drawing/2014/main" id="{1EC1B2B6-AF2E-7AD2-6C43-50F3B45DD91F}"/>
                  </a:ext>
                </a:extLst>
              </p:cNvPr>
              <p:cNvSpPr/>
              <p:nvPr/>
            </p:nvSpPr>
            <p:spPr>
              <a:xfrm>
                <a:off x="10268070" y="3093841"/>
                <a:ext cx="309347" cy="309349"/>
              </a:xfrm>
              <a:custGeom>
                <a:avLst/>
                <a:gdLst>
                  <a:gd name="connsiteX0" fmla="*/ 232074 w 300482"/>
                  <a:gd name="connsiteY0" fmla="*/ 300483 h 300483"/>
                  <a:gd name="connsiteX1" fmla="*/ 68408 w 300482"/>
                  <a:gd name="connsiteY1" fmla="*/ 300483 h 300483"/>
                  <a:gd name="connsiteX2" fmla="*/ 0 w 300482"/>
                  <a:gd name="connsiteY2" fmla="*/ 232075 h 300483"/>
                  <a:gd name="connsiteX3" fmla="*/ 0 w 300482"/>
                  <a:gd name="connsiteY3" fmla="*/ 68409 h 300483"/>
                  <a:gd name="connsiteX4" fmla="*/ 68408 w 300482"/>
                  <a:gd name="connsiteY4" fmla="*/ 0 h 300483"/>
                  <a:gd name="connsiteX5" fmla="*/ 232074 w 300482"/>
                  <a:gd name="connsiteY5" fmla="*/ 0 h 300483"/>
                  <a:gd name="connsiteX6" fmla="*/ 300483 w 300482"/>
                  <a:gd name="connsiteY6" fmla="*/ 68409 h 300483"/>
                  <a:gd name="connsiteX7" fmla="*/ 300483 w 300482"/>
                  <a:gd name="connsiteY7" fmla="*/ 232075 h 300483"/>
                  <a:gd name="connsiteX8" fmla="*/ 232074 w 300482"/>
                  <a:gd name="connsiteY8" fmla="*/ 300483 h 300483"/>
                  <a:gd name="connsiteX9" fmla="*/ 68408 w 300482"/>
                  <a:gd name="connsiteY9" fmla="*/ 19031 h 300483"/>
                  <a:gd name="connsiteX10" fmla="*/ 19030 w 300482"/>
                  <a:gd name="connsiteY10" fmla="*/ 68409 h 300483"/>
                  <a:gd name="connsiteX11" fmla="*/ 19030 w 300482"/>
                  <a:gd name="connsiteY11" fmla="*/ 232075 h 300483"/>
                  <a:gd name="connsiteX12" fmla="*/ 68408 w 300482"/>
                  <a:gd name="connsiteY12" fmla="*/ 281452 h 300483"/>
                  <a:gd name="connsiteX13" fmla="*/ 232074 w 300482"/>
                  <a:gd name="connsiteY13" fmla="*/ 281452 h 300483"/>
                  <a:gd name="connsiteX14" fmla="*/ 281452 w 300482"/>
                  <a:gd name="connsiteY14" fmla="*/ 232075 h 300483"/>
                  <a:gd name="connsiteX15" fmla="*/ 281452 w 300482"/>
                  <a:gd name="connsiteY15" fmla="*/ 68409 h 300483"/>
                  <a:gd name="connsiteX16" fmla="*/ 232074 w 300482"/>
                  <a:gd name="connsiteY16" fmla="*/ 19031 h 300483"/>
                  <a:gd name="connsiteX17" fmla="*/ 68408 w 300482"/>
                  <a:gd name="connsiteY17" fmla="*/ 19031 h 300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0482" h="300483">
                    <a:moveTo>
                      <a:pt x="232074" y="300483"/>
                    </a:moveTo>
                    <a:lnTo>
                      <a:pt x="68408" y="300483"/>
                    </a:lnTo>
                    <a:cubicBezTo>
                      <a:pt x="30689" y="300483"/>
                      <a:pt x="0" y="269794"/>
                      <a:pt x="0" y="232075"/>
                    </a:cubicBezTo>
                    <a:lnTo>
                      <a:pt x="0" y="68409"/>
                    </a:lnTo>
                    <a:cubicBezTo>
                      <a:pt x="0" y="30690"/>
                      <a:pt x="30689" y="0"/>
                      <a:pt x="68408" y="0"/>
                    </a:cubicBezTo>
                    <a:lnTo>
                      <a:pt x="232074" y="0"/>
                    </a:lnTo>
                    <a:cubicBezTo>
                      <a:pt x="269794" y="0"/>
                      <a:pt x="300483" y="30690"/>
                      <a:pt x="300483" y="68409"/>
                    </a:cubicBezTo>
                    <a:lnTo>
                      <a:pt x="300483" y="232075"/>
                    </a:lnTo>
                    <a:cubicBezTo>
                      <a:pt x="300483" y="269794"/>
                      <a:pt x="269794" y="300483"/>
                      <a:pt x="232074" y="300483"/>
                    </a:cubicBezTo>
                    <a:close/>
                    <a:moveTo>
                      <a:pt x="68408" y="19031"/>
                    </a:moveTo>
                    <a:cubicBezTo>
                      <a:pt x="41182" y="19031"/>
                      <a:pt x="19030" y="41182"/>
                      <a:pt x="19030" y="68409"/>
                    </a:cubicBezTo>
                    <a:lnTo>
                      <a:pt x="19030" y="232075"/>
                    </a:lnTo>
                    <a:cubicBezTo>
                      <a:pt x="19030" y="259301"/>
                      <a:pt x="41182" y="281452"/>
                      <a:pt x="68408" y="281452"/>
                    </a:cubicBezTo>
                    <a:lnTo>
                      <a:pt x="232074" y="281452"/>
                    </a:lnTo>
                    <a:cubicBezTo>
                      <a:pt x="259301" y="281452"/>
                      <a:pt x="281452" y="259301"/>
                      <a:pt x="281452" y="232075"/>
                    </a:cubicBezTo>
                    <a:lnTo>
                      <a:pt x="281452" y="68409"/>
                    </a:lnTo>
                    <a:cubicBezTo>
                      <a:pt x="281452" y="41182"/>
                      <a:pt x="259301" y="19031"/>
                      <a:pt x="232074" y="19031"/>
                    </a:cubicBezTo>
                    <a:lnTo>
                      <a:pt x="68408" y="19031"/>
                    </a:lnTo>
                    <a:close/>
                  </a:path>
                </a:pathLst>
              </a:custGeom>
              <a:solidFill>
                <a:srgbClr val="78C2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57" name="Freeform: Shape 56">
                <a:extLst>
                  <a:ext uri="{FF2B5EF4-FFF2-40B4-BE49-F238E27FC236}">
                    <a16:creationId xmlns:a16="http://schemas.microsoft.com/office/drawing/2014/main" id="{62A2B72D-B3FB-31A9-BE70-5D3036D3753D}"/>
                  </a:ext>
                </a:extLst>
              </p:cNvPr>
              <p:cNvSpPr/>
              <p:nvPr/>
            </p:nvSpPr>
            <p:spPr>
              <a:xfrm>
                <a:off x="10268070" y="4035549"/>
                <a:ext cx="309347" cy="309349"/>
              </a:xfrm>
              <a:custGeom>
                <a:avLst/>
                <a:gdLst>
                  <a:gd name="connsiteX0" fmla="*/ 232074 w 300482"/>
                  <a:gd name="connsiteY0" fmla="*/ 300483 h 300483"/>
                  <a:gd name="connsiteX1" fmla="*/ 68408 w 300482"/>
                  <a:gd name="connsiteY1" fmla="*/ 300483 h 300483"/>
                  <a:gd name="connsiteX2" fmla="*/ 0 w 300482"/>
                  <a:gd name="connsiteY2" fmla="*/ 232075 h 300483"/>
                  <a:gd name="connsiteX3" fmla="*/ 0 w 300482"/>
                  <a:gd name="connsiteY3" fmla="*/ 68408 h 300483"/>
                  <a:gd name="connsiteX4" fmla="*/ 68408 w 300482"/>
                  <a:gd name="connsiteY4" fmla="*/ 0 h 300483"/>
                  <a:gd name="connsiteX5" fmla="*/ 232074 w 300482"/>
                  <a:gd name="connsiteY5" fmla="*/ 0 h 300483"/>
                  <a:gd name="connsiteX6" fmla="*/ 300483 w 300482"/>
                  <a:gd name="connsiteY6" fmla="*/ 68408 h 300483"/>
                  <a:gd name="connsiteX7" fmla="*/ 300483 w 300482"/>
                  <a:gd name="connsiteY7" fmla="*/ 232075 h 300483"/>
                  <a:gd name="connsiteX8" fmla="*/ 232074 w 300482"/>
                  <a:gd name="connsiteY8" fmla="*/ 300483 h 300483"/>
                  <a:gd name="connsiteX9" fmla="*/ 68408 w 300482"/>
                  <a:gd name="connsiteY9" fmla="*/ 19031 h 300483"/>
                  <a:gd name="connsiteX10" fmla="*/ 19030 w 300482"/>
                  <a:gd name="connsiteY10" fmla="*/ 68408 h 300483"/>
                  <a:gd name="connsiteX11" fmla="*/ 19030 w 300482"/>
                  <a:gd name="connsiteY11" fmla="*/ 232075 h 300483"/>
                  <a:gd name="connsiteX12" fmla="*/ 68408 w 300482"/>
                  <a:gd name="connsiteY12" fmla="*/ 281452 h 300483"/>
                  <a:gd name="connsiteX13" fmla="*/ 232074 w 300482"/>
                  <a:gd name="connsiteY13" fmla="*/ 281452 h 300483"/>
                  <a:gd name="connsiteX14" fmla="*/ 281452 w 300482"/>
                  <a:gd name="connsiteY14" fmla="*/ 232075 h 300483"/>
                  <a:gd name="connsiteX15" fmla="*/ 281452 w 300482"/>
                  <a:gd name="connsiteY15" fmla="*/ 68408 h 300483"/>
                  <a:gd name="connsiteX16" fmla="*/ 232074 w 300482"/>
                  <a:gd name="connsiteY16" fmla="*/ 19031 h 300483"/>
                  <a:gd name="connsiteX17" fmla="*/ 68408 w 300482"/>
                  <a:gd name="connsiteY17" fmla="*/ 19031 h 300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0482" h="300483">
                    <a:moveTo>
                      <a:pt x="232074" y="300483"/>
                    </a:moveTo>
                    <a:lnTo>
                      <a:pt x="68408" y="300483"/>
                    </a:lnTo>
                    <a:cubicBezTo>
                      <a:pt x="30689" y="300483"/>
                      <a:pt x="0" y="269794"/>
                      <a:pt x="0" y="232075"/>
                    </a:cubicBezTo>
                    <a:lnTo>
                      <a:pt x="0" y="68408"/>
                    </a:lnTo>
                    <a:cubicBezTo>
                      <a:pt x="0" y="30689"/>
                      <a:pt x="30689" y="0"/>
                      <a:pt x="68408" y="0"/>
                    </a:cubicBezTo>
                    <a:lnTo>
                      <a:pt x="232074" y="0"/>
                    </a:lnTo>
                    <a:cubicBezTo>
                      <a:pt x="269794" y="0"/>
                      <a:pt x="300483" y="30689"/>
                      <a:pt x="300483" y="68408"/>
                    </a:cubicBezTo>
                    <a:lnTo>
                      <a:pt x="300483" y="232075"/>
                    </a:lnTo>
                    <a:cubicBezTo>
                      <a:pt x="300483" y="269794"/>
                      <a:pt x="269794" y="300483"/>
                      <a:pt x="232074" y="300483"/>
                    </a:cubicBezTo>
                    <a:close/>
                    <a:moveTo>
                      <a:pt x="68408" y="19031"/>
                    </a:moveTo>
                    <a:cubicBezTo>
                      <a:pt x="41182" y="19031"/>
                      <a:pt x="19030" y="41182"/>
                      <a:pt x="19030" y="68408"/>
                    </a:cubicBezTo>
                    <a:lnTo>
                      <a:pt x="19030" y="232075"/>
                    </a:lnTo>
                    <a:cubicBezTo>
                      <a:pt x="19030" y="259301"/>
                      <a:pt x="41182" y="281452"/>
                      <a:pt x="68408" y="281452"/>
                    </a:cubicBezTo>
                    <a:lnTo>
                      <a:pt x="232074" y="281452"/>
                    </a:lnTo>
                    <a:cubicBezTo>
                      <a:pt x="259301" y="281452"/>
                      <a:pt x="281452" y="259301"/>
                      <a:pt x="281452" y="232075"/>
                    </a:cubicBezTo>
                    <a:lnTo>
                      <a:pt x="281452" y="68408"/>
                    </a:lnTo>
                    <a:cubicBezTo>
                      <a:pt x="281452" y="41182"/>
                      <a:pt x="259301" y="19031"/>
                      <a:pt x="232074" y="19031"/>
                    </a:cubicBezTo>
                    <a:lnTo>
                      <a:pt x="68408" y="19031"/>
                    </a:lnTo>
                    <a:close/>
                  </a:path>
                </a:pathLst>
              </a:custGeom>
              <a:solidFill>
                <a:srgbClr val="78C2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grpSp>
            <p:nvGrpSpPr>
              <p:cNvPr id="58" name="Graphic 5">
                <a:extLst>
                  <a:ext uri="{FF2B5EF4-FFF2-40B4-BE49-F238E27FC236}">
                    <a16:creationId xmlns:a16="http://schemas.microsoft.com/office/drawing/2014/main" id="{F6154C62-544E-2246-E1EC-7DEAB976C3F2}"/>
                  </a:ext>
                </a:extLst>
              </p:cNvPr>
              <p:cNvGrpSpPr/>
              <p:nvPr/>
            </p:nvGrpSpPr>
            <p:grpSpPr>
              <a:xfrm>
                <a:off x="10268211" y="3564836"/>
                <a:ext cx="309066" cy="309065"/>
                <a:chOff x="7911217" y="3652879"/>
                <a:chExt cx="300209" cy="300208"/>
              </a:xfrm>
            </p:grpSpPr>
            <p:sp>
              <p:nvSpPr>
                <p:cNvPr id="59" name="Freeform: Shape 58">
                  <a:extLst>
                    <a:ext uri="{FF2B5EF4-FFF2-40B4-BE49-F238E27FC236}">
                      <a16:creationId xmlns:a16="http://schemas.microsoft.com/office/drawing/2014/main" id="{302546D8-E5B5-7940-5613-D5DEB0D0A21A}"/>
                    </a:ext>
                  </a:extLst>
                </p:cNvPr>
                <p:cNvSpPr/>
                <p:nvPr/>
              </p:nvSpPr>
              <p:spPr>
                <a:xfrm>
                  <a:off x="7911217" y="3652879"/>
                  <a:ext cx="300209" cy="300208"/>
                </a:xfrm>
                <a:custGeom>
                  <a:avLst/>
                  <a:gdLst>
                    <a:gd name="connsiteX0" fmla="*/ 62820 w 300209"/>
                    <a:gd name="connsiteY0" fmla="*/ 0 h 300208"/>
                    <a:gd name="connsiteX1" fmla="*/ 237390 w 300209"/>
                    <a:gd name="connsiteY1" fmla="*/ 0 h 300208"/>
                    <a:gd name="connsiteX2" fmla="*/ 300209 w 300209"/>
                    <a:gd name="connsiteY2" fmla="*/ 62819 h 300208"/>
                    <a:gd name="connsiteX3" fmla="*/ 300209 w 300209"/>
                    <a:gd name="connsiteY3" fmla="*/ 237390 h 300208"/>
                    <a:gd name="connsiteX4" fmla="*/ 237390 w 300209"/>
                    <a:gd name="connsiteY4" fmla="*/ 300209 h 300208"/>
                    <a:gd name="connsiteX5" fmla="*/ 62820 w 300209"/>
                    <a:gd name="connsiteY5" fmla="*/ 300209 h 300208"/>
                    <a:gd name="connsiteX6" fmla="*/ 0 w 300209"/>
                    <a:gd name="connsiteY6" fmla="*/ 237390 h 300208"/>
                    <a:gd name="connsiteX7" fmla="*/ 0 w 300209"/>
                    <a:gd name="connsiteY7" fmla="*/ 62819 h 300208"/>
                    <a:gd name="connsiteX8" fmla="*/ 62820 w 300209"/>
                    <a:gd name="connsiteY8" fmla="*/ 0 h 300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09" h="300208">
                      <a:moveTo>
                        <a:pt x="62820" y="0"/>
                      </a:moveTo>
                      <a:lnTo>
                        <a:pt x="237390" y="0"/>
                      </a:lnTo>
                      <a:cubicBezTo>
                        <a:pt x="272057" y="0"/>
                        <a:pt x="300209" y="28152"/>
                        <a:pt x="300209" y="62819"/>
                      </a:cubicBezTo>
                      <a:lnTo>
                        <a:pt x="300209" y="237390"/>
                      </a:lnTo>
                      <a:cubicBezTo>
                        <a:pt x="300209" y="272057"/>
                        <a:pt x="272057" y="300209"/>
                        <a:pt x="237390" y="300209"/>
                      </a:cubicBezTo>
                      <a:lnTo>
                        <a:pt x="62820" y="300209"/>
                      </a:lnTo>
                      <a:cubicBezTo>
                        <a:pt x="28153" y="300209"/>
                        <a:pt x="0" y="272057"/>
                        <a:pt x="0" y="237390"/>
                      </a:cubicBezTo>
                      <a:lnTo>
                        <a:pt x="0" y="62819"/>
                      </a:lnTo>
                      <a:cubicBezTo>
                        <a:pt x="0" y="28152"/>
                        <a:pt x="28153" y="0"/>
                        <a:pt x="62820" y="0"/>
                      </a:cubicBezTo>
                      <a:close/>
                    </a:path>
                  </a:pathLst>
                </a:custGeom>
                <a:solidFill>
                  <a:srgbClr val="78C2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60" name="Freeform: Shape 59">
                  <a:extLst>
                    <a:ext uri="{FF2B5EF4-FFF2-40B4-BE49-F238E27FC236}">
                      <a16:creationId xmlns:a16="http://schemas.microsoft.com/office/drawing/2014/main" id="{6F376614-27AB-B877-E8E4-AB126C766AAE}"/>
                    </a:ext>
                  </a:extLst>
                </p:cNvPr>
                <p:cNvSpPr/>
                <p:nvPr/>
              </p:nvSpPr>
              <p:spPr>
                <a:xfrm>
                  <a:off x="7970808" y="3736862"/>
                  <a:ext cx="181049" cy="132249"/>
                </a:xfrm>
                <a:custGeom>
                  <a:avLst/>
                  <a:gdLst>
                    <a:gd name="connsiteX0" fmla="*/ 80998 w 181049"/>
                    <a:gd name="connsiteY0" fmla="*/ 132249 h 132249"/>
                    <a:gd name="connsiteX1" fmla="*/ 5114 w 181049"/>
                    <a:gd name="connsiteY1" fmla="*/ 66070 h 132249"/>
                    <a:gd name="connsiteX2" fmla="*/ 3675 w 181049"/>
                    <a:gd name="connsiteY2" fmla="*/ 44981 h 132249"/>
                    <a:gd name="connsiteX3" fmla="*/ 24763 w 181049"/>
                    <a:gd name="connsiteY3" fmla="*/ 43541 h 132249"/>
                    <a:gd name="connsiteX4" fmla="*/ 78426 w 181049"/>
                    <a:gd name="connsiteY4" fmla="*/ 90347 h 132249"/>
                    <a:gd name="connsiteX5" fmla="*/ 154962 w 181049"/>
                    <a:gd name="connsiteY5" fmla="*/ 4965 h 132249"/>
                    <a:gd name="connsiteX6" fmla="*/ 176084 w 181049"/>
                    <a:gd name="connsiteY6" fmla="*/ 3799 h 132249"/>
                    <a:gd name="connsiteX7" fmla="*/ 177250 w 181049"/>
                    <a:gd name="connsiteY7" fmla="*/ 24922 h 132249"/>
                    <a:gd name="connsiteX8" fmla="*/ 81032 w 181049"/>
                    <a:gd name="connsiteY8" fmla="*/ 132249 h 132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049" h="132249">
                      <a:moveTo>
                        <a:pt x="80998" y="132249"/>
                      </a:moveTo>
                      <a:lnTo>
                        <a:pt x="5114" y="66070"/>
                      </a:lnTo>
                      <a:cubicBezTo>
                        <a:pt x="-1092" y="60652"/>
                        <a:pt x="-1744" y="51188"/>
                        <a:pt x="3675" y="44981"/>
                      </a:cubicBezTo>
                      <a:cubicBezTo>
                        <a:pt x="9092" y="38740"/>
                        <a:pt x="18556" y="38123"/>
                        <a:pt x="24763" y="43541"/>
                      </a:cubicBezTo>
                      <a:lnTo>
                        <a:pt x="78426" y="90347"/>
                      </a:lnTo>
                      <a:lnTo>
                        <a:pt x="154962" y="4965"/>
                      </a:lnTo>
                      <a:cubicBezTo>
                        <a:pt x="160483" y="-1173"/>
                        <a:pt x="169912" y="-1687"/>
                        <a:pt x="176084" y="3799"/>
                      </a:cubicBezTo>
                      <a:cubicBezTo>
                        <a:pt x="182222" y="9320"/>
                        <a:pt x="182737" y="18749"/>
                        <a:pt x="177250" y="24922"/>
                      </a:cubicBezTo>
                      <a:lnTo>
                        <a:pt x="81032" y="132249"/>
                      </a:lnTo>
                      <a:close/>
                    </a:path>
                  </a:pathLst>
                </a:custGeom>
                <a:solidFill>
                  <a:srgbClr val="F3F3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grpSp>
          <p:grpSp>
            <p:nvGrpSpPr>
              <p:cNvPr id="61" name="Graphic 5">
                <a:extLst>
                  <a:ext uri="{FF2B5EF4-FFF2-40B4-BE49-F238E27FC236}">
                    <a16:creationId xmlns:a16="http://schemas.microsoft.com/office/drawing/2014/main" id="{3AB419F3-B34B-EAC7-9A0E-7D4CFC73270F}"/>
                  </a:ext>
                </a:extLst>
              </p:cNvPr>
              <p:cNvGrpSpPr/>
              <p:nvPr/>
            </p:nvGrpSpPr>
            <p:grpSpPr>
              <a:xfrm>
                <a:off x="9802864" y="3093982"/>
                <a:ext cx="309065" cy="309065"/>
                <a:chOff x="7459206" y="3195519"/>
                <a:chExt cx="300208" cy="300208"/>
              </a:xfrm>
            </p:grpSpPr>
            <p:sp>
              <p:nvSpPr>
                <p:cNvPr id="62" name="Freeform: Shape 61">
                  <a:extLst>
                    <a:ext uri="{FF2B5EF4-FFF2-40B4-BE49-F238E27FC236}">
                      <a16:creationId xmlns:a16="http://schemas.microsoft.com/office/drawing/2014/main" id="{818D026B-66FC-A2B7-38C8-11827142DC3E}"/>
                    </a:ext>
                  </a:extLst>
                </p:cNvPr>
                <p:cNvSpPr/>
                <p:nvPr/>
              </p:nvSpPr>
              <p:spPr>
                <a:xfrm>
                  <a:off x="7459206" y="3195519"/>
                  <a:ext cx="300208" cy="300208"/>
                </a:xfrm>
                <a:custGeom>
                  <a:avLst/>
                  <a:gdLst>
                    <a:gd name="connsiteX0" fmla="*/ 237390 w 300208"/>
                    <a:gd name="connsiteY0" fmla="*/ 0 h 300208"/>
                    <a:gd name="connsiteX1" fmla="*/ 300209 w 300208"/>
                    <a:gd name="connsiteY1" fmla="*/ 62819 h 300208"/>
                    <a:gd name="connsiteX2" fmla="*/ 300209 w 300208"/>
                    <a:gd name="connsiteY2" fmla="*/ 237390 h 300208"/>
                    <a:gd name="connsiteX3" fmla="*/ 237390 w 300208"/>
                    <a:gd name="connsiteY3" fmla="*/ 300209 h 300208"/>
                    <a:gd name="connsiteX4" fmla="*/ 62820 w 300208"/>
                    <a:gd name="connsiteY4" fmla="*/ 300209 h 300208"/>
                    <a:gd name="connsiteX5" fmla="*/ 0 w 300208"/>
                    <a:gd name="connsiteY5" fmla="*/ 237390 h 300208"/>
                    <a:gd name="connsiteX6" fmla="*/ 0 w 300208"/>
                    <a:gd name="connsiteY6" fmla="*/ 62819 h 300208"/>
                    <a:gd name="connsiteX7" fmla="*/ 62820 w 300208"/>
                    <a:gd name="connsiteY7" fmla="*/ 0 h 300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208" h="300208">
                      <a:moveTo>
                        <a:pt x="237390" y="0"/>
                      </a:moveTo>
                      <a:cubicBezTo>
                        <a:pt x="272084" y="0"/>
                        <a:pt x="300209" y="28125"/>
                        <a:pt x="300209" y="62819"/>
                      </a:cubicBezTo>
                      <a:lnTo>
                        <a:pt x="300209" y="237390"/>
                      </a:lnTo>
                      <a:cubicBezTo>
                        <a:pt x="300209" y="272084"/>
                        <a:pt x="272084" y="300209"/>
                        <a:pt x="237390" y="300209"/>
                      </a:cubicBezTo>
                      <a:lnTo>
                        <a:pt x="62820" y="300209"/>
                      </a:lnTo>
                      <a:cubicBezTo>
                        <a:pt x="28125" y="300209"/>
                        <a:pt x="0" y="272084"/>
                        <a:pt x="0" y="237390"/>
                      </a:cubicBezTo>
                      <a:lnTo>
                        <a:pt x="0" y="62819"/>
                      </a:lnTo>
                      <a:cubicBezTo>
                        <a:pt x="0" y="28125"/>
                        <a:pt x="28125" y="0"/>
                        <a:pt x="62820" y="0"/>
                      </a:cubicBezTo>
                      <a:close/>
                    </a:path>
                  </a:pathLst>
                </a:custGeom>
                <a:solidFill>
                  <a:srgbClr val="78C2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63" name="Freeform: Shape 62">
                  <a:extLst>
                    <a:ext uri="{FF2B5EF4-FFF2-40B4-BE49-F238E27FC236}">
                      <a16:creationId xmlns:a16="http://schemas.microsoft.com/office/drawing/2014/main" id="{9F31743C-FD43-33CF-DA84-264CB7B72857}"/>
                    </a:ext>
                  </a:extLst>
                </p:cNvPr>
                <p:cNvSpPr/>
                <p:nvPr/>
              </p:nvSpPr>
              <p:spPr>
                <a:xfrm>
                  <a:off x="7518785" y="3279502"/>
                  <a:ext cx="181061" cy="132249"/>
                </a:xfrm>
                <a:custGeom>
                  <a:avLst/>
                  <a:gdLst>
                    <a:gd name="connsiteX0" fmla="*/ 81010 w 181061"/>
                    <a:gd name="connsiteY0" fmla="*/ 132215 h 132249"/>
                    <a:gd name="connsiteX1" fmla="*/ 5126 w 181061"/>
                    <a:gd name="connsiteY1" fmla="*/ 66070 h 132249"/>
                    <a:gd name="connsiteX2" fmla="*/ 3686 w 181061"/>
                    <a:gd name="connsiteY2" fmla="*/ 44981 h 132249"/>
                    <a:gd name="connsiteX3" fmla="*/ 24774 w 181061"/>
                    <a:gd name="connsiteY3" fmla="*/ 43541 h 132249"/>
                    <a:gd name="connsiteX4" fmla="*/ 78439 w 181061"/>
                    <a:gd name="connsiteY4" fmla="*/ 90347 h 132249"/>
                    <a:gd name="connsiteX5" fmla="*/ 154973 w 181061"/>
                    <a:gd name="connsiteY5" fmla="*/ 4965 h 132249"/>
                    <a:gd name="connsiteX6" fmla="*/ 176096 w 181061"/>
                    <a:gd name="connsiteY6" fmla="*/ 3799 h 132249"/>
                    <a:gd name="connsiteX7" fmla="*/ 177262 w 181061"/>
                    <a:gd name="connsiteY7" fmla="*/ 24922 h 132249"/>
                    <a:gd name="connsiteX8" fmla="*/ 81045 w 181061"/>
                    <a:gd name="connsiteY8" fmla="*/ 132249 h 132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061" h="132249">
                      <a:moveTo>
                        <a:pt x="81010" y="132215"/>
                      </a:moveTo>
                      <a:lnTo>
                        <a:pt x="5126" y="66070"/>
                      </a:lnTo>
                      <a:cubicBezTo>
                        <a:pt x="-1115" y="60652"/>
                        <a:pt x="-1732" y="51188"/>
                        <a:pt x="3686" y="44981"/>
                      </a:cubicBezTo>
                      <a:cubicBezTo>
                        <a:pt x="9104" y="38775"/>
                        <a:pt x="18568" y="38123"/>
                        <a:pt x="24774" y="43541"/>
                      </a:cubicBezTo>
                      <a:lnTo>
                        <a:pt x="78439" y="90347"/>
                      </a:lnTo>
                      <a:lnTo>
                        <a:pt x="154973" y="4965"/>
                      </a:lnTo>
                      <a:cubicBezTo>
                        <a:pt x="160494" y="-1173"/>
                        <a:pt x="169924" y="-1688"/>
                        <a:pt x="176096" y="3799"/>
                      </a:cubicBezTo>
                      <a:cubicBezTo>
                        <a:pt x="182234" y="9320"/>
                        <a:pt x="182748" y="18749"/>
                        <a:pt x="177262" y="24922"/>
                      </a:cubicBezTo>
                      <a:lnTo>
                        <a:pt x="81045" y="132249"/>
                      </a:lnTo>
                      <a:close/>
                    </a:path>
                  </a:pathLst>
                </a:custGeom>
                <a:solidFill>
                  <a:srgbClr val="F3F3F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grpSp>
          <p:sp>
            <p:nvSpPr>
              <p:cNvPr id="73" name="Freeform: Shape 72">
                <a:extLst>
                  <a:ext uri="{FF2B5EF4-FFF2-40B4-BE49-F238E27FC236}">
                    <a16:creationId xmlns:a16="http://schemas.microsoft.com/office/drawing/2014/main" id="{30A6E870-310B-085F-01F3-A2636388F461}"/>
                  </a:ext>
                </a:extLst>
              </p:cNvPr>
              <p:cNvSpPr/>
              <p:nvPr/>
            </p:nvSpPr>
            <p:spPr>
              <a:xfrm>
                <a:off x="7167486" y="2848812"/>
                <a:ext cx="330211" cy="40667"/>
              </a:xfrm>
              <a:custGeom>
                <a:avLst/>
                <a:gdLst>
                  <a:gd name="connsiteX0" fmla="*/ 0 w 320748"/>
                  <a:gd name="connsiteY0" fmla="*/ 0 h 39502"/>
                  <a:gd name="connsiteX1" fmla="*/ 320749 w 320748"/>
                  <a:gd name="connsiteY1" fmla="*/ 0 h 39502"/>
                  <a:gd name="connsiteX2" fmla="*/ 320749 w 320748"/>
                  <a:gd name="connsiteY2" fmla="*/ 39502 h 39502"/>
                  <a:gd name="connsiteX3" fmla="*/ 0 w 320748"/>
                  <a:gd name="connsiteY3" fmla="*/ 39502 h 39502"/>
                </a:gdLst>
                <a:ahLst/>
                <a:cxnLst>
                  <a:cxn ang="0">
                    <a:pos x="connsiteX0" y="connsiteY0"/>
                  </a:cxn>
                  <a:cxn ang="0">
                    <a:pos x="connsiteX1" y="connsiteY1"/>
                  </a:cxn>
                  <a:cxn ang="0">
                    <a:pos x="connsiteX2" y="connsiteY2"/>
                  </a:cxn>
                  <a:cxn ang="0">
                    <a:pos x="connsiteX3" y="connsiteY3"/>
                  </a:cxn>
                </a:cxnLst>
                <a:rect l="l" t="t" r="r" b="b"/>
                <a:pathLst>
                  <a:path w="320748" h="39502">
                    <a:moveTo>
                      <a:pt x="0" y="0"/>
                    </a:moveTo>
                    <a:lnTo>
                      <a:pt x="320749" y="0"/>
                    </a:lnTo>
                    <a:lnTo>
                      <a:pt x="320749" y="39502"/>
                    </a:lnTo>
                    <a:lnTo>
                      <a:pt x="0" y="39502"/>
                    </a:lnTo>
                    <a:close/>
                  </a:path>
                </a:pathLst>
              </a:custGeom>
              <a:solidFill>
                <a:srgbClr val="D6D6D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74" name="Freeform: Shape 73">
                <a:extLst>
                  <a:ext uri="{FF2B5EF4-FFF2-40B4-BE49-F238E27FC236}">
                    <a16:creationId xmlns:a16="http://schemas.microsoft.com/office/drawing/2014/main" id="{3730A0A5-8155-B761-43A2-23195F78D1D6}"/>
                  </a:ext>
                </a:extLst>
              </p:cNvPr>
              <p:cNvSpPr/>
              <p:nvPr/>
            </p:nvSpPr>
            <p:spPr>
              <a:xfrm>
                <a:off x="7087387" y="2776373"/>
                <a:ext cx="490410" cy="40667"/>
              </a:xfrm>
              <a:custGeom>
                <a:avLst/>
                <a:gdLst>
                  <a:gd name="connsiteX0" fmla="*/ 0 w 476356"/>
                  <a:gd name="connsiteY0" fmla="*/ 0 h 39502"/>
                  <a:gd name="connsiteX1" fmla="*/ 476357 w 476356"/>
                  <a:gd name="connsiteY1" fmla="*/ 0 h 39502"/>
                  <a:gd name="connsiteX2" fmla="*/ 476357 w 476356"/>
                  <a:gd name="connsiteY2" fmla="*/ 39502 h 39502"/>
                  <a:gd name="connsiteX3" fmla="*/ 0 w 476356"/>
                  <a:gd name="connsiteY3" fmla="*/ 39502 h 39502"/>
                </a:gdLst>
                <a:ahLst/>
                <a:cxnLst>
                  <a:cxn ang="0">
                    <a:pos x="connsiteX0" y="connsiteY0"/>
                  </a:cxn>
                  <a:cxn ang="0">
                    <a:pos x="connsiteX1" y="connsiteY1"/>
                  </a:cxn>
                  <a:cxn ang="0">
                    <a:pos x="connsiteX2" y="connsiteY2"/>
                  </a:cxn>
                  <a:cxn ang="0">
                    <a:pos x="connsiteX3" y="connsiteY3"/>
                  </a:cxn>
                </a:cxnLst>
                <a:rect l="l" t="t" r="r" b="b"/>
                <a:pathLst>
                  <a:path w="476356" h="39502">
                    <a:moveTo>
                      <a:pt x="0" y="0"/>
                    </a:moveTo>
                    <a:lnTo>
                      <a:pt x="476357" y="0"/>
                    </a:lnTo>
                    <a:lnTo>
                      <a:pt x="476357" y="39502"/>
                    </a:lnTo>
                    <a:lnTo>
                      <a:pt x="0" y="39502"/>
                    </a:lnTo>
                    <a:close/>
                  </a:path>
                </a:pathLst>
              </a:custGeom>
              <a:solidFill>
                <a:srgbClr val="D6D6D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75" name="Freeform: Shape 74">
                <a:extLst>
                  <a:ext uri="{FF2B5EF4-FFF2-40B4-BE49-F238E27FC236}">
                    <a16:creationId xmlns:a16="http://schemas.microsoft.com/office/drawing/2014/main" id="{D8985802-5C88-5D58-4343-1FF2CB82D19E}"/>
                  </a:ext>
                </a:extLst>
              </p:cNvPr>
              <p:cNvSpPr/>
              <p:nvPr/>
            </p:nvSpPr>
            <p:spPr>
              <a:xfrm>
                <a:off x="7248115" y="2132716"/>
                <a:ext cx="170506" cy="170506"/>
              </a:xfrm>
              <a:custGeom>
                <a:avLst/>
                <a:gdLst>
                  <a:gd name="connsiteX0" fmla="*/ 165620 w 165620"/>
                  <a:gd name="connsiteY0" fmla="*/ 82810 h 165620"/>
                  <a:gd name="connsiteX1" fmla="*/ 82810 w 165620"/>
                  <a:gd name="connsiteY1" fmla="*/ 165621 h 165620"/>
                  <a:gd name="connsiteX2" fmla="*/ 0 w 165620"/>
                  <a:gd name="connsiteY2" fmla="*/ 82810 h 165620"/>
                  <a:gd name="connsiteX3" fmla="*/ 82810 w 165620"/>
                  <a:gd name="connsiteY3" fmla="*/ 0 h 165620"/>
                  <a:gd name="connsiteX4" fmla="*/ 165620 w 165620"/>
                  <a:gd name="connsiteY4" fmla="*/ 82810 h 165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620" h="165620">
                    <a:moveTo>
                      <a:pt x="165620" y="82810"/>
                    </a:moveTo>
                    <a:cubicBezTo>
                      <a:pt x="165620" y="128553"/>
                      <a:pt x="128553" y="165621"/>
                      <a:pt x="82810" y="165621"/>
                    </a:cubicBezTo>
                    <a:cubicBezTo>
                      <a:pt x="37067" y="165621"/>
                      <a:pt x="0" y="128553"/>
                      <a:pt x="0" y="82810"/>
                    </a:cubicBezTo>
                    <a:cubicBezTo>
                      <a:pt x="0" y="37067"/>
                      <a:pt x="37067" y="0"/>
                      <a:pt x="82810" y="0"/>
                    </a:cubicBezTo>
                    <a:cubicBezTo>
                      <a:pt x="128553" y="0"/>
                      <a:pt x="165620" y="37067"/>
                      <a:pt x="165620" y="82810"/>
                    </a:cubicBezTo>
                    <a:close/>
                  </a:path>
                </a:pathLst>
              </a:custGeom>
              <a:gradFill flip="none" rotWithShape="1">
                <a:gsLst>
                  <a:gs pos="0">
                    <a:srgbClr val="4BA8E0"/>
                  </a:gs>
                  <a:gs pos="50000">
                    <a:srgbClr val="5A76B6"/>
                  </a:gs>
                  <a:gs pos="100000">
                    <a:srgbClr val="5E5FA9"/>
                  </a:gs>
                </a:gsLst>
                <a:lin ang="0" scaled="1"/>
                <a:tileRect/>
              </a:gradFill>
              <a:ln w="19050" cap="flat" cmpd="sng" algn="ctr">
                <a:noFill/>
                <a:prstDash val="solid"/>
                <a:miter lim="800000"/>
              </a:ln>
              <a:effectLst/>
            </p:spPr>
            <p:txBody>
              <a:bodyPr rot="0" spcFirstLastPara="0" vertOverflow="overflow" horzOverflow="overflow" vert="horz" wrap="none" lIns="45720" tIns="45720" rIns="45720" bIns="45720" numCol="1" spcCol="0" rtlCol="0" fromWordArt="0" anchor="b" anchorCtr="0" forceAA="0" compatLnSpc="1">
                <a:prstTxWarp prst="textNoShape">
                  <a:avLst/>
                </a:prstTxWarp>
                <a:noAutofit/>
              </a:bodyPr>
              <a:lstStyle/>
              <a:p>
                <a:pPr marL="3175"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6" name="Freeform: Shape 75">
                <a:extLst>
                  <a:ext uri="{FF2B5EF4-FFF2-40B4-BE49-F238E27FC236}">
                    <a16:creationId xmlns:a16="http://schemas.microsoft.com/office/drawing/2014/main" id="{7129BE57-42FB-0A90-C54A-961037F40180}"/>
                  </a:ext>
                </a:extLst>
              </p:cNvPr>
              <p:cNvSpPr/>
              <p:nvPr/>
            </p:nvSpPr>
            <p:spPr>
              <a:xfrm>
                <a:off x="7178042" y="2341349"/>
                <a:ext cx="309101" cy="350016"/>
              </a:xfrm>
              <a:custGeom>
                <a:avLst/>
                <a:gdLst>
                  <a:gd name="connsiteX0" fmla="*/ 300243 w 300243"/>
                  <a:gd name="connsiteY0" fmla="*/ 150122 h 339985"/>
                  <a:gd name="connsiteX1" fmla="*/ 300243 w 300243"/>
                  <a:gd name="connsiteY1" fmla="*/ 307615 h 339985"/>
                  <a:gd name="connsiteX2" fmla="*/ 150121 w 300243"/>
                  <a:gd name="connsiteY2" fmla="*/ 339985 h 339985"/>
                  <a:gd name="connsiteX3" fmla="*/ 0 w 300243"/>
                  <a:gd name="connsiteY3" fmla="*/ 307615 h 339985"/>
                  <a:gd name="connsiteX4" fmla="*/ 0 w 300243"/>
                  <a:gd name="connsiteY4" fmla="*/ 150122 h 339985"/>
                  <a:gd name="connsiteX5" fmla="*/ 150121 w 300243"/>
                  <a:gd name="connsiteY5" fmla="*/ 0 h 339985"/>
                  <a:gd name="connsiteX6" fmla="*/ 300243 w 300243"/>
                  <a:gd name="connsiteY6" fmla="*/ 150122 h 339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0243" h="339985">
                    <a:moveTo>
                      <a:pt x="300243" y="150122"/>
                    </a:moveTo>
                    <a:lnTo>
                      <a:pt x="300243" y="307615"/>
                    </a:lnTo>
                    <a:cubicBezTo>
                      <a:pt x="254500" y="328430"/>
                      <a:pt x="203648" y="339985"/>
                      <a:pt x="150121" y="339985"/>
                    </a:cubicBezTo>
                    <a:cubicBezTo>
                      <a:pt x="96595" y="339985"/>
                      <a:pt x="45743" y="328430"/>
                      <a:pt x="0" y="307615"/>
                    </a:cubicBezTo>
                    <a:lnTo>
                      <a:pt x="0" y="150122"/>
                    </a:lnTo>
                    <a:cubicBezTo>
                      <a:pt x="0" y="67243"/>
                      <a:pt x="67174" y="0"/>
                      <a:pt x="150121" y="0"/>
                    </a:cubicBezTo>
                    <a:cubicBezTo>
                      <a:pt x="233069" y="0"/>
                      <a:pt x="300243" y="67243"/>
                      <a:pt x="300243" y="150122"/>
                    </a:cubicBezTo>
                    <a:close/>
                  </a:path>
                </a:pathLst>
              </a:custGeom>
              <a:gradFill flip="none" rotWithShape="1">
                <a:gsLst>
                  <a:gs pos="0">
                    <a:srgbClr val="4BA8E0"/>
                  </a:gs>
                  <a:gs pos="50000">
                    <a:srgbClr val="5A76B6"/>
                  </a:gs>
                  <a:gs pos="100000">
                    <a:srgbClr val="5E5FA9"/>
                  </a:gs>
                </a:gsLst>
                <a:lin ang="0" scaled="1"/>
                <a:tileRect/>
              </a:gradFill>
              <a:ln w="19050" cap="flat" cmpd="sng" algn="ctr">
                <a:noFill/>
                <a:prstDash val="solid"/>
                <a:miter lim="800000"/>
              </a:ln>
              <a:effectLst/>
            </p:spPr>
            <p:txBody>
              <a:bodyPr rot="0" spcFirstLastPara="0" vertOverflow="overflow" horzOverflow="overflow" vert="horz" wrap="none" lIns="45720" tIns="45720" rIns="45720" bIns="45720" numCol="1" spcCol="0" rtlCol="0" fromWordArt="0" anchor="b" anchorCtr="0" forceAA="0" compatLnSpc="1">
                <a:prstTxWarp prst="textNoShape">
                  <a:avLst/>
                </a:prstTxWarp>
                <a:noAutofit/>
              </a:bodyPr>
              <a:lstStyle/>
              <a:p>
                <a:pPr marL="3175"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7" name="Freeform: Shape 76">
                <a:extLst>
                  <a:ext uri="{FF2B5EF4-FFF2-40B4-BE49-F238E27FC236}">
                    <a16:creationId xmlns:a16="http://schemas.microsoft.com/office/drawing/2014/main" id="{86D60B9A-84D6-6360-6E0F-D9E713228E6E}"/>
                  </a:ext>
                </a:extLst>
              </p:cNvPr>
              <p:cNvSpPr/>
              <p:nvPr/>
            </p:nvSpPr>
            <p:spPr>
              <a:xfrm>
                <a:off x="6948510" y="1933332"/>
                <a:ext cx="768165" cy="768165"/>
              </a:xfrm>
              <a:custGeom>
                <a:avLst/>
                <a:gdLst>
                  <a:gd name="connsiteX0" fmla="*/ 373075 w 746150"/>
                  <a:gd name="connsiteY0" fmla="*/ 746150 h 746150"/>
                  <a:gd name="connsiteX1" fmla="*/ 218873 w 746150"/>
                  <a:gd name="connsiteY1" fmla="*/ 712889 h 746150"/>
                  <a:gd name="connsiteX2" fmla="*/ 0 w 746150"/>
                  <a:gd name="connsiteY2" fmla="*/ 373075 h 746150"/>
                  <a:gd name="connsiteX3" fmla="*/ 373075 w 746150"/>
                  <a:gd name="connsiteY3" fmla="*/ 0 h 746150"/>
                  <a:gd name="connsiteX4" fmla="*/ 746150 w 746150"/>
                  <a:gd name="connsiteY4" fmla="*/ 373075 h 746150"/>
                  <a:gd name="connsiteX5" fmla="*/ 527277 w 746150"/>
                  <a:gd name="connsiteY5" fmla="*/ 712889 h 746150"/>
                  <a:gd name="connsiteX6" fmla="*/ 373075 w 746150"/>
                  <a:gd name="connsiteY6" fmla="*/ 746150 h 746150"/>
                  <a:gd name="connsiteX7" fmla="*/ 373075 w 746150"/>
                  <a:gd name="connsiteY7" fmla="*/ 19717 h 746150"/>
                  <a:gd name="connsiteX8" fmla="*/ 19682 w 746150"/>
                  <a:gd name="connsiteY8" fmla="*/ 373109 h 746150"/>
                  <a:gd name="connsiteX9" fmla="*/ 227034 w 746150"/>
                  <a:gd name="connsiteY9" fmla="*/ 694990 h 746150"/>
                  <a:gd name="connsiteX10" fmla="*/ 373075 w 746150"/>
                  <a:gd name="connsiteY10" fmla="*/ 726468 h 746150"/>
                  <a:gd name="connsiteX11" fmla="*/ 519116 w 746150"/>
                  <a:gd name="connsiteY11" fmla="*/ 694990 h 746150"/>
                  <a:gd name="connsiteX12" fmla="*/ 726468 w 746150"/>
                  <a:gd name="connsiteY12" fmla="*/ 373109 h 746150"/>
                  <a:gd name="connsiteX13" fmla="*/ 373075 w 746150"/>
                  <a:gd name="connsiteY13" fmla="*/ 19717 h 74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150" h="746150">
                    <a:moveTo>
                      <a:pt x="373075" y="746150"/>
                    </a:moveTo>
                    <a:cubicBezTo>
                      <a:pt x="319274" y="746150"/>
                      <a:pt x="267393" y="734972"/>
                      <a:pt x="218873" y="712889"/>
                    </a:cubicBezTo>
                    <a:cubicBezTo>
                      <a:pt x="85896" y="652470"/>
                      <a:pt x="0" y="519082"/>
                      <a:pt x="0" y="373075"/>
                    </a:cubicBezTo>
                    <a:cubicBezTo>
                      <a:pt x="0" y="167369"/>
                      <a:pt x="167369" y="0"/>
                      <a:pt x="373075" y="0"/>
                    </a:cubicBezTo>
                    <a:cubicBezTo>
                      <a:pt x="578781" y="0"/>
                      <a:pt x="746150" y="167369"/>
                      <a:pt x="746150" y="373075"/>
                    </a:cubicBezTo>
                    <a:cubicBezTo>
                      <a:pt x="746150" y="519082"/>
                      <a:pt x="660220" y="652470"/>
                      <a:pt x="527277" y="712889"/>
                    </a:cubicBezTo>
                    <a:cubicBezTo>
                      <a:pt x="478757" y="734938"/>
                      <a:pt x="426876" y="746150"/>
                      <a:pt x="373075" y="746150"/>
                    </a:cubicBezTo>
                    <a:close/>
                    <a:moveTo>
                      <a:pt x="373075" y="19717"/>
                    </a:moveTo>
                    <a:cubicBezTo>
                      <a:pt x="178205" y="19717"/>
                      <a:pt x="19682" y="178239"/>
                      <a:pt x="19682" y="373109"/>
                    </a:cubicBezTo>
                    <a:cubicBezTo>
                      <a:pt x="19682" y="511401"/>
                      <a:pt x="101087" y="637760"/>
                      <a:pt x="227034" y="694990"/>
                    </a:cubicBezTo>
                    <a:cubicBezTo>
                      <a:pt x="272983" y="715872"/>
                      <a:pt x="322120" y="726468"/>
                      <a:pt x="373075" y="726468"/>
                    </a:cubicBezTo>
                    <a:cubicBezTo>
                      <a:pt x="424030" y="726468"/>
                      <a:pt x="473168" y="715872"/>
                      <a:pt x="519116" y="694990"/>
                    </a:cubicBezTo>
                    <a:cubicBezTo>
                      <a:pt x="645063" y="637760"/>
                      <a:pt x="726468" y="511401"/>
                      <a:pt x="726468" y="373109"/>
                    </a:cubicBezTo>
                    <a:cubicBezTo>
                      <a:pt x="726468" y="178239"/>
                      <a:pt x="567945" y="19717"/>
                      <a:pt x="373075" y="19717"/>
                    </a:cubicBezTo>
                    <a:close/>
                  </a:path>
                </a:pathLst>
              </a:custGeom>
              <a:gradFill>
                <a:gsLst>
                  <a:gs pos="0">
                    <a:srgbClr val="D3DAE0"/>
                  </a:gs>
                  <a:gs pos="50000">
                    <a:srgbClr val="E9ECEF"/>
                  </a:gs>
                  <a:gs pos="100000">
                    <a:srgbClr val="FFFFFF"/>
                  </a:gs>
                </a:gsLst>
                <a:lin ang="5400000" scaled="1"/>
              </a:gra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78" name="Freeform: Shape 77">
                <a:extLst>
                  <a:ext uri="{FF2B5EF4-FFF2-40B4-BE49-F238E27FC236}">
                    <a16:creationId xmlns:a16="http://schemas.microsoft.com/office/drawing/2014/main" id="{1E4E9B5D-5EAD-D424-B2FF-E8BC6B9D61A8}"/>
                  </a:ext>
                </a:extLst>
              </p:cNvPr>
              <p:cNvSpPr/>
              <p:nvPr/>
            </p:nvSpPr>
            <p:spPr>
              <a:xfrm>
                <a:off x="7930814" y="1946924"/>
                <a:ext cx="178167" cy="39467"/>
              </a:xfrm>
              <a:custGeom>
                <a:avLst/>
                <a:gdLst>
                  <a:gd name="connsiteX0" fmla="*/ 0 w 173061"/>
                  <a:gd name="connsiteY0" fmla="*/ 0 h 38336"/>
                  <a:gd name="connsiteX1" fmla="*/ 173062 w 173061"/>
                  <a:gd name="connsiteY1" fmla="*/ 0 h 38336"/>
                  <a:gd name="connsiteX2" fmla="*/ 173062 w 173061"/>
                  <a:gd name="connsiteY2" fmla="*/ 38336 h 38336"/>
                  <a:gd name="connsiteX3" fmla="*/ 0 w 173061"/>
                  <a:gd name="connsiteY3" fmla="*/ 38336 h 38336"/>
                </a:gdLst>
                <a:ahLst/>
                <a:cxnLst>
                  <a:cxn ang="0">
                    <a:pos x="connsiteX0" y="connsiteY0"/>
                  </a:cxn>
                  <a:cxn ang="0">
                    <a:pos x="connsiteX1" y="connsiteY1"/>
                  </a:cxn>
                  <a:cxn ang="0">
                    <a:pos x="connsiteX2" y="connsiteY2"/>
                  </a:cxn>
                  <a:cxn ang="0">
                    <a:pos x="connsiteX3" y="connsiteY3"/>
                  </a:cxn>
                </a:cxnLst>
                <a:rect l="l" t="t" r="r" b="b"/>
                <a:pathLst>
                  <a:path w="173061" h="38336">
                    <a:moveTo>
                      <a:pt x="0" y="0"/>
                    </a:moveTo>
                    <a:lnTo>
                      <a:pt x="173062" y="0"/>
                    </a:lnTo>
                    <a:lnTo>
                      <a:pt x="173062" y="38336"/>
                    </a:lnTo>
                    <a:lnTo>
                      <a:pt x="0" y="38336"/>
                    </a:ln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79" name="Freeform: Shape 78">
                <a:extLst>
                  <a:ext uri="{FF2B5EF4-FFF2-40B4-BE49-F238E27FC236}">
                    <a16:creationId xmlns:a16="http://schemas.microsoft.com/office/drawing/2014/main" id="{DCD68666-953E-2A2C-B03C-C1B078DC3B9C}"/>
                  </a:ext>
                </a:extLst>
              </p:cNvPr>
              <p:cNvSpPr/>
              <p:nvPr/>
            </p:nvSpPr>
            <p:spPr>
              <a:xfrm>
                <a:off x="8450527" y="1946924"/>
                <a:ext cx="208809" cy="39467"/>
              </a:xfrm>
              <a:custGeom>
                <a:avLst/>
                <a:gdLst>
                  <a:gd name="connsiteX0" fmla="*/ 0 w 202825"/>
                  <a:gd name="connsiteY0" fmla="*/ 0 h 38336"/>
                  <a:gd name="connsiteX1" fmla="*/ 202825 w 202825"/>
                  <a:gd name="connsiteY1" fmla="*/ 0 h 38336"/>
                  <a:gd name="connsiteX2" fmla="*/ 202825 w 202825"/>
                  <a:gd name="connsiteY2" fmla="*/ 38336 h 38336"/>
                  <a:gd name="connsiteX3" fmla="*/ 0 w 202825"/>
                  <a:gd name="connsiteY3" fmla="*/ 38336 h 38336"/>
                </a:gdLst>
                <a:ahLst/>
                <a:cxnLst>
                  <a:cxn ang="0">
                    <a:pos x="connsiteX0" y="connsiteY0"/>
                  </a:cxn>
                  <a:cxn ang="0">
                    <a:pos x="connsiteX1" y="connsiteY1"/>
                  </a:cxn>
                  <a:cxn ang="0">
                    <a:pos x="connsiteX2" y="connsiteY2"/>
                  </a:cxn>
                  <a:cxn ang="0">
                    <a:pos x="connsiteX3" y="connsiteY3"/>
                  </a:cxn>
                </a:cxnLst>
                <a:rect l="l" t="t" r="r" b="b"/>
                <a:pathLst>
                  <a:path w="202825" h="38336">
                    <a:moveTo>
                      <a:pt x="0" y="0"/>
                    </a:moveTo>
                    <a:lnTo>
                      <a:pt x="202825" y="0"/>
                    </a:lnTo>
                    <a:lnTo>
                      <a:pt x="202825" y="38336"/>
                    </a:lnTo>
                    <a:lnTo>
                      <a:pt x="0" y="38336"/>
                    </a:ln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80" name="Freeform: Shape 79">
                <a:extLst>
                  <a:ext uri="{FF2B5EF4-FFF2-40B4-BE49-F238E27FC236}">
                    <a16:creationId xmlns:a16="http://schemas.microsoft.com/office/drawing/2014/main" id="{C09733D6-CED1-470D-D09B-C62FBCD95BEE}"/>
                  </a:ext>
                </a:extLst>
              </p:cNvPr>
              <p:cNvSpPr/>
              <p:nvPr/>
            </p:nvSpPr>
            <p:spPr>
              <a:xfrm>
                <a:off x="8972003" y="1946924"/>
                <a:ext cx="130651" cy="39467"/>
              </a:xfrm>
              <a:custGeom>
                <a:avLst/>
                <a:gdLst>
                  <a:gd name="connsiteX0" fmla="*/ 0 w 126907"/>
                  <a:gd name="connsiteY0" fmla="*/ 0 h 38336"/>
                  <a:gd name="connsiteX1" fmla="*/ 126907 w 126907"/>
                  <a:gd name="connsiteY1" fmla="*/ 0 h 38336"/>
                  <a:gd name="connsiteX2" fmla="*/ 126907 w 126907"/>
                  <a:gd name="connsiteY2" fmla="*/ 38336 h 38336"/>
                  <a:gd name="connsiteX3" fmla="*/ 0 w 126907"/>
                  <a:gd name="connsiteY3" fmla="*/ 38336 h 38336"/>
                </a:gdLst>
                <a:ahLst/>
                <a:cxnLst>
                  <a:cxn ang="0">
                    <a:pos x="connsiteX0" y="connsiteY0"/>
                  </a:cxn>
                  <a:cxn ang="0">
                    <a:pos x="connsiteX1" y="connsiteY1"/>
                  </a:cxn>
                  <a:cxn ang="0">
                    <a:pos x="connsiteX2" y="connsiteY2"/>
                  </a:cxn>
                  <a:cxn ang="0">
                    <a:pos x="connsiteX3" y="connsiteY3"/>
                  </a:cxn>
                </a:cxnLst>
                <a:rect l="l" t="t" r="r" b="b"/>
                <a:pathLst>
                  <a:path w="126907" h="38336">
                    <a:moveTo>
                      <a:pt x="0" y="0"/>
                    </a:moveTo>
                    <a:lnTo>
                      <a:pt x="126907" y="0"/>
                    </a:lnTo>
                    <a:lnTo>
                      <a:pt x="126907" y="38336"/>
                    </a:lnTo>
                    <a:lnTo>
                      <a:pt x="0" y="38336"/>
                    </a:ln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81" name="Freeform: Shape 80">
                <a:extLst>
                  <a:ext uri="{FF2B5EF4-FFF2-40B4-BE49-F238E27FC236}">
                    <a16:creationId xmlns:a16="http://schemas.microsoft.com/office/drawing/2014/main" id="{485943FD-D3BE-325F-5E8B-79171F4E8E50}"/>
                  </a:ext>
                </a:extLst>
              </p:cNvPr>
              <p:cNvSpPr/>
              <p:nvPr/>
            </p:nvSpPr>
            <p:spPr>
              <a:xfrm>
                <a:off x="9482219" y="1946924"/>
                <a:ext cx="238639" cy="39467"/>
              </a:xfrm>
              <a:custGeom>
                <a:avLst/>
                <a:gdLst>
                  <a:gd name="connsiteX0" fmla="*/ 0 w 231800"/>
                  <a:gd name="connsiteY0" fmla="*/ 0 h 38336"/>
                  <a:gd name="connsiteX1" fmla="*/ 231801 w 231800"/>
                  <a:gd name="connsiteY1" fmla="*/ 0 h 38336"/>
                  <a:gd name="connsiteX2" fmla="*/ 231801 w 231800"/>
                  <a:gd name="connsiteY2" fmla="*/ 38336 h 38336"/>
                  <a:gd name="connsiteX3" fmla="*/ 0 w 231800"/>
                  <a:gd name="connsiteY3" fmla="*/ 38336 h 38336"/>
                </a:gdLst>
                <a:ahLst/>
                <a:cxnLst>
                  <a:cxn ang="0">
                    <a:pos x="connsiteX0" y="connsiteY0"/>
                  </a:cxn>
                  <a:cxn ang="0">
                    <a:pos x="connsiteX1" y="connsiteY1"/>
                  </a:cxn>
                  <a:cxn ang="0">
                    <a:pos x="connsiteX2" y="connsiteY2"/>
                  </a:cxn>
                  <a:cxn ang="0">
                    <a:pos x="connsiteX3" y="connsiteY3"/>
                  </a:cxn>
                </a:cxnLst>
                <a:rect l="l" t="t" r="r" b="b"/>
                <a:pathLst>
                  <a:path w="231800" h="38336">
                    <a:moveTo>
                      <a:pt x="0" y="0"/>
                    </a:moveTo>
                    <a:lnTo>
                      <a:pt x="231801" y="0"/>
                    </a:lnTo>
                    <a:lnTo>
                      <a:pt x="231801" y="38336"/>
                    </a:lnTo>
                    <a:lnTo>
                      <a:pt x="0" y="38336"/>
                    </a:ln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82" name="Freeform: Shape 81">
                <a:extLst>
                  <a:ext uri="{FF2B5EF4-FFF2-40B4-BE49-F238E27FC236}">
                    <a16:creationId xmlns:a16="http://schemas.microsoft.com/office/drawing/2014/main" id="{D61A3167-4789-C988-5B55-88CD980C9075}"/>
                  </a:ext>
                </a:extLst>
              </p:cNvPr>
              <p:cNvSpPr/>
              <p:nvPr/>
            </p:nvSpPr>
            <p:spPr>
              <a:xfrm>
                <a:off x="9957415" y="1946924"/>
                <a:ext cx="197371" cy="39467"/>
              </a:xfrm>
              <a:custGeom>
                <a:avLst/>
                <a:gdLst>
                  <a:gd name="connsiteX0" fmla="*/ 0 w 191715"/>
                  <a:gd name="connsiteY0" fmla="*/ 0 h 38336"/>
                  <a:gd name="connsiteX1" fmla="*/ 191715 w 191715"/>
                  <a:gd name="connsiteY1" fmla="*/ 0 h 38336"/>
                  <a:gd name="connsiteX2" fmla="*/ 191715 w 191715"/>
                  <a:gd name="connsiteY2" fmla="*/ 38336 h 38336"/>
                  <a:gd name="connsiteX3" fmla="*/ 0 w 191715"/>
                  <a:gd name="connsiteY3" fmla="*/ 38336 h 38336"/>
                </a:gdLst>
                <a:ahLst/>
                <a:cxnLst>
                  <a:cxn ang="0">
                    <a:pos x="connsiteX0" y="connsiteY0"/>
                  </a:cxn>
                  <a:cxn ang="0">
                    <a:pos x="connsiteX1" y="connsiteY1"/>
                  </a:cxn>
                  <a:cxn ang="0">
                    <a:pos x="connsiteX2" y="connsiteY2"/>
                  </a:cxn>
                  <a:cxn ang="0">
                    <a:pos x="connsiteX3" y="connsiteY3"/>
                  </a:cxn>
                </a:cxnLst>
                <a:rect l="l" t="t" r="r" b="b"/>
                <a:pathLst>
                  <a:path w="191715" h="38336">
                    <a:moveTo>
                      <a:pt x="0" y="0"/>
                    </a:moveTo>
                    <a:lnTo>
                      <a:pt x="191715" y="0"/>
                    </a:lnTo>
                    <a:lnTo>
                      <a:pt x="191715" y="38336"/>
                    </a:lnTo>
                    <a:lnTo>
                      <a:pt x="0" y="38336"/>
                    </a:ln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83" name="Freeform: Shape 82">
                <a:extLst>
                  <a:ext uri="{FF2B5EF4-FFF2-40B4-BE49-F238E27FC236}">
                    <a16:creationId xmlns:a16="http://schemas.microsoft.com/office/drawing/2014/main" id="{74ED8674-BFFE-C511-F56C-8C3BF7657350}"/>
                  </a:ext>
                </a:extLst>
              </p:cNvPr>
              <p:cNvSpPr/>
              <p:nvPr/>
            </p:nvSpPr>
            <p:spPr>
              <a:xfrm>
                <a:off x="10422761" y="1946924"/>
                <a:ext cx="249124" cy="39467"/>
              </a:xfrm>
              <a:custGeom>
                <a:avLst/>
                <a:gdLst>
                  <a:gd name="connsiteX0" fmla="*/ 0 w 241984"/>
                  <a:gd name="connsiteY0" fmla="*/ 0 h 38336"/>
                  <a:gd name="connsiteX1" fmla="*/ 241985 w 241984"/>
                  <a:gd name="connsiteY1" fmla="*/ 0 h 38336"/>
                  <a:gd name="connsiteX2" fmla="*/ 241985 w 241984"/>
                  <a:gd name="connsiteY2" fmla="*/ 38336 h 38336"/>
                  <a:gd name="connsiteX3" fmla="*/ 0 w 241984"/>
                  <a:gd name="connsiteY3" fmla="*/ 38336 h 38336"/>
                </a:gdLst>
                <a:ahLst/>
                <a:cxnLst>
                  <a:cxn ang="0">
                    <a:pos x="connsiteX0" y="connsiteY0"/>
                  </a:cxn>
                  <a:cxn ang="0">
                    <a:pos x="connsiteX1" y="connsiteY1"/>
                  </a:cxn>
                  <a:cxn ang="0">
                    <a:pos x="connsiteX2" y="connsiteY2"/>
                  </a:cxn>
                  <a:cxn ang="0">
                    <a:pos x="connsiteX3" y="connsiteY3"/>
                  </a:cxn>
                </a:cxnLst>
                <a:rect l="l" t="t" r="r" b="b"/>
                <a:pathLst>
                  <a:path w="241984" h="38336">
                    <a:moveTo>
                      <a:pt x="0" y="0"/>
                    </a:moveTo>
                    <a:lnTo>
                      <a:pt x="241985" y="0"/>
                    </a:lnTo>
                    <a:lnTo>
                      <a:pt x="241985" y="38336"/>
                    </a:lnTo>
                    <a:lnTo>
                      <a:pt x="0" y="38336"/>
                    </a:ln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2F75C48F-45F1-F964-C057-2563A55F5DA7}"/>
                  </a:ext>
                </a:extLst>
              </p:cNvPr>
              <p:cNvSpPr/>
              <p:nvPr/>
            </p:nvSpPr>
            <p:spPr>
              <a:xfrm>
                <a:off x="7930814" y="2059960"/>
                <a:ext cx="5930" cy="609801"/>
              </a:xfrm>
              <a:custGeom>
                <a:avLst/>
                <a:gdLst>
                  <a:gd name="connsiteX0" fmla="*/ 0 w 5760"/>
                  <a:gd name="connsiteY0" fmla="*/ 0 h 592325"/>
                  <a:gd name="connsiteX1" fmla="*/ 5761 w 5760"/>
                  <a:gd name="connsiteY1" fmla="*/ 0 h 592325"/>
                  <a:gd name="connsiteX2" fmla="*/ 5761 w 5760"/>
                  <a:gd name="connsiteY2" fmla="*/ 592325 h 592325"/>
                  <a:gd name="connsiteX3" fmla="*/ 0 w 5760"/>
                  <a:gd name="connsiteY3" fmla="*/ 592325 h 592325"/>
                </a:gdLst>
                <a:ahLst/>
                <a:cxnLst>
                  <a:cxn ang="0">
                    <a:pos x="connsiteX0" y="connsiteY0"/>
                  </a:cxn>
                  <a:cxn ang="0">
                    <a:pos x="connsiteX1" y="connsiteY1"/>
                  </a:cxn>
                  <a:cxn ang="0">
                    <a:pos x="connsiteX2" y="connsiteY2"/>
                  </a:cxn>
                  <a:cxn ang="0">
                    <a:pos x="connsiteX3" y="connsiteY3"/>
                  </a:cxn>
                </a:cxnLst>
                <a:rect l="l" t="t" r="r" b="b"/>
                <a:pathLst>
                  <a:path w="5760" h="592325">
                    <a:moveTo>
                      <a:pt x="0" y="0"/>
                    </a:moveTo>
                    <a:lnTo>
                      <a:pt x="5761" y="0"/>
                    </a:lnTo>
                    <a:lnTo>
                      <a:pt x="5761" y="592325"/>
                    </a:lnTo>
                    <a:lnTo>
                      <a:pt x="0" y="592325"/>
                    </a:ln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85" name="Freeform: Shape 84">
                <a:extLst>
                  <a:ext uri="{FF2B5EF4-FFF2-40B4-BE49-F238E27FC236}">
                    <a16:creationId xmlns:a16="http://schemas.microsoft.com/office/drawing/2014/main" id="{3742CFA3-655F-E870-2B95-DE9C4F769A43}"/>
                  </a:ext>
                </a:extLst>
              </p:cNvPr>
              <p:cNvSpPr/>
              <p:nvPr/>
            </p:nvSpPr>
            <p:spPr>
              <a:xfrm>
                <a:off x="8447561" y="2059960"/>
                <a:ext cx="5930" cy="609801"/>
              </a:xfrm>
              <a:custGeom>
                <a:avLst/>
                <a:gdLst>
                  <a:gd name="connsiteX0" fmla="*/ 0 w 5760"/>
                  <a:gd name="connsiteY0" fmla="*/ 0 h 592325"/>
                  <a:gd name="connsiteX1" fmla="*/ 5761 w 5760"/>
                  <a:gd name="connsiteY1" fmla="*/ 0 h 592325"/>
                  <a:gd name="connsiteX2" fmla="*/ 5761 w 5760"/>
                  <a:gd name="connsiteY2" fmla="*/ 592325 h 592325"/>
                  <a:gd name="connsiteX3" fmla="*/ 0 w 5760"/>
                  <a:gd name="connsiteY3" fmla="*/ 592325 h 592325"/>
                </a:gdLst>
                <a:ahLst/>
                <a:cxnLst>
                  <a:cxn ang="0">
                    <a:pos x="connsiteX0" y="connsiteY0"/>
                  </a:cxn>
                  <a:cxn ang="0">
                    <a:pos x="connsiteX1" y="connsiteY1"/>
                  </a:cxn>
                  <a:cxn ang="0">
                    <a:pos x="connsiteX2" y="connsiteY2"/>
                  </a:cxn>
                  <a:cxn ang="0">
                    <a:pos x="connsiteX3" y="connsiteY3"/>
                  </a:cxn>
                </a:cxnLst>
                <a:rect l="l" t="t" r="r" b="b"/>
                <a:pathLst>
                  <a:path w="5760" h="592325">
                    <a:moveTo>
                      <a:pt x="0" y="0"/>
                    </a:moveTo>
                    <a:lnTo>
                      <a:pt x="5761" y="0"/>
                    </a:lnTo>
                    <a:lnTo>
                      <a:pt x="5761" y="592325"/>
                    </a:lnTo>
                    <a:lnTo>
                      <a:pt x="0" y="592325"/>
                    </a:ln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86" name="Freeform: Shape 85">
                <a:extLst>
                  <a:ext uri="{FF2B5EF4-FFF2-40B4-BE49-F238E27FC236}">
                    <a16:creationId xmlns:a16="http://schemas.microsoft.com/office/drawing/2014/main" id="{F0EE0FD9-C2C1-CBBA-855E-6881EA57DDBB}"/>
                  </a:ext>
                </a:extLst>
              </p:cNvPr>
              <p:cNvSpPr/>
              <p:nvPr/>
            </p:nvSpPr>
            <p:spPr>
              <a:xfrm>
                <a:off x="8972003" y="2059960"/>
                <a:ext cx="5930" cy="609801"/>
              </a:xfrm>
              <a:custGeom>
                <a:avLst/>
                <a:gdLst>
                  <a:gd name="connsiteX0" fmla="*/ 0 w 5760"/>
                  <a:gd name="connsiteY0" fmla="*/ 0 h 592325"/>
                  <a:gd name="connsiteX1" fmla="*/ 5761 w 5760"/>
                  <a:gd name="connsiteY1" fmla="*/ 0 h 592325"/>
                  <a:gd name="connsiteX2" fmla="*/ 5761 w 5760"/>
                  <a:gd name="connsiteY2" fmla="*/ 592325 h 592325"/>
                  <a:gd name="connsiteX3" fmla="*/ 0 w 5760"/>
                  <a:gd name="connsiteY3" fmla="*/ 592325 h 592325"/>
                </a:gdLst>
                <a:ahLst/>
                <a:cxnLst>
                  <a:cxn ang="0">
                    <a:pos x="connsiteX0" y="connsiteY0"/>
                  </a:cxn>
                  <a:cxn ang="0">
                    <a:pos x="connsiteX1" y="connsiteY1"/>
                  </a:cxn>
                  <a:cxn ang="0">
                    <a:pos x="connsiteX2" y="connsiteY2"/>
                  </a:cxn>
                  <a:cxn ang="0">
                    <a:pos x="connsiteX3" y="connsiteY3"/>
                  </a:cxn>
                </a:cxnLst>
                <a:rect l="l" t="t" r="r" b="b"/>
                <a:pathLst>
                  <a:path w="5760" h="592325">
                    <a:moveTo>
                      <a:pt x="0" y="0"/>
                    </a:moveTo>
                    <a:lnTo>
                      <a:pt x="5761" y="0"/>
                    </a:lnTo>
                    <a:lnTo>
                      <a:pt x="5761" y="592325"/>
                    </a:lnTo>
                    <a:lnTo>
                      <a:pt x="0" y="592325"/>
                    </a:ln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87" name="Freeform: Shape 86">
                <a:extLst>
                  <a:ext uri="{FF2B5EF4-FFF2-40B4-BE49-F238E27FC236}">
                    <a16:creationId xmlns:a16="http://schemas.microsoft.com/office/drawing/2014/main" id="{EC5F39F4-1BB2-CECA-1240-9A493C2203FB}"/>
                  </a:ext>
                </a:extLst>
              </p:cNvPr>
              <p:cNvSpPr/>
              <p:nvPr/>
            </p:nvSpPr>
            <p:spPr>
              <a:xfrm>
                <a:off x="9479254" y="2059960"/>
                <a:ext cx="5930" cy="609801"/>
              </a:xfrm>
              <a:custGeom>
                <a:avLst/>
                <a:gdLst>
                  <a:gd name="connsiteX0" fmla="*/ 0 w 5760"/>
                  <a:gd name="connsiteY0" fmla="*/ 0 h 592325"/>
                  <a:gd name="connsiteX1" fmla="*/ 5760 w 5760"/>
                  <a:gd name="connsiteY1" fmla="*/ 0 h 592325"/>
                  <a:gd name="connsiteX2" fmla="*/ 5760 w 5760"/>
                  <a:gd name="connsiteY2" fmla="*/ 592325 h 592325"/>
                  <a:gd name="connsiteX3" fmla="*/ 0 w 5760"/>
                  <a:gd name="connsiteY3" fmla="*/ 592325 h 592325"/>
                </a:gdLst>
                <a:ahLst/>
                <a:cxnLst>
                  <a:cxn ang="0">
                    <a:pos x="connsiteX0" y="connsiteY0"/>
                  </a:cxn>
                  <a:cxn ang="0">
                    <a:pos x="connsiteX1" y="connsiteY1"/>
                  </a:cxn>
                  <a:cxn ang="0">
                    <a:pos x="connsiteX2" y="connsiteY2"/>
                  </a:cxn>
                  <a:cxn ang="0">
                    <a:pos x="connsiteX3" y="connsiteY3"/>
                  </a:cxn>
                </a:cxnLst>
                <a:rect l="l" t="t" r="r" b="b"/>
                <a:pathLst>
                  <a:path w="5760" h="592325">
                    <a:moveTo>
                      <a:pt x="0" y="0"/>
                    </a:moveTo>
                    <a:lnTo>
                      <a:pt x="5760" y="0"/>
                    </a:lnTo>
                    <a:lnTo>
                      <a:pt x="5760" y="592325"/>
                    </a:lnTo>
                    <a:lnTo>
                      <a:pt x="0" y="592325"/>
                    </a:ln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88" name="Freeform: Shape 87">
                <a:extLst>
                  <a:ext uri="{FF2B5EF4-FFF2-40B4-BE49-F238E27FC236}">
                    <a16:creationId xmlns:a16="http://schemas.microsoft.com/office/drawing/2014/main" id="{7D5DE3E3-067D-89DE-085F-57C3136B46F8}"/>
                  </a:ext>
                </a:extLst>
              </p:cNvPr>
              <p:cNvSpPr/>
              <p:nvPr/>
            </p:nvSpPr>
            <p:spPr>
              <a:xfrm>
                <a:off x="9954414" y="2059960"/>
                <a:ext cx="5930" cy="609801"/>
              </a:xfrm>
              <a:custGeom>
                <a:avLst/>
                <a:gdLst>
                  <a:gd name="connsiteX0" fmla="*/ 0 w 5760"/>
                  <a:gd name="connsiteY0" fmla="*/ 0 h 592325"/>
                  <a:gd name="connsiteX1" fmla="*/ 5761 w 5760"/>
                  <a:gd name="connsiteY1" fmla="*/ 0 h 592325"/>
                  <a:gd name="connsiteX2" fmla="*/ 5761 w 5760"/>
                  <a:gd name="connsiteY2" fmla="*/ 592325 h 592325"/>
                  <a:gd name="connsiteX3" fmla="*/ 0 w 5760"/>
                  <a:gd name="connsiteY3" fmla="*/ 592325 h 592325"/>
                </a:gdLst>
                <a:ahLst/>
                <a:cxnLst>
                  <a:cxn ang="0">
                    <a:pos x="connsiteX0" y="connsiteY0"/>
                  </a:cxn>
                  <a:cxn ang="0">
                    <a:pos x="connsiteX1" y="connsiteY1"/>
                  </a:cxn>
                  <a:cxn ang="0">
                    <a:pos x="connsiteX2" y="connsiteY2"/>
                  </a:cxn>
                  <a:cxn ang="0">
                    <a:pos x="connsiteX3" y="connsiteY3"/>
                  </a:cxn>
                </a:cxnLst>
                <a:rect l="l" t="t" r="r" b="b"/>
                <a:pathLst>
                  <a:path w="5760" h="592325">
                    <a:moveTo>
                      <a:pt x="0" y="0"/>
                    </a:moveTo>
                    <a:lnTo>
                      <a:pt x="5761" y="0"/>
                    </a:lnTo>
                    <a:lnTo>
                      <a:pt x="5761" y="592325"/>
                    </a:lnTo>
                    <a:lnTo>
                      <a:pt x="0" y="592325"/>
                    </a:ln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89" name="Freeform: Shape 88">
                <a:extLst>
                  <a:ext uri="{FF2B5EF4-FFF2-40B4-BE49-F238E27FC236}">
                    <a16:creationId xmlns:a16="http://schemas.microsoft.com/office/drawing/2014/main" id="{E141F2EE-2BBE-F6C5-A7F7-9EF1C888CB3D}"/>
                  </a:ext>
                </a:extLst>
              </p:cNvPr>
              <p:cNvSpPr/>
              <p:nvPr/>
            </p:nvSpPr>
            <p:spPr>
              <a:xfrm>
                <a:off x="10419796" y="2059960"/>
                <a:ext cx="5930" cy="609801"/>
              </a:xfrm>
              <a:custGeom>
                <a:avLst/>
                <a:gdLst>
                  <a:gd name="connsiteX0" fmla="*/ 0 w 5760"/>
                  <a:gd name="connsiteY0" fmla="*/ 0 h 592325"/>
                  <a:gd name="connsiteX1" fmla="*/ 5761 w 5760"/>
                  <a:gd name="connsiteY1" fmla="*/ 0 h 592325"/>
                  <a:gd name="connsiteX2" fmla="*/ 5761 w 5760"/>
                  <a:gd name="connsiteY2" fmla="*/ 592325 h 592325"/>
                  <a:gd name="connsiteX3" fmla="*/ 0 w 5760"/>
                  <a:gd name="connsiteY3" fmla="*/ 592325 h 592325"/>
                </a:gdLst>
                <a:ahLst/>
                <a:cxnLst>
                  <a:cxn ang="0">
                    <a:pos x="connsiteX0" y="connsiteY0"/>
                  </a:cxn>
                  <a:cxn ang="0">
                    <a:pos x="connsiteX1" y="connsiteY1"/>
                  </a:cxn>
                  <a:cxn ang="0">
                    <a:pos x="connsiteX2" y="connsiteY2"/>
                  </a:cxn>
                  <a:cxn ang="0">
                    <a:pos x="connsiteX3" y="connsiteY3"/>
                  </a:cxn>
                </a:cxnLst>
                <a:rect l="l" t="t" r="r" b="b"/>
                <a:pathLst>
                  <a:path w="5760" h="592325">
                    <a:moveTo>
                      <a:pt x="0" y="0"/>
                    </a:moveTo>
                    <a:lnTo>
                      <a:pt x="5761" y="0"/>
                    </a:lnTo>
                    <a:lnTo>
                      <a:pt x="5761" y="592325"/>
                    </a:lnTo>
                    <a:lnTo>
                      <a:pt x="0" y="592325"/>
                    </a:lnTo>
                    <a:close/>
                  </a:path>
                </a:pathLst>
              </a:custGeom>
              <a:solidFill>
                <a:srgbClr val="E6E6E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90" name="Freeform: Shape 89">
                <a:extLst>
                  <a:ext uri="{FF2B5EF4-FFF2-40B4-BE49-F238E27FC236}">
                    <a16:creationId xmlns:a16="http://schemas.microsoft.com/office/drawing/2014/main" id="{5782E55E-A9B6-CF76-6643-62FA2B3E750B}"/>
                  </a:ext>
                </a:extLst>
              </p:cNvPr>
              <p:cNvSpPr/>
              <p:nvPr/>
            </p:nvSpPr>
            <p:spPr>
              <a:xfrm>
                <a:off x="7930814" y="2177726"/>
                <a:ext cx="2741070" cy="492035"/>
              </a:xfrm>
              <a:custGeom>
                <a:avLst/>
                <a:gdLst>
                  <a:gd name="connsiteX0" fmla="*/ 0 w 2662515"/>
                  <a:gd name="connsiteY0" fmla="*/ 477934 h 477934"/>
                  <a:gd name="connsiteX1" fmla="*/ 157220 w 2662515"/>
                  <a:gd name="connsiteY1" fmla="*/ 256455 h 477934"/>
                  <a:gd name="connsiteX2" fmla="*/ 275897 w 2662515"/>
                  <a:gd name="connsiteY2" fmla="*/ 423619 h 477934"/>
                  <a:gd name="connsiteX3" fmla="*/ 460000 w 2662515"/>
                  <a:gd name="connsiteY3" fmla="*/ 164284 h 477934"/>
                  <a:gd name="connsiteX4" fmla="*/ 544800 w 2662515"/>
                  <a:gd name="connsiteY4" fmla="*/ 164284 h 477934"/>
                  <a:gd name="connsiteX5" fmla="*/ 670575 w 2662515"/>
                  <a:gd name="connsiteY5" fmla="*/ 240922 h 477934"/>
                  <a:gd name="connsiteX6" fmla="*/ 821863 w 2662515"/>
                  <a:gd name="connsiteY6" fmla="*/ 27843 h 477934"/>
                  <a:gd name="connsiteX7" fmla="*/ 1029660 w 2662515"/>
                  <a:gd name="connsiteY7" fmla="*/ 320577 h 477934"/>
                  <a:gd name="connsiteX8" fmla="*/ 1159139 w 2662515"/>
                  <a:gd name="connsiteY8" fmla="*/ 138223 h 477934"/>
                  <a:gd name="connsiteX9" fmla="*/ 1193806 w 2662515"/>
                  <a:gd name="connsiteY9" fmla="*/ 138223 h 477934"/>
                  <a:gd name="connsiteX10" fmla="*/ 1262455 w 2662515"/>
                  <a:gd name="connsiteY10" fmla="*/ 41491 h 477934"/>
                  <a:gd name="connsiteX11" fmla="*/ 1447347 w 2662515"/>
                  <a:gd name="connsiteY11" fmla="*/ 301923 h 477934"/>
                  <a:gd name="connsiteX12" fmla="*/ 1534169 w 2662515"/>
                  <a:gd name="connsiteY12" fmla="*/ 179645 h 477934"/>
                  <a:gd name="connsiteX13" fmla="*/ 1622568 w 2662515"/>
                  <a:gd name="connsiteY13" fmla="*/ 304118 h 477934"/>
                  <a:gd name="connsiteX14" fmla="*/ 1774919 w 2662515"/>
                  <a:gd name="connsiteY14" fmla="*/ 89531 h 477934"/>
                  <a:gd name="connsiteX15" fmla="*/ 1890956 w 2662515"/>
                  <a:gd name="connsiteY15" fmla="*/ 252992 h 477934"/>
                  <a:gd name="connsiteX16" fmla="*/ 1975858 w 2662515"/>
                  <a:gd name="connsiteY16" fmla="*/ 252992 h 477934"/>
                  <a:gd name="connsiteX17" fmla="*/ 2155469 w 2662515"/>
                  <a:gd name="connsiteY17" fmla="*/ 0 h 477934"/>
                  <a:gd name="connsiteX18" fmla="*/ 2343241 w 2662515"/>
                  <a:gd name="connsiteY18" fmla="*/ 264513 h 477934"/>
                  <a:gd name="connsiteX19" fmla="*/ 2662516 w 2662515"/>
                  <a:gd name="connsiteY19" fmla="*/ 0 h 477934"/>
                  <a:gd name="connsiteX20" fmla="*/ 2662516 w 2662515"/>
                  <a:gd name="connsiteY20" fmla="*/ 477934 h 477934"/>
                  <a:gd name="connsiteX21" fmla="*/ 0 w 2662515"/>
                  <a:gd name="connsiteY21" fmla="*/ 477934 h 477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62515" h="477934">
                    <a:moveTo>
                      <a:pt x="0" y="477934"/>
                    </a:moveTo>
                    <a:lnTo>
                      <a:pt x="157220" y="256455"/>
                    </a:lnTo>
                    <a:lnTo>
                      <a:pt x="275897" y="423619"/>
                    </a:lnTo>
                    <a:lnTo>
                      <a:pt x="460000" y="164284"/>
                    </a:lnTo>
                    <a:lnTo>
                      <a:pt x="544800" y="164284"/>
                    </a:lnTo>
                    <a:lnTo>
                      <a:pt x="670575" y="240922"/>
                    </a:lnTo>
                    <a:lnTo>
                      <a:pt x="821863" y="27843"/>
                    </a:lnTo>
                    <a:lnTo>
                      <a:pt x="1029660" y="320577"/>
                    </a:lnTo>
                    <a:lnTo>
                      <a:pt x="1159139" y="138223"/>
                    </a:lnTo>
                    <a:lnTo>
                      <a:pt x="1193806" y="138223"/>
                    </a:lnTo>
                    <a:lnTo>
                      <a:pt x="1262455" y="41491"/>
                    </a:lnTo>
                    <a:lnTo>
                      <a:pt x="1447347" y="301923"/>
                    </a:lnTo>
                    <a:lnTo>
                      <a:pt x="1534169" y="179645"/>
                    </a:lnTo>
                    <a:lnTo>
                      <a:pt x="1622568" y="304118"/>
                    </a:lnTo>
                    <a:lnTo>
                      <a:pt x="1774919" y="89531"/>
                    </a:lnTo>
                    <a:lnTo>
                      <a:pt x="1890956" y="252992"/>
                    </a:lnTo>
                    <a:lnTo>
                      <a:pt x="1975858" y="252992"/>
                    </a:lnTo>
                    <a:lnTo>
                      <a:pt x="2155469" y="0"/>
                    </a:lnTo>
                    <a:lnTo>
                      <a:pt x="2343241" y="264513"/>
                    </a:lnTo>
                    <a:lnTo>
                      <a:pt x="2662516" y="0"/>
                    </a:lnTo>
                    <a:lnTo>
                      <a:pt x="2662516" y="477934"/>
                    </a:lnTo>
                    <a:lnTo>
                      <a:pt x="0" y="477934"/>
                    </a:lnTo>
                    <a:close/>
                  </a:path>
                </a:pathLst>
              </a:custGeom>
              <a:solidFill>
                <a:srgbClr val="4EA0D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91" name="Freeform: Shape 90">
                <a:extLst>
                  <a:ext uri="{FF2B5EF4-FFF2-40B4-BE49-F238E27FC236}">
                    <a16:creationId xmlns:a16="http://schemas.microsoft.com/office/drawing/2014/main" id="{3B25A2C8-AD7C-B8B4-D202-C0011BFE2DA1}"/>
                  </a:ext>
                </a:extLst>
              </p:cNvPr>
              <p:cNvSpPr/>
              <p:nvPr/>
            </p:nvSpPr>
            <p:spPr>
              <a:xfrm>
                <a:off x="8383877" y="2258391"/>
                <a:ext cx="2288008" cy="411370"/>
              </a:xfrm>
              <a:custGeom>
                <a:avLst/>
                <a:gdLst>
                  <a:gd name="connsiteX0" fmla="*/ 0 w 2222437"/>
                  <a:gd name="connsiteY0" fmla="*/ 399581 h 399581"/>
                  <a:gd name="connsiteX1" fmla="*/ 128690 w 2222437"/>
                  <a:gd name="connsiteY1" fmla="*/ 218324 h 399581"/>
                  <a:gd name="connsiteX2" fmla="*/ 203957 w 2222437"/>
                  <a:gd name="connsiteY2" fmla="*/ 324383 h 399581"/>
                  <a:gd name="connsiteX3" fmla="*/ 357268 w 2222437"/>
                  <a:gd name="connsiteY3" fmla="*/ 108459 h 399581"/>
                  <a:gd name="connsiteX4" fmla="*/ 502691 w 2222437"/>
                  <a:gd name="connsiteY4" fmla="*/ 313308 h 399581"/>
                  <a:gd name="connsiteX5" fmla="*/ 617289 w 2222437"/>
                  <a:gd name="connsiteY5" fmla="*/ 313308 h 399581"/>
                  <a:gd name="connsiteX6" fmla="*/ 720433 w 2222437"/>
                  <a:gd name="connsiteY6" fmla="*/ 168021 h 399581"/>
                  <a:gd name="connsiteX7" fmla="*/ 855467 w 2222437"/>
                  <a:gd name="connsiteY7" fmla="*/ 168021 h 399581"/>
                  <a:gd name="connsiteX8" fmla="*/ 1001988 w 2222437"/>
                  <a:gd name="connsiteY8" fmla="*/ 374413 h 399581"/>
                  <a:gd name="connsiteX9" fmla="*/ 1097451 w 2222437"/>
                  <a:gd name="connsiteY9" fmla="*/ 239961 h 399581"/>
                  <a:gd name="connsiteX10" fmla="*/ 1150772 w 2222437"/>
                  <a:gd name="connsiteY10" fmla="*/ 315091 h 399581"/>
                  <a:gd name="connsiteX11" fmla="*/ 1325686 w 2222437"/>
                  <a:gd name="connsiteY11" fmla="*/ 68717 h 399581"/>
                  <a:gd name="connsiteX12" fmla="*/ 1455577 w 2222437"/>
                  <a:gd name="connsiteY12" fmla="*/ 251654 h 399581"/>
                  <a:gd name="connsiteX13" fmla="*/ 1568699 w 2222437"/>
                  <a:gd name="connsiteY13" fmla="*/ 251654 h 399581"/>
                  <a:gd name="connsiteX14" fmla="*/ 1697081 w 2222437"/>
                  <a:gd name="connsiteY14" fmla="*/ 70877 h 399581"/>
                  <a:gd name="connsiteX15" fmla="*/ 1753522 w 2222437"/>
                  <a:gd name="connsiteY15" fmla="*/ 150396 h 399581"/>
                  <a:gd name="connsiteX16" fmla="*/ 1799676 w 2222437"/>
                  <a:gd name="connsiteY16" fmla="*/ 85348 h 399581"/>
                  <a:gd name="connsiteX17" fmla="*/ 1919006 w 2222437"/>
                  <a:gd name="connsiteY17" fmla="*/ 253403 h 399581"/>
                  <a:gd name="connsiteX18" fmla="*/ 2042553 w 2222437"/>
                  <a:gd name="connsiteY18" fmla="*/ 253403 h 399581"/>
                  <a:gd name="connsiteX19" fmla="*/ 2222438 w 2222437"/>
                  <a:gd name="connsiteY19" fmla="*/ 0 h 399581"/>
                  <a:gd name="connsiteX20" fmla="*/ 2222438 w 2222437"/>
                  <a:gd name="connsiteY20" fmla="*/ 399581 h 399581"/>
                  <a:gd name="connsiteX21" fmla="*/ 0 w 2222437"/>
                  <a:gd name="connsiteY21" fmla="*/ 399581 h 399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22437" h="399581">
                    <a:moveTo>
                      <a:pt x="0" y="399581"/>
                    </a:moveTo>
                    <a:lnTo>
                      <a:pt x="128690" y="218324"/>
                    </a:lnTo>
                    <a:lnTo>
                      <a:pt x="203957" y="324383"/>
                    </a:lnTo>
                    <a:lnTo>
                      <a:pt x="357268" y="108459"/>
                    </a:lnTo>
                    <a:lnTo>
                      <a:pt x="502691" y="313308"/>
                    </a:lnTo>
                    <a:lnTo>
                      <a:pt x="617289" y="313308"/>
                    </a:lnTo>
                    <a:lnTo>
                      <a:pt x="720433" y="168021"/>
                    </a:lnTo>
                    <a:lnTo>
                      <a:pt x="855467" y="168021"/>
                    </a:lnTo>
                    <a:lnTo>
                      <a:pt x="1001988" y="374413"/>
                    </a:lnTo>
                    <a:lnTo>
                      <a:pt x="1097451" y="239961"/>
                    </a:lnTo>
                    <a:lnTo>
                      <a:pt x="1150772" y="315091"/>
                    </a:lnTo>
                    <a:lnTo>
                      <a:pt x="1325686" y="68717"/>
                    </a:lnTo>
                    <a:lnTo>
                      <a:pt x="1455577" y="251654"/>
                    </a:lnTo>
                    <a:lnTo>
                      <a:pt x="1568699" y="251654"/>
                    </a:lnTo>
                    <a:lnTo>
                      <a:pt x="1697081" y="70877"/>
                    </a:lnTo>
                    <a:lnTo>
                      <a:pt x="1753522" y="150396"/>
                    </a:lnTo>
                    <a:lnTo>
                      <a:pt x="1799676" y="85348"/>
                    </a:lnTo>
                    <a:lnTo>
                      <a:pt x="1919006" y="253403"/>
                    </a:lnTo>
                    <a:lnTo>
                      <a:pt x="2042553" y="253403"/>
                    </a:lnTo>
                    <a:lnTo>
                      <a:pt x="2222438" y="0"/>
                    </a:lnTo>
                    <a:lnTo>
                      <a:pt x="2222438" y="399581"/>
                    </a:lnTo>
                    <a:lnTo>
                      <a:pt x="0" y="399581"/>
                    </a:lnTo>
                    <a:close/>
                  </a:path>
                </a:pathLst>
              </a:custGeom>
              <a:solidFill>
                <a:schemeClr val="accent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grpSp>
            <p:nvGrpSpPr>
              <p:cNvPr id="92" name="Graphic 5">
                <a:extLst>
                  <a:ext uri="{FF2B5EF4-FFF2-40B4-BE49-F238E27FC236}">
                    <a16:creationId xmlns:a16="http://schemas.microsoft.com/office/drawing/2014/main" id="{4F1FD5F9-D6FE-22A0-947C-9BFFA6FC428F}"/>
                  </a:ext>
                </a:extLst>
              </p:cNvPr>
              <p:cNvGrpSpPr/>
              <p:nvPr/>
            </p:nvGrpSpPr>
            <p:grpSpPr>
              <a:xfrm>
                <a:off x="10374962" y="3639996"/>
                <a:ext cx="1836890" cy="2816496"/>
                <a:chOff x="8014909" y="3725885"/>
                <a:chExt cx="1784247" cy="2735779"/>
              </a:xfrm>
            </p:grpSpPr>
            <p:sp>
              <p:nvSpPr>
                <p:cNvPr id="93" name="Freeform: Shape 92">
                  <a:extLst>
                    <a:ext uri="{FF2B5EF4-FFF2-40B4-BE49-F238E27FC236}">
                      <a16:creationId xmlns:a16="http://schemas.microsoft.com/office/drawing/2014/main" id="{7A14A03E-F8E9-ECA8-70BA-811A09B972F5}"/>
                    </a:ext>
                  </a:extLst>
                </p:cNvPr>
                <p:cNvSpPr/>
                <p:nvPr/>
              </p:nvSpPr>
              <p:spPr>
                <a:xfrm>
                  <a:off x="9109927" y="3939989"/>
                  <a:ext cx="106838" cy="216918"/>
                </a:xfrm>
                <a:custGeom>
                  <a:avLst/>
                  <a:gdLst>
                    <a:gd name="connsiteX0" fmla="*/ 14436 w 106838"/>
                    <a:gd name="connsiteY0" fmla="*/ 0 h 216918"/>
                    <a:gd name="connsiteX1" fmla="*/ 0 w 106838"/>
                    <a:gd name="connsiteY1" fmla="*/ 216919 h 216918"/>
                    <a:gd name="connsiteX2" fmla="*/ 104482 w 106838"/>
                    <a:gd name="connsiteY2" fmla="*/ 169255 h 216918"/>
                    <a:gd name="connsiteX3" fmla="*/ 14470 w 106838"/>
                    <a:gd name="connsiteY3" fmla="*/ 0 h 216918"/>
                  </a:gdLst>
                  <a:ahLst/>
                  <a:cxnLst>
                    <a:cxn ang="0">
                      <a:pos x="connsiteX0" y="connsiteY0"/>
                    </a:cxn>
                    <a:cxn ang="0">
                      <a:pos x="connsiteX1" y="connsiteY1"/>
                    </a:cxn>
                    <a:cxn ang="0">
                      <a:pos x="connsiteX2" y="connsiteY2"/>
                    </a:cxn>
                    <a:cxn ang="0">
                      <a:pos x="connsiteX3" y="connsiteY3"/>
                    </a:cxn>
                  </a:cxnLst>
                  <a:rect l="l" t="t" r="r" b="b"/>
                  <a:pathLst>
                    <a:path w="106838" h="216918">
                      <a:moveTo>
                        <a:pt x="14436" y="0"/>
                      </a:moveTo>
                      <a:cubicBezTo>
                        <a:pt x="14436" y="0"/>
                        <a:pt x="32027" y="173404"/>
                        <a:pt x="0" y="216919"/>
                      </a:cubicBezTo>
                      <a:cubicBezTo>
                        <a:pt x="0" y="216919"/>
                        <a:pt x="84833" y="198436"/>
                        <a:pt x="104482" y="169255"/>
                      </a:cubicBezTo>
                      <a:cubicBezTo>
                        <a:pt x="124130" y="140040"/>
                        <a:pt x="14470" y="0"/>
                        <a:pt x="14470" y="0"/>
                      </a:cubicBezTo>
                      <a:close/>
                    </a:path>
                  </a:pathLst>
                </a:custGeom>
                <a:solidFill>
                  <a:srgbClr val="E8734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94" name="Freeform: Shape 93">
                  <a:extLst>
                    <a:ext uri="{FF2B5EF4-FFF2-40B4-BE49-F238E27FC236}">
                      <a16:creationId xmlns:a16="http://schemas.microsoft.com/office/drawing/2014/main" id="{56CC1440-9852-CFE5-4D2E-6DE31EFF3C1B}"/>
                    </a:ext>
                  </a:extLst>
                </p:cNvPr>
                <p:cNvSpPr/>
                <p:nvPr/>
              </p:nvSpPr>
              <p:spPr>
                <a:xfrm>
                  <a:off x="8474094" y="4467960"/>
                  <a:ext cx="131615" cy="94581"/>
                </a:xfrm>
                <a:custGeom>
                  <a:avLst/>
                  <a:gdLst>
                    <a:gd name="connsiteX0" fmla="*/ 120591 w 131615"/>
                    <a:gd name="connsiteY0" fmla="*/ 25812 h 94581"/>
                    <a:gd name="connsiteX1" fmla="*/ 84998 w 131615"/>
                    <a:gd name="connsiteY1" fmla="*/ 2118 h 94581"/>
                    <a:gd name="connsiteX2" fmla="*/ 46285 w 131615"/>
                    <a:gd name="connsiteY2" fmla="*/ 1741 h 94581"/>
                    <a:gd name="connsiteX3" fmla="*/ 3285 w 131615"/>
                    <a:gd name="connsiteY3" fmla="*/ 17720 h 94581"/>
                    <a:gd name="connsiteX4" fmla="*/ 267 w 131615"/>
                    <a:gd name="connsiteY4" fmla="*/ 30681 h 94581"/>
                    <a:gd name="connsiteX5" fmla="*/ 6748 w 131615"/>
                    <a:gd name="connsiteY5" fmla="*/ 44809 h 94581"/>
                    <a:gd name="connsiteX6" fmla="*/ 10691 w 131615"/>
                    <a:gd name="connsiteY6" fmla="*/ 62365 h 94581"/>
                    <a:gd name="connsiteX7" fmla="*/ 17549 w 131615"/>
                    <a:gd name="connsiteY7" fmla="*/ 79065 h 94581"/>
                    <a:gd name="connsiteX8" fmla="*/ 22555 w 131615"/>
                    <a:gd name="connsiteY8" fmla="*/ 93192 h 94581"/>
                    <a:gd name="connsiteX9" fmla="*/ 44295 w 131615"/>
                    <a:gd name="connsiteY9" fmla="*/ 94221 h 94581"/>
                    <a:gd name="connsiteX10" fmla="*/ 114145 w 131615"/>
                    <a:gd name="connsiteY10" fmla="*/ 84551 h 94581"/>
                    <a:gd name="connsiteX11" fmla="*/ 120522 w 131615"/>
                    <a:gd name="connsiteY11" fmla="*/ 25812 h 9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1615" h="94581">
                      <a:moveTo>
                        <a:pt x="120591" y="25812"/>
                      </a:moveTo>
                      <a:cubicBezTo>
                        <a:pt x="120591" y="25812"/>
                        <a:pt x="89798" y="5135"/>
                        <a:pt x="84998" y="2118"/>
                      </a:cubicBezTo>
                      <a:cubicBezTo>
                        <a:pt x="80197" y="-900"/>
                        <a:pt x="64390" y="-385"/>
                        <a:pt x="46285" y="1741"/>
                      </a:cubicBezTo>
                      <a:cubicBezTo>
                        <a:pt x="28179" y="3901"/>
                        <a:pt x="4690" y="14908"/>
                        <a:pt x="3285" y="17720"/>
                      </a:cubicBezTo>
                      <a:cubicBezTo>
                        <a:pt x="1879" y="20531"/>
                        <a:pt x="-864" y="22692"/>
                        <a:pt x="267" y="30681"/>
                      </a:cubicBezTo>
                      <a:cubicBezTo>
                        <a:pt x="1399" y="38671"/>
                        <a:pt x="6748" y="44809"/>
                        <a:pt x="6748" y="44809"/>
                      </a:cubicBezTo>
                      <a:cubicBezTo>
                        <a:pt x="6748" y="44809"/>
                        <a:pt x="3525" y="55302"/>
                        <a:pt x="10691" y="62365"/>
                      </a:cubicBezTo>
                      <a:cubicBezTo>
                        <a:pt x="10691" y="62365"/>
                        <a:pt x="8119" y="72378"/>
                        <a:pt x="17549" y="79065"/>
                      </a:cubicBezTo>
                      <a:cubicBezTo>
                        <a:pt x="17549" y="79065"/>
                        <a:pt x="15286" y="88906"/>
                        <a:pt x="22555" y="93192"/>
                      </a:cubicBezTo>
                      <a:cubicBezTo>
                        <a:pt x="22555" y="93192"/>
                        <a:pt x="38398" y="92712"/>
                        <a:pt x="44295" y="94221"/>
                      </a:cubicBezTo>
                      <a:cubicBezTo>
                        <a:pt x="50193" y="95730"/>
                        <a:pt x="83078" y="92506"/>
                        <a:pt x="114145" y="84551"/>
                      </a:cubicBezTo>
                      <a:cubicBezTo>
                        <a:pt x="114145" y="84551"/>
                        <a:pt x="148777" y="77110"/>
                        <a:pt x="120522" y="25812"/>
                      </a:cubicBezTo>
                      <a:close/>
                    </a:path>
                  </a:pathLst>
                </a:custGeom>
                <a:solidFill>
                  <a:srgbClr val="EEA8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95" name="Freeform: Shape 94">
                  <a:extLst>
                    <a:ext uri="{FF2B5EF4-FFF2-40B4-BE49-F238E27FC236}">
                      <a16:creationId xmlns:a16="http://schemas.microsoft.com/office/drawing/2014/main" id="{347382E0-5C82-925E-20AB-2F828FD188DD}"/>
                    </a:ext>
                  </a:extLst>
                </p:cNvPr>
                <p:cNvSpPr/>
                <p:nvPr/>
              </p:nvSpPr>
              <p:spPr>
                <a:xfrm>
                  <a:off x="8530271" y="4508106"/>
                  <a:ext cx="26746" cy="53355"/>
                </a:xfrm>
                <a:custGeom>
                  <a:avLst/>
                  <a:gdLst>
                    <a:gd name="connsiteX0" fmla="*/ 12019 w 26746"/>
                    <a:gd name="connsiteY0" fmla="*/ 0 h 53355"/>
                    <a:gd name="connsiteX1" fmla="*/ 26181 w 26746"/>
                    <a:gd name="connsiteY1" fmla="*/ 19374 h 53355"/>
                    <a:gd name="connsiteX2" fmla="*/ 2486 w 26746"/>
                    <a:gd name="connsiteY2" fmla="*/ 53355 h 53355"/>
                    <a:gd name="connsiteX3" fmla="*/ 12019 w 26746"/>
                    <a:gd name="connsiteY3" fmla="*/ 0 h 53355"/>
                  </a:gdLst>
                  <a:ahLst/>
                  <a:cxnLst>
                    <a:cxn ang="0">
                      <a:pos x="connsiteX0" y="connsiteY0"/>
                    </a:cxn>
                    <a:cxn ang="0">
                      <a:pos x="connsiteX1" y="connsiteY1"/>
                    </a:cxn>
                    <a:cxn ang="0">
                      <a:pos x="connsiteX2" y="connsiteY2"/>
                    </a:cxn>
                    <a:cxn ang="0">
                      <a:pos x="connsiteX3" y="connsiteY3"/>
                    </a:cxn>
                  </a:cxnLst>
                  <a:rect l="l" t="t" r="r" b="b"/>
                  <a:pathLst>
                    <a:path w="26746" h="53355">
                      <a:moveTo>
                        <a:pt x="12019" y="0"/>
                      </a:moveTo>
                      <a:cubicBezTo>
                        <a:pt x="12019" y="0"/>
                        <a:pt x="21277" y="16151"/>
                        <a:pt x="26181" y="19374"/>
                      </a:cubicBezTo>
                      <a:cubicBezTo>
                        <a:pt x="31084" y="22597"/>
                        <a:pt x="2486" y="53355"/>
                        <a:pt x="2486" y="53355"/>
                      </a:cubicBezTo>
                      <a:cubicBezTo>
                        <a:pt x="2486" y="53355"/>
                        <a:pt x="-7320" y="11796"/>
                        <a:pt x="12019" y="0"/>
                      </a:cubicBezTo>
                      <a:close/>
                    </a:path>
                  </a:pathLst>
                </a:custGeom>
                <a:solidFill>
                  <a:srgbClr val="CF8C6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96" name="Freeform: Shape 95">
                  <a:extLst>
                    <a:ext uri="{FF2B5EF4-FFF2-40B4-BE49-F238E27FC236}">
                      <a16:creationId xmlns:a16="http://schemas.microsoft.com/office/drawing/2014/main" id="{5F8B661F-3D58-7A73-2256-4C72E866FFA0}"/>
                    </a:ext>
                  </a:extLst>
                </p:cNvPr>
                <p:cNvSpPr/>
                <p:nvPr/>
              </p:nvSpPr>
              <p:spPr>
                <a:xfrm>
                  <a:off x="8576797" y="4488712"/>
                  <a:ext cx="60266" cy="60644"/>
                </a:xfrm>
                <a:custGeom>
                  <a:avLst/>
                  <a:gdLst>
                    <a:gd name="connsiteX0" fmla="*/ 36131 w 60266"/>
                    <a:gd name="connsiteY0" fmla="*/ 8010 h 60644"/>
                    <a:gd name="connsiteX1" fmla="*/ 4789 w 60266"/>
                    <a:gd name="connsiteY1" fmla="*/ 329 h 60644"/>
                    <a:gd name="connsiteX2" fmla="*/ 7053 w 60266"/>
                    <a:gd name="connsiteY2" fmla="*/ 60645 h 60644"/>
                    <a:gd name="connsiteX3" fmla="*/ 54956 w 60266"/>
                    <a:gd name="connsiteY3" fmla="*/ 40036 h 60644"/>
                    <a:gd name="connsiteX4" fmla="*/ 36131 w 60266"/>
                    <a:gd name="connsiteY4" fmla="*/ 8010 h 60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66" h="60644">
                      <a:moveTo>
                        <a:pt x="36131" y="8010"/>
                      </a:moveTo>
                      <a:cubicBezTo>
                        <a:pt x="36131" y="8010"/>
                        <a:pt x="16756" y="5849"/>
                        <a:pt x="4789" y="329"/>
                      </a:cubicBezTo>
                      <a:cubicBezTo>
                        <a:pt x="-7178" y="-5192"/>
                        <a:pt x="7053" y="60645"/>
                        <a:pt x="7053" y="60645"/>
                      </a:cubicBezTo>
                      <a:cubicBezTo>
                        <a:pt x="7053" y="60645"/>
                        <a:pt x="36062" y="40654"/>
                        <a:pt x="54956" y="40036"/>
                      </a:cubicBezTo>
                      <a:cubicBezTo>
                        <a:pt x="73884" y="39454"/>
                        <a:pt x="36131" y="8010"/>
                        <a:pt x="36131" y="8010"/>
                      </a:cubicBezTo>
                      <a:close/>
                    </a:path>
                  </a:pathLst>
                </a:custGeom>
                <a:solidFill>
                  <a:srgbClr val="EEA8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97" name="Freeform: Shape 96">
                  <a:extLst>
                    <a:ext uri="{FF2B5EF4-FFF2-40B4-BE49-F238E27FC236}">
                      <a16:creationId xmlns:a16="http://schemas.microsoft.com/office/drawing/2014/main" id="{D6746958-F806-659E-03EE-FB9C7A56FFA3}"/>
                    </a:ext>
                  </a:extLst>
                </p:cNvPr>
                <p:cNvSpPr/>
                <p:nvPr/>
              </p:nvSpPr>
              <p:spPr>
                <a:xfrm>
                  <a:off x="9288872" y="6247424"/>
                  <a:ext cx="205510" cy="214240"/>
                </a:xfrm>
                <a:custGeom>
                  <a:avLst/>
                  <a:gdLst>
                    <a:gd name="connsiteX0" fmla="*/ 126236 w 205510"/>
                    <a:gd name="connsiteY0" fmla="*/ 1893 h 214240"/>
                    <a:gd name="connsiteX1" fmla="*/ 44591 w 205510"/>
                    <a:gd name="connsiteY1" fmla="*/ 109153 h 214240"/>
                    <a:gd name="connsiteX2" fmla="*/ 1077 w 205510"/>
                    <a:gd name="connsiteY2" fmla="*/ 148586 h 214240"/>
                    <a:gd name="connsiteX3" fmla="*/ 51175 w 205510"/>
                    <a:gd name="connsiteY3" fmla="*/ 214114 h 214240"/>
                    <a:gd name="connsiteX4" fmla="*/ 152845 w 205510"/>
                    <a:gd name="connsiteY4" fmla="*/ 168920 h 214240"/>
                    <a:gd name="connsiteX5" fmla="*/ 187272 w 205510"/>
                    <a:gd name="connsiteY5" fmla="*/ 106340 h 214240"/>
                    <a:gd name="connsiteX6" fmla="*/ 187272 w 205510"/>
                    <a:gd name="connsiteY6" fmla="*/ 176738 h 214240"/>
                    <a:gd name="connsiteX7" fmla="*/ 199787 w 205510"/>
                    <a:gd name="connsiteY7" fmla="*/ 176738 h 214240"/>
                    <a:gd name="connsiteX8" fmla="*/ 203697 w 205510"/>
                    <a:gd name="connsiteY8" fmla="*/ 96156 h 214240"/>
                    <a:gd name="connsiteX9" fmla="*/ 186277 w 205510"/>
                    <a:gd name="connsiteY9" fmla="*/ 14203 h 214240"/>
                    <a:gd name="connsiteX10" fmla="*/ 126236 w 205510"/>
                    <a:gd name="connsiteY10" fmla="*/ 1893 h 21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510" h="214240">
                      <a:moveTo>
                        <a:pt x="126236" y="1893"/>
                      </a:moveTo>
                      <a:cubicBezTo>
                        <a:pt x="126236" y="1893"/>
                        <a:pt x="65714" y="90396"/>
                        <a:pt x="44591" y="109153"/>
                      </a:cubicBezTo>
                      <a:cubicBezTo>
                        <a:pt x="44591" y="109153"/>
                        <a:pt x="2380" y="131064"/>
                        <a:pt x="1077" y="148586"/>
                      </a:cubicBezTo>
                      <a:cubicBezTo>
                        <a:pt x="-1392" y="181676"/>
                        <a:pt x="-4375" y="212537"/>
                        <a:pt x="51175" y="214114"/>
                      </a:cubicBezTo>
                      <a:cubicBezTo>
                        <a:pt x="106725" y="215691"/>
                        <a:pt x="142661" y="202558"/>
                        <a:pt x="152845" y="168920"/>
                      </a:cubicBezTo>
                      <a:cubicBezTo>
                        <a:pt x="163029" y="135281"/>
                        <a:pt x="187272" y="106340"/>
                        <a:pt x="187272" y="106340"/>
                      </a:cubicBezTo>
                      <a:lnTo>
                        <a:pt x="187272" y="176738"/>
                      </a:lnTo>
                      <a:lnTo>
                        <a:pt x="199787" y="176738"/>
                      </a:lnTo>
                      <a:cubicBezTo>
                        <a:pt x="199787" y="176738"/>
                        <a:pt x="202908" y="108672"/>
                        <a:pt x="203697" y="96156"/>
                      </a:cubicBezTo>
                      <a:cubicBezTo>
                        <a:pt x="204486" y="83641"/>
                        <a:pt x="212680" y="35532"/>
                        <a:pt x="186277" y="14203"/>
                      </a:cubicBezTo>
                      <a:cubicBezTo>
                        <a:pt x="159874" y="-7125"/>
                        <a:pt x="126236" y="1893"/>
                        <a:pt x="126236" y="1893"/>
                      </a:cubicBezTo>
                      <a:close/>
                    </a:path>
                  </a:pathLst>
                </a:custGeom>
                <a:solidFill>
                  <a:srgbClr val="162D4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98" name="Freeform: Shape 97">
                  <a:extLst>
                    <a:ext uri="{FF2B5EF4-FFF2-40B4-BE49-F238E27FC236}">
                      <a16:creationId xmlns:a16="http://schemas.microsoft.com/office/drawing/2014/main" id="{3CC245B4-AB03-2A33-C2CA-4609222C2533}"/>
                    </a:ext>
                  </a:extLst>
                </p:cNvPr>
                <p:cNvSpPr/>
                <p:nvPr/>
              </p:nvSpPr>
              <p:spPr>
                <a:xfrm>
                  <a:off x="9325371" y="6224492"/>
                  <a:ext cx="155470" cy="140227"/>
                </a:xfrm>
                <a:custGeom>
                  <a:avLst/>
                  <a:gdLst>
                    <a:gd name="connsiteX0" fmla="*/ 34 w 155470"/>
                    <a:gd name="connsiteY0" fmla="*/ 136611 h 140227"/>
                    <a:gd name="connsiteX1" fmla="*/ 65768 w 155470"/>
                    <a:gd name="connsiteY1" fmla="*/ 136097 h 140227"/>
                    <a:gd name="connsiteX2" fmla="*/ 146212 w 155470"/>
                    <a:gd name="connsiteY2" fmla="*/ 34496 h 140227"/>
                    <a:gd name="connsiteX3" fmla="*/ 155470 w 155470"/>
                    <a:gd name="connsiteY3" fmla="*/ 0 h 140227"/>
                    <a:gd name="connsiteX4" fmla="*/ 85828 w 155470"/>
                    <a:gd name="connsiteY4" fmla="*/ 0 h 140227"/>
                    <a:gd name="connsiteX5" fmla="*/ 73997 w 155470"/>
                    <a:gd name="connsiteY5" fmla="*/ 47389 h 140227"/>
                    <a:gd name="connsiteX6" fmla="*/ 0 w 155470"/>
                    <a:gd name="connsiteY6" fmla="*/ 136646 h 140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470" h="140227">
                      <a:moveTo>
                        <a:pt x="34" y="136611"/>
                      </a:moveTo>
                      <a:cubicBezTo>
                        <a:pt x="34" y="136611"/>
                        <a:pt x="30072" y="145081"/>
                        <a:pt x="65768" y="136097"/>
                      </a:cubicBezTo>
                      <a:cubicBezTo>
                        <a:pt x="101498" y="127113"/>
                        <a:pt x="135788" y="41594"/>
                        <a:pt x="146212" y="34496"/>
                      </a:cubicBezTo>
                      <a:lnTo>
                        <a:pt x="155470" y="0"/>
                      </a:lnTo>
                      <a:lnTo>
                        <a:pt x="85828" y="0"/>
                      </a:lnTo>
                      <a:cubicBezTo>
                        <a:pt x="85828" y="0"/>
                        <a:pt x="85244" y="25512"/>
                        <a:pt x="73997" y="47389"/>
                      </a:cubicBezTo>
                      <a:cubicBezTo>
                        <a:pt x="62751" y="69231"/>
                        <a:pt x="0" y="136646"/>
                        <a:pt x="0" y="136646"/>
                      </a:cubicBezTo>
                      <a:close/>
                    </a:path>
                  </a:pathLst>
                </a:custGeom>
                <a:solidFill>
                  <a:srgbClr val="162D4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99" name="Freeform: Shape 98">
                  <a:extLst>
                    <a:ext uri="{FF2B5EF4-FFF2-40B4-BE49-F238E27FC236}">
                      <a16:creationId xmlns:a16="http://schemas.microsoft.com/office/drawing/2014/main" id="{01E5BB5A-8F04-5953-CADB-97F6F7F14E0E}"/>
                    </a:ext>
                  </a:extLst>
                </p:cNvPr>
                <p:cNvSpPr/>
                <p:nvPr/>
              </p:nvSpPr>
              <p:spPr>
                <a:xfrm>
                  <a:off x="8849801" y="6198538"/>
                  <a:ext cx="265811" cy="248221"/>
                </a:xfrm>
                <a:custGeom>
                  <a:avLst/>
                  <a:gdLst>
                    <a:gd name="connsiteX0" fmla="*/ 172411 w 265811"/>
                    <a:gd name="connsiteY0" fmla="*/ 17724 h 248221"/>
                    <a:gd name="connsiteX1" fmla="*/ 146214 w 265811"/>
                    <a:gd name="connsiteY1" fmla="*/ 61547 h 248221"/>
                    <a:gd name="connsiteX2" fmla="*/ 77359 w 265811"/>
                    <a:gd name="connsiteY2" fmla="*/ 149947 h 248221"/>
                    <a:gd name="connsiteX3" fmla="*/ 2265 w 265811"/>
                    <a:gd name="connsiteY3" fmla="*/ 193769 h 248221"/>
                    <a:gd name="connsiteX4" fmla="*/ 47630 w 265811"/>
                    <a:gd name="connsiteY4" fmla="*/ 246953 h 248221"/>
                    <a:gd name="connsiteX5" fmla="*/ 159518 w 265811"/>
                    <a:gd name="connsiteY5" fmla="*/ 215646 h 248221"/>
                    <a:gd name="connsiteX6" fmla="*/ 224464 w 265811"/>
                    <a:gd name="connsiteY6" fmla="*/ 152278 h 248221"/>
                    <a:gd name="connsiteX7" fmla="*/ 224464 w 265811"/>
                    <a:gd name="connsiteY7" fmla="*/ 248221 h 248221"/>
                    <a:gd name="connsiteX8" fmla="*/ 244798 w 265811"/>
                    <a:gd name="connsiteY8" fmla="*/ 248221 h 248221"/>
                    <a:gd name="connsiteX9" fmla="*/ 259645 w 265811"/>
                    <a:gd name="connsiteY9" fmla="*/ 141340 h 248221"/>
                    <a:gd name="connsiteX10" fmla="*/ 230704 w 265811"/>
                    <a:gd name="connsiteY10" fmla="*/ 17724 h 248221"/>
                    <a:gd name="connsiteX11" fmla="*/ 172411 w 265811"/>
                    <a:gd name="connsiteY11" fmla="*/ 17724 h 24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5811" h="248221">
                      <a:moveTo>
                        <a:pt x="172411" y="17724"/>
                      </a:moveTo>
                      <a:cubicBezTo>
                        <a:pt x="172411" y="17724"/>
                        <a:pt x="163325" y="39190"/>
                        <a:pt x="146214" y="61547"/>
                      </a:cubicBezTo>
                      <a:cubicBezTo>
                        <a:pt x="133664" y="77938"/>
                        <a:pt x="94573" y="145249"/>
                        <a:pt x="77359" y="149947"/>
                      </a:cubicBezTo>
                      <a:cubicBezTo>
                        <a:pt x="60146" y="154644"/>
                        <a:pt x="6962" y="164040"/>
                        <a:pt x="2265" y="193769"/>
                      </a:cubicBezTo>
                      <a:cubicBezTo>
                        <a:pt x="-2434" y="223498"/>
                        <a:pt x="-4765" y="244621"/>
                        <a:pt x="47630" y="246953"/>
                      </a:cubicBezTo>
                      <a:cubicBezTo>
                        <a:pt x="100060" y="249285"/>
                        <a:pt x="134487" y="252439"/>
                        <a:pt x="159518" y="215646"/>
                      </a:cubicBezTo>
                      <a:cubicBezTo>
                        <a:pt x="184550" y="178887"/>
                        <a:pt x="224464" y="152278"/>
                        <a:pt x="224464" y="152278"/>
                      </a:cubicBezTo>
                      <a:lnTo>
                        <a:pt x="224464" y="248221"/>
                      </a:lnTo>
                      <a:lnTo>
                        <a:pt x="244798" y="248221"/>
                      </a:lnTo>
                      <a:cubicBezTo>
                        <a:pt x="244798" y="248221"/>
                        <a:pt x="254193" y="148369"/>
                        <a:pt x="259645" y="141340"/>
                      </a:cubicBezTo>
                      <a:cubicBezTo>
                        <a:pt x="265097" y="134310"/>
                        <a:pt x="279191" y="57638"/>
                        <a:pt x="230704" y="17724"/>
                      </a:cubicBezTo>
                      <a:cubicBezTo>
                        <a:pt x="182184" y="-22155"/>
                        <a:pt x="172411" y="17724"/>
                        <a:pt x="172411" y="17724"/>
                      </a:cubicBezTo>
                      <a:close/>
                    </a:path>
                  </a:pathLst>
                </a:custGeom>
                <a:solidFill>
                  <a:srgbClr val="162D4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00" name="Freeform: Shape 99">
                  <a:extLst>
                    <a:ext uri="{FF2B5EF4-FFF2-40B4-BE49-F238E27FC236}">
                      <a16:creationId xmlns:a16="http://schemas.microsoft.com/office/drawing/2014/main" id="{EA2153FD-D8C4-218D-8484-DA7163519F01}"/>
                    </a:ext>
                  </a:extLst>
                </p:cNvPr>
                <p:cNvSpPr/>
                <p:nvPr/>
              </p:nvSpPr>
              <p:spPr>
                <a:xfrm>
                  <a:off x="8927161" y="6205724"/>
                  <a:ext cx="164386" cy="147972"/>
                </a:xfrm>
                <a:custGeom>
                  <a:avLst/>
                  <a:gdLst>
                    <a:gd name="connsiteX0" fmla="*/ 0 w 164386"/>
                    <a:gd name="connsiteY0" fmla="*/ 142761 h 147972"/>
                    <a:gd name="connsiteX1" fmla="*/ 64946 w 164386"/>
                    <a:gd name="connsiteY1" fmla="*/ 142761 h 147972"/>
                    <a:gd name="connsiteX2" fmla="*/ 164387 w 164386"/>
                    <a:gd name="connsiteY2" fmla="*/ 21443 h 147972"/>
                    <a:gd name="connsiteX3" fmla="*/ 95086 w 164386"/>
                    <a:gd name="connsiteY3" fmla="*/ 10538 h 147972"/>
                    <a:gd name="connsiteX4" fmla="*/ 34 w 164386"/>
                    <a:gd name="connsiteY4" fmla="*/ 142761 h 147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386" h="147972">
                      <a:moveTo>
                        <a:pt x="0" y="142761"/>
                      </a:moveTo>
                      <a:cubicBezTo>
                        <a:pt x="0" y="142761"/>
                        <a:pt x="46944" y="154488"/>
                        <a:pt x="64946" y="142761"/>
                      </a:cubicBezTo>
                      <a:cubicBezTo>
                        <a:pt x="82948" y="131033"/>
                        <a:pt x="144121" y="27649"/>
                        <a:pt x="164387" y="21443"/>
                      </a:cubicBezTo>
                      <a:cubicBezTo>
                        <a:pt x="164387" y="21443"/>
                        <a:pt x="144738" y="-18402"/>
                        <a:pt x="95086" y="10538"/>
                      </a:cubicBezTo>
                      <a:cubicBezTo>
                        <a:pt x="95086" y="10538"/>
                        <a:pt x="13339" y="125547"/>
                        <a:pt x="34" y="142761"/>
                      </a:cubicBezTo>
                      <a:close/>
                    </a:path>
                  </a:pathLst>
                </a:custGeom>
                <a:solidFill>
                  <a:srgbClr val="162D4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01" name="Freeform: Shape 100">
                  <a:extLst>
                    <a:ext uri="{FF2B5EF4-FFF2-40B4-BE49-F238E27FC236}">
                      <a16:creationId xmlns:a16="http://schemas.microsoft.com/office/drawing/2014/main" id="{1C1185C0-9CE0-D6B6-FFC5-0882FBC2A97D}"/>
                    </a:ext>
                  </a:extLst>
                </p:cNvPr>
                <p:cNvSpPr/>
                <p:nvPr/>
              </p:nvSpPr>
              <p:spPr>
                <a:xfrm>
                  <a:off x="9237623" y="4751761"/>
                  <a:ext cx="314937" cy="1505443"/>
                </a:xfrm>
                <a:custGeom>
                  <a:avLst/>
                  <a:gdLst>
                    <a:gd name="connsiteX0" fmla="*/ 204128 w 314937"/>
                    <a:gd name="connsiteY0" fmla="*/ 27785 h 1505443"/>
                    <a:gd name="connsiteX1" fmla="*/ 288276 w 314937"/>
                    <a:gd name="connsiteY1" fmla="*/ 215934 h 1505443"/>
                    <a:gd name="connsiteX2" fmla="*/ 278469 w 314937"/>
                    <a:gd name="connsiteY2" fmla="*/ 711150 h 1505443"/>
                    <a:gd name="connsiteX3" fmla="*/ 313616 w 314937"/>
                    <a:gd name="connsiteY3" fmla="*/ 1013656 h 1505443"/>
                    <a:gd name="connsiteX4" fmla="*/ 255084 w 314937"/>
                    <a:gd name="connsiteY4" fmla="*/ 1505444 h 1505443"/>
                    <a:gd name="connsiteX5" fmla="*/ 140417 w 314937"/>
                    <a:gd name="connsiteY5" fmla="*/ 1503386 h 1505443"/>
                    <a:gd name="connsiteX6" fmla="*/ 157528 w 314937"/>
                    <a:gd name="connsiteY6" fmla="*/ 1035396 h 1505443"/>
                    <a:gd name="connsiteX7" fmla="*/ 130645 w 314937"/>
                    <a:gd name="connsiteY7" fmla="*/ 809322 h 1505443"/>
                    <a:gd name="connsiteX8" fmla="*/ 0 w 314937"/>
                    <a:gd name="connsiteY8" fmla="*/ 284857 h 1505443"/>
                    <a:gd name="connsiteX9" fmla="*/ 204197 w 314937"/>
                    <a:gd name="connsiteY9" fmla="*/ 27785 h 1505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937" h="1505443">
                      <a:moveTo>
                        <a:pt x="204128" y="27785"/>
                      </a:moveTo>
                      <a:cubicBezTo>
                        <a:pt x="204128" y="27785"/>
                        <a:pt x="270308" y="113852"/>
                        <a:pt x="288276" y="215934"/>
                      </a:cubicBezTo>
                      <a:cubicBezTo>
                        <a:pt x="306244" y="318015"/>
                        <a:pt x="277680" y="660675"/>
                        <a:pt x="278469" y="711150"/>
                      </a:cubicBezTo>
                      <a:cubicBezTo>
                        <a:pt x="279258" y="761591"/>
                        <a:pt x="323012" y="918605"/>
                        <a:pt x="313616" y="1013656"/>
                      </a:cubicBezTo>
                      <a:cubicBezTo>
                        <a:pt x="304221" y="1108708"/>
                        <a:pt x="255084" y="1505444"/>
                        <a:pt x="255084" y="1505444"/>
                      </a:cubicBezTo>
                      <a:lnTo>
                        <a:pt x="140417" y="1503386"/>
                      </a:lnTo>
                      <a:cubicBezTo>
                        <a:pt x="140417" y="1503386"/>
                        <a:pt x="163392" y="1075275"/>
                        <a:pt x="157528" y="1035396"/>
                      </a:cubicBezTo>
                      <a:cubicBezTo>
                        <a:pt x="151665" y="995483"/>
                        <a:pt x="132977" y="825747"/>
                        <a:pt x="130645" y="809322"/>
                      </a:cubicBezTo>
                      <a:cubicBezTo>
                        <a:pt x="128313" y="792897"/>
                        <a:pt x="0" y="358443"/>
                        <a:pt x="0" y="284857"/>
                      </a:cubicBezTo>
                      <a:cubicBezTo>
                        <a:pt x="0" y="211270"/>
                        <a:pt x="44577" y="-92299"/>
                        <a:pt x="204197" y="27785"/>
                      </a:cubicBezTo>
                      <a:close/>
                    </a:path>
                  </a:pathLst>
                </a:custGeom>
                <a:solidFill>
                  <a:srgbClr val="1D3B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02" name="Freeform: Shape 101">
                  <a:extLst>
                    <a:ext uri="{FF2B5EF4-FFF2-40B4-BE49-F238E27FC236}">
                      <a16:creationId xmlns:a16="http://schemas.microsoft.com/office/drawing/2014/main" id="{84F7831B-2FE9-AA49-FD61-672747B09042}"/>
                    </a:ext>
                  </a:extLst>
                </p:cNvPr>
                <p:cNvSpPr/>
                <p:nvPr/>
              </p:nvSpPr>
              <p:spPr>
                <a:xfrm>
                  <a:off x="8949995" y="4791631"/>
                  <a:ext cx="386777" cy="1428163"/>
                </a:xfrm>
                <a:custGeom>
                  <a:avLst/>
                  <a:gdLst>
                    <a:gd name="connsiteX0" fmla="*/ 159246 w 386777"/>
                    <a:gd name="connsiteY0" fmla="*/ 21553 h 1428163"/>
                    <a:gd name="connsiteX1" fmla="*/ 37586 w 386777"/>
                    <a:gd name="connsiteY1" fmla="*/ 494069 h 1428163"/>
                    <a:gd name="connsiteX2" fmla="*/ 38 w 386777"/>
                    <a:gd name="connsiteY2" fmla="*/ 637230 h 1428163"/>
                    <a:gd name="connsiteX3" fmla="*/ 13720 w 386777"/>
                    <a:gd name="connsiteY3" fmla="*/ 825002 h 1428163"/>
                    <a:gd name="connsiteX4" fmla="*/ 44615 w 386777"/>
                    <a:gd name="connsiteY4" fmla="*/ 1428163 h 1428163"/>
                    <a:gd name="connsiteX5" fmla="*/ 159212 w 386777"/>
                    <a:gd name="connsiteY5" fmla="*/ 1428163 h 1428163"/>
                    <a:gd name="connsiteX6" fmla="*/ 201834 w 386777"/>
                    <a:gd name="connsiteY6" fmla="*/ 966997 h 1428163"/>
                    <a:gd name="connsiteX7" fmla="*/ 171317 w 386777"/>
                    <a:gd name="connsiteY7" fmla="*/ 736980 h 1428163"/>
                    <a:gd name="connsiteX8" fmla="*/ 360254 w 386777"/>
                    <a:gd name="connsiteY8" fmla="*/ 325088 h 1428163"/>
                    <a:gd name="connsiteX9" fmla="*/ 159212 w 386777"/>
                    <a:gd name="connsiteY9" fmla="*/ 21553 h 1428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6777" h="1428163">
                      <a:moveTo>
                        <a:pt x="159246" y="21553"/>
                      </a:moveTo>
                      <a:cubicBezTo>
                        <a:pt x="159246" y="21553"/>
                        <a:pt x="50513" y="436565"/>
                        <a:pt x="37586" y="494069"/>
                      </a:cubicBezTo>
                      <a:cubicBezTo>
                        <a:pt x="24693" y="551574"/>
                        <a:pt x="-1128" y="626669"/>
                        <a:pt x="38" y="637230"/>
                      </a:cubicBezTo>
                      <a:cubicBezTo>
                        <a:pt x="1204" y="647792"/>
                        <a:pt x="13720" y="825002"/>
                        <a:pt x="13720" y="825002"/>
                      </a:cubicBezTo>
                      <a:lnTo>
                        <a:pt x="44615" y="1428163"/>
                      </a:lnTo>
                      <a:lnTo>
                        <a:pt x="159212" y="1428163"/>
                      </a:lnTo>
                      <a:cubicBezTo>
                        <a:pt x="159212" y="1428163"/>
                        <a:pt x="195971" y="1044424"/>
                        <a:pt x="201834" y="966997"/>
                      </a:cubicBezTo>
                      <a:cubicBezTo>
                        <a:pt x="207698" y="889536"/>
                        <a:pt x="159589" y="769864"/>
                        <a:pt x="171317" y="736980"/>
                      </a:cubicBezTo>
                      <a:cubicBezTo>
                        <a:pt x="183044" y="704130"/>
                        <a:pt x="360254" y="325088"/>
                        <a:pt x="360254" y="325088"/>
                      </a:cubicBezTo>
                      <a:cubicBezTo>
                        <a:pt x="360254" y="325088"/>
                        <a:pt x="494431" y="-98942"/>
                        <a:pt x="159212" y="21553"/>
                      </a:cubicBezTo>
                      <a:close/>
                    </a:path>
                  </a:pathLst>
                </a:custGeom>
                <a:solidFill>
                  <a:srgbClr val="1D3B5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03" name="Freeform: Shape 102">
                  <a:extLst>
                    <a:ext uri="{FF2B5EF4-FFF2-40B4-BE49-F238E27FC236}">
                      <a16:creationId xmlns:a16="http://schemas.microsoft.com/office/drawing/2014/main" id="{F110D6A7-1526-3413-5B31-94BB03708B7A}"/>
                    </a:ext>
                  </a:extLst>
                </p:cNvPr>
                <p:cNvSpPr/>
                <p:nvPr/>
              </p:nvSpPr>
              <p:spPr>
                <a:xfrm>
                  <a:off x="8570202" y="4191986"/>
                  <a:ext cx="611017" cy="438801"/>
                </a:xfrm>
                <a:custGeom>
                  <a:avLst/>
                  <a:gdLst>
                    <a:gd name="connsiteX0" fmla="*/ 572677 w 611017"/>
                    <a:gd name="connsiteY0" fmla="*/ 34 h 438801"/>
                    <a:gd name="connsiteX1" fmla="*/ 496348 w 611017"/>
                    <a:gd name="connsiteY1" fmla="*/ 39331 h 438801"/>
                    <a:gd name="connsiteX2" fmla="*/ 424064 w 611017"/>
                    <a:gd name="connsiteY2" fmla="*/ 149436 h 438801"/>
                    <a:gd name="connsiteX3" fmla="*/ 288584 w 611017"/>
                    <a:gd name="connsiteY3" fmla="*/ 346123 h 438801"/>
                    <a:gd name="connsiteX4" fmla="*/ 187360 w 611017"/>
                    <a:gd name="connsiteY4" fmla="*/ 332647 h 438801"/>
                    <a:gd name="connsiteX5" fmla="*/ 15293 w 611017"/>
                    <a:gd name="connsiteY5" fmla="*/ 291774 h 438801"/>
                    <a:gd name="connsiteX6" fmla="*/ 0 w 611017"/>
                    <a:gd name="connsiteY6" fmla="*/ 369680 h 438801"/>
                    <a:gd name="connsiteX7" fmla="*/ 312142 w 611017"/>
                    <a:gd name="connsiteY7" fmla="*/ 437095 h 438801"/>
                    <a:gd name="connsiteX8" fmla="*/ 548468 w 611017"/>
                    <a:gd name="connsiteY8" fmla="*/ 208106 h 438801"/>
                    <a:gd name="connsiteX9" fmla="*/ 572712 w 611017"/>
                    <a:gd name="connsiteY9" fmla="*/ 0 h 43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017" h="438801">
                      <a:moveTo>
                        <a:pt x="572677" y="34"/>
                      </a:moveTo>
                      <a:cubicBezTo>
                        <a:pt x="572677" y="34"/>
                        <a:pt x="529197" y="4149"/>
                        <a:pt x="496348" y="39331"/>
                      </a:cubicBezTo>
                      <a:cubicBezTo>
                        <a:pt x="463498" y="74546"/>
                        <a:pt x="432671" y="130679"/>
                        <a:pt x="424064" y="149436"/>
                      </a:cubicBezTo>
                      <a:cubicBezTo>
                        <a:pt x="415457" y="168227"/>
                        <a:pt x="294825" y="342214"/>
                        <a:pt x="288584" y="346123"/>
                      </a:cubicBezTo>
                      <a:cubicBezTo>
                        <a:pt x="282309" y="350032"/>
                        <a:pt x="229606" y="336179"/>
                        <a:pt x="187360" y="332647"/>
                      </a:cubicBezTo>
                      <a:cubicBezTo>
                        <a:pt x="118438" y="326921"/>
                        <a:pt x="15293" y="291774"/>
                        <a:pt x="15293" y="291774"/>
                      </a:cubicBezTo>
                      <a:lnTo>
                        <a:pt x="0" y="369680"/>
                      </a:lnTo>
                      <a:cubicBezTo>
                        <a:pt x="0" y="369680"/>
                        <a:pt x="253609" y="451531"/>
                        <a:pt x="312142" y="437095"/>
                      </a:cubicBezTo>
                      <a:cubicBezTo>
                        <a:pt x="383705" y="419469"/>
                        <a:pt x="548468" y="208106"/>
                        <a:pt x="548468" y="208106"/>
                      </a:cubicBezTo>
                      <a:cubicBezTo>
                        <a:pt x="548468" y="208106"/>
                        <a:pt x="671295" y="64156"/>
                        <a:pt x="572712" y="0"/>
                      </a:cubicBezTo>
                      <a:close/>
                    </a:path>
                  </a:pathLst>
                </a:custGeom>
                <a:solidFill>
                  <a:srgbClr val="EB47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04" name="Freeform: Shape 103">
                  <a:extLst>
                    <a:ext uri="{FF2B5EF4-FFF2-40B4-BE49-F238E27FC236}">
                      <a16:creationId xmlns:a16="http://schemas.microsoft.com/office/drawing/2014/main" id="{85CD2257-1AB5-20DC-F23F-B579408EDA52}"/>
                    </a:ext>
                  </a:extLst>
                </p:cNvPr>
                <p:cNvSpPr/>
                <p:nvPr/>
              </p:nvSpPr>
              <p:spPr>
                <a:xfrm>
                  <a:off x="9028941" y="4158544"/>
                  <a:ext cx="491745" cy="808752"/>
                </a:xfrm>
                <a:custGeom>
                  <a:avLst/>
                  <a:gdLst>
                    <a:gd name="connsiteX0" fmla="*/ 189822 w 491745"/>
                    <a:gd name="connsiteY0" fmla="*/ 2959 h 808752"/>
                    <a:gd name="connsiteX1" fmla="*/ 113938 w 491745"/>
                    <a:gd name="connsiteY1" fmla="*/ 33477 h 808752"/>
                    <a:gd name="connsiteX2" fmla="*/ 5204 w 491745"/>
                    <a:gd name="connsiteY2" fmla="*/ 171940 h 808752"/>
                    <a:gd name="connsiteX3" fmla="*/ 32603 w 491745"/>
                    <a:gd name="connsiteY3" fmla="*/ 325285 h 808752"/>
                    <a:gd name="connsiteX4" fmla="*/ 46695 w 491745"/>
                    <a:gd name="connsiteY4" fmla="*/ 473143 h 808752"/>
                    <a:gd name="connsiteX5" fmla="*/ 56845 w 491745"/>
                    <a:gd name="connsiteY5" fmla="*/ 744446 h 808752"/>
                    <a:gd name="connsiteX6" fmla="*/ 491745 w 491745"/>
                    <a:gd name="connsiteY6" fmla="*/ 781891 h 808752"/>
                    <a:gd name="connsiteX7" fmla="*/ 384177 w 491745"/>
                    <a:gd name="connsiteY7" fmla="*/ 558526 h 808752"/>
                    <a:gd name="connsiteX8" fmla="*/ 381503 w 491745"/>
                    <a:gd name="connsiteY8" fmla="*/ 435562 h 808752"/>
                    <a:gd name="connsiteX9" fmla="*/ 487116 w 491745"/>
                    <a:gd name="connsiteY9" fmla="*/ 250155 h 808752"/>
                    <a:gd name="connsiteX10" fmla="*/ 451900 w 491745"/>
                    <a:gd name="connsiteY10" fmla="*/ 51445 h 808752"/>
                    <a:gd name="connsiteX11" fmla="*/ 296909 w 491745"/>
                    <a:gd name="connsiteY11" fmla="*/ 6456 h 808752"/>
                    <a:gd name="connsiteX12" fmla="*/ 189822 w 491745"/>
                    <a:gd name="connsiteY12" fmla="*/ 2959 h 808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1745" h="808752">
                      <a:moveTo>
                        <a:pt x="189822" y="2959"/>
                      </a:moveTo>
                      <a:cubicBezTo>
                        <a:pt x="189822" y="2959"/>
                        <a:pt x="133484" y="29568"/>
                        <a:pt x="113938" y="33477"/>
                      </a:cubicBezTo>
                      <a:cubicBezTo>
                        <a:pt x="94392" y="37386"/>
                        <a:pt x="18509" y="135970"/>
                        <a:pt x="5204" y="171940"/>
                      </a:cubicBezTo>
                      <a:cubicBezTo>
                        <a:pt x="-8100" y="207945"/>
                        <a:pt x="5204" y="261917"/>
                        <a:pt x="32603" y="325285"/>
                      </a:cubicBezTo>
                      <a:cubicBezTo>
                        <a:pt x="60000" y="388653"/>
                        <a:pt x="34180" y="409775"/>
                        <a:pt x="46695" y="473143"/>
                      </a:cubicBezTo>
                      <a:cubicBezTo>
                        <a:pt x="59211" y="536511"/>
                        <a:pt x="59211" y="709264"/>
                        <a:pt x="56845" y="744446"/>
                      </a:cubicBezTo>
                      <a:cubicBezTo>
                        <a:pt x="54514" y="779662"/>
                        <a:pt x="419017" y="846047"/>
                        <a:pt x="491745" y="781891"/>
                      </a:cubicBezTo>
                      <a:cubicBezTo>
                        <a:pt x="491745" y="781891"/>
                        <a:pt x="442505" y="619528"/>
                        <a:pt x="384177" y="558526"/>
                      </a:cubicBezTo>
                      <a:cubicBezTo>
                        <a:pt x="371559" y="545324"/>
                        <a:pt x="372897" y="457439"/>
                        <a:pt x="381503" y="435562"/>
                      </a:cubicBezTo>
                      <a:cubicBezTo>
                        <a:pt x="390109" y="413650"/>
                        <a:pt x="487116" y="250155"/>
                        <a:pt x="487116" y="250155"/>
                      </a:cubicBezTo>
                      <a:cubicBezTo>
                        <a:pt x="487116" y="250155"/>
                        <a:pt x="494249" y="84329"/>
                        <a:pt x="451900" y="51445"/>
                      </a:cubicBezTo>
                      <a:cubicBezTo>
                        <a:pt x="415141" y="22882"/>
                        <a:pt x="314912" y="12697"/>
                        <a:pt x="296909" y="6456"/>
                      </a:cubicBezTo>
                      <a:cubicBezTo>
                        <a:pt x="278907" y="182"/>
                        <a:pt x="226581" y="-2527"/>
                        <a:pt x="189822" y="2959"/>
                      </a:cubicBezTo>
                      <a:close/>
                    </a:path>
                  </a:pathLst>
                </a:custGeom>
                <a:solidFill>
                  <a:srgbClr val="EB47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05" name="Freeform: Shape 104">
                  <a:extLst>
                    <a:ext uri="{FF2B5EF4-FFF2-40B4-BE49-F238E27FC236}">
                      <a16:creationId xmlns:a16="http://schemas.microsoft.com/office/drawing/2014/main" id="{2638A02B-F190-10D7-AB86-ADC01F1CC121}"/>
                    </a:ext>
                  </a:extLst>
                </p:cNvPr>
                <p:cNvSpPr/>
                <p:nvPr/>
              </p:nvSpPr>
              <p:spPr>
                <a:xfrm>
                  <a:off x="9166574" y="4141477"/>
                  <a:ext cx="35868" cy="145595"/>
                </a:xfrm>
                <a:custGeom>
                  <a:avLst/>
                  <a:gdLst>
                    <a:gd name="connsiteX0" fmla="*/ 34221 w 35868"/>
                    <a:gd name="connsiteY0" fmla="*/ 145595 h 145595"/>
                    <a:gd name="connsiteX1" fmla="*/ 0 w 35868"/>
                    <a:gd name="connsiteY1" fmla="*/ 105510 h 145595"/>
                    <a:gd name="connsiteX2" fmla="*/ 29729 w 35868"/>
                    <a:gd name="connsiteY2" fmla="*/ 0 h 145595"/>
                    <a:gd name="connsiteX3" fmla="*/ 34221 w 35868"/>
                    <a:gd name="connsiteY3" fmla="*/ 145595 h 145595"/>
                  </a:gdLst>
                  <a:ahLst/>
                  <a:cxnLst>
                    <a:cxn ang="0">
                      <a:pos x="connsiteX0" y="connsiteY0"/>
                    </a:cxn>
                    <a:cxn ang="0">
                      <a:pos x="connsiteX1" y="connsiteY1"/>
                    </a:cxn>
                    <a:cxn ang="0">
                      <a:pos x="connsiteX2" y="connsiteY2"/>
                    </a:cxn>
                    <a:cxn ang="0">
                      <a:pos x="connsiteX3" y="connsiteY3"/>
                    </a:cxn>
                  </a:cxnLst>
                  <a:rect l="l" t="t" r="r" b="b"/>
                  <a:pathLst>
                    <a:path w="35868" h="145595">
                      <a:moveTo>
                        <a:pt x="34221" y="145595"/>
                      </a:moveTo>
                      <a:lnTo>
                        <a:pt x="0" y="105510"/>
                      </a:lnTo>
                      <a:lnTo>
                        <a:pt x="29729" y="0"/>
                      </a:lnTo>
                      <a:cubicBezTo>
                        <a:pt x="29729" y="0"/>
                        <a:pt x="39708" y="58773"/>
                        <a:pt x="34221" y="145595"/>
                      </a:cubicBezTo>
                      <a:close/>
                    </a:path>
                  </a:pathLst>
                </a:custGeom>
                <a:solidFill>
                  <a:srgbClr val="D1C0B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06" name="Freeform: Shape 105">
                  <a:extLst>
                    <a:ext uri="{FF2B5EF4-FFF2-40B4-BE49-F238E27FC236}">
                      <a16:creationId xmlns:a16="http://schemas.microsoft.com/office/drawing/2014/main" id="{E8F7CCEF-3FDA-6ED0-8BCF-8FF9AD6A81D8}"/>
                    </a:ext>
                  </a:extLst>
                </p:cNvPr>
                <p:cNvSpPr/>
                <p:nvPr/>
              </p:nvSpPr>
              <p:spPr>
                <a:xfrm>
                  <a:off x="9395068" y="4189641"/>
                  <a:ext cx="255176" cy="990753"/>
                </a:xfrm>
                <a:custGeom>
                  <a:avLst/>
                  <a:gdLst>
                    <a:gd name="connsiteX0" fmla="*/ 20280 w 255176"/>
                    <a:gd name="connsiteY0" fmla="*/ 2380 h 990753"/>
                    <a:gd name="connsiteX1" fmla="*/ 131963 w 255176"/>
                    <a:gd name="connsiteY1" fmla="*/ 60261 h 990753"/>
                    <a:gd name="connsiteX2" fmla="*/ 171841 w 255176"/>
                    <a:gd name="connsiteY2" fmla="*/ 215938 h 990753"/>
                    <a:gd name="connsiteX3" fmla="*/ 221117 w 255176"/>
                    <a:gd name="connsiteY3" fmla="*/ 496807 h 990753"/>
                    <a:gd name="connsiteX4" fmla="*/ 254754 w 255176"/>
                    <a:gd name="connsiteY4" fmla="*/ 663422 h 990753"/>
                    <a:gd name="connsiteX5" fmla="*/ 217996 w 255176"/>
                    <a:gd name="connsiteY5" fmla="*/ 988080 h 990753"/>
                    <a:gd name="connsiteX6" fmla="*/ 153051 w 255176"/>
                    <a:gd name="connsiteY6" fmla="*/ 979096 h 990753"/>
                    <a:gd name="connsiteX7" fmla="*/ 153427 w 255176"/>
                    <a:gd name="connsiteY7" fmla="*/ 671240 h 990753"/>
                    <a:gd name="connsiteX8" fmla="*/ 131139 w 255176"/>
                    <a:gd name="connsiteY8" fmla="*/ 492864 h 990753"/>
                    <a:gd name="connsiteX9" fmla="*/ 60742 w 255176"/>
                    <a:gd name="connsiteY9" fmla="*/ 247622 h 990753"/>
                    <a:gd name="connsiteX10" fmla="*/ 20245 w 255176"/>
                    <a:gd name="connsiteY10" fmla="*/ 2380 h 990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5176" h="990753">
                      <a:moveTo>
                        <a:pt x="20280" y="2380"/>
                      </a:moveTo>
                      <a:cubicBezTo>
                        <a:pt x="20280" y="2380"/>
                        <a:pt x="91260" y="-17955"/>
                        <a:pt x="131963" y="60261"/>
                      </a:cubicBezTo>
                      <a:cubicBezTo>
                        <a:pt x="172630" y="138511"/>
                        <a:pt x="162480" y="180722"/>
                        <a:pt x="171841" y="215938"/>
                      </a:cubicBezTo>
                      <a:cubicBezTo>
                        <a:pt x="181237" y="251153"/>
                        <a:pt x="218784" y="486623"/>
                        <a:pt x="221117" y="496807"/>
                      </a:cubicBezTo>
                      <a:cubicBezTo>
                        <a:pt x="223448" y="506991"/>
                        <a:pt x="259453" y="626663"/>
                        <a:pt x="254754" y="663422"/>
                      </a:cubicBezTo>
                      <a:cubicBezTo>
                        <a:pt x="250057" y="700181"/>
                        <a:pt x="216418" y="978684"/>
                        <a:pt x="217996" y="988080"/>
                      </a:cubicBezTo>
                      <a:cubicBezTo>
                        <a:pt x="219573" y="997475"/>
                        <a:pt x="153051" y="979096"/>
                        <a:pt x="153051" y="979096"/>
                      </a:cubicBezTo>
                      <a:cubicBezTo>
                        <a:pt x="153051" y="979096"/>
                        <a:pt x="155794" y="694729"/>
                        <a:pt x="153427" y="671240"/>
                      </a:cubicBezTo>
                      <a:cubicBezTo>
                        <a:pt x="151096" y="647786"/>
                        <a:pt x="148730" y="524548"/>
                        <a:pt x="131139" y="492864"/>
                      </a:cubicBezTo>
                      <a:cubicBezTo>
                        <a:pt x="113548" y="461179"/>
                        <a:pt x="70103" y="267544"/>
                        <a:pt x="60742" y="247622"/>
                      </a:cubicBezTo>
                      <a:cubicBezTo>
                        <a:pt x="51347" y="227665"/>
                        <a:pt x="-39590" y="27789"/>
                        <a:pt x="20245" y="2380"/>
                      </a:cubicBezTo>
                      <a:close/>
                    </a:path>
                  </a:pathLst>
                </a:custGeom>
                <a:solidFill>
                  <a:srgbClr val="EEA8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07" name="Freeform: Shape 106">
                  <a:extLst>
                    <a:ext uri="{FF2B5EF4-FFF2-40B4-BE49-F238E27FC236}">
                      <a16:creationId xmlns:a16="http://schemas.microsoft.com/office/drawing/2014/main" id="{4F929CFC-09EF-9CEE-9F09-75F02AD7F7AB}"/>
                    </a:ext>
                  </a:extLst>
                </p:cNvPr>
                <p:cNvSpPr/>
                <p:nvPr/>
              </p:nvSpPr>
              <p:spPr>
                <a:xfrm>
                  <a:off x="9191879" y="4019361"/>
                  <a:ext cx="133971" cy="227584"/>
                </a:xfrm>
                <a:custGeom>
                  <a:avLst/>
                  <a:gdLst>
                    <a:gd name="connsiteX0" fmla="*/ 0 w 133971"/>
                    <a:gd name="connsiteY0" fmla="*/ 77128 h 227584"/>
                    <a:gd name="connsiteX1" fmla="*/ 8881 w 133971"/>
                    <a:gd name="connsiteY1" fmla="*/ 214082 h 227584"/>
                    <a:gd name="connsiteX2" fmla="*/ 133971 w 133971"/>
                    <a:gd name="connsiteY2" fmla="*/ 145605 h 227584"/>
                    <a:gd name="connsiteX3" fmla="*/ 127045 w 133971"/>
                    <a:gd name="connsiteY3" fmla="*/ 21818 h 227584"/>
                    <a:gd name="connsiteX4" fmla="*/ 0 w 133971"/>
                    <a:gd name="connsiteY4" fmla="*/ 77094 h 227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71" h="227584">
                      <a:moveTo>
                        <a:pt x="0" y="77128"/>
                      </a:moveTo>
                      <a:cubicBezTo>
                        <a:pt x="0" y="77128"/>
                        <a:pt x="11247" y="180444"/>
                        <a:pt x="8881" y="214082"/>
                      </a:cubicBezTo>
                      <a:cubicBezTo>
                        <a:pt x="8881" y="214082"/>
                        <a:pt x="67415" y="272718"/>
                        <a:pt x="133971" y="145605"/>
                      </a:cubicBezTo>
                      <a:cubicBezTo>
                        <a:pt x="133971" y="145605"/>
                        <a:pt x="105957" y="93210"/>
                        <a:pt x="127045" y="21818"/>
                      </a:cubicBezTo>
                      <a:cubicBezTo>
                        <a:pt x="148133" y="-49574"/>
                        <a:pt x="0" y="77094"/>
                        <a:pt x="0" y="77094"/>
                      </a:cubicBezTo>
                      <a:close/>
                    </a:path>
                  </a:pathLst>
                </a:custGeom>
                <a:solidFill>
                  <a:srgbClr val="EEA8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08" name="Freeform: Shape 107">
                  <a:extLst>
                    <a:ext uri="{FF2B5EF4-FFF2-40B4-BE49-F238E27FC236}">
                      <a16:creationId xmlns:a16="http://schemas.microsoft.com/office/drawing/2014/main" id="{6D3E519D-942C-235A-4FCF-F614D5CAC39D}"/>
                    </a:ext>
                  </a:extLst>
                </p:cNvPr>
                <p:cNvSpPr/>
                <p:nvPr/>
              </p:nvSpPr>
              <p:spPr>
                <a:xfrm>
                  <a:off x="9200795" y="4231317"/>
                  <a:ext cx="62888" cy="55755"/>
                </a:xfrm>
                <a:custGeom>
                  <a:avLst/>
                  <a:gdLst>
                    <a:gd name="connsiteX0" fmla="*/ 0 w 62888"/>
                    <a:gd name="connsiteY0" fmla="*/ 2160 h 55755"/>
                    <a:gd name="connsiteX1" fmla="*/ 0 w 62888"/>
                    <a:gd name="connsiteY1" fmla="*/ 55756 h 55755"/>
                    <a:gd name="connsiteX2" fmla="*/ 62888 w 62888"/>
                    <a:gd name="connsiteY2" fmla="*/ 0 h 55755"/>
                    <a:gd name="connsiteX3" fmla="*/ 0 w 62888"/>
                    <a:gd name="connsiteY3" fmla="*/ 2160 h 55755"/>
                  </a:gdLst>
                  <a:ahLst/>
                  <a:cxnLst>
                    <a:cxn ang="0">
                      <a:pos x="connsiteX0" y="connsiteY0"/>
                    </a:cxn>
                    <a:cxn ang="0">
                      <a:pos x="connsiteX1" y="connsiteY1"/>
                    </a:cxn>
                    <a:cxn ang="0">
                      <a:pos x="connsiteX2" y="connsiteY2"/>
                    </a:cxn>
                    <a:cxn ang="0">
                      <a:pos x="connsiteX3" y="connsiteY3"/>
                    </a:cxn>
                  </a:cxnLst>
                  <a:rect l="l" t="t" r="r" b="b"/>
                  <a:pathLst>
                    <a:path w="62888" h="55755">
                      <a:moveTo>
                        <a:pt x="0" y="2160"/>
                      </a:moveTo>
                      <a:lnTo>
                        <a:pt x="0" y="55756"/>
                      </a:lnTo>
                      <a:lnTo>
                        <a:pt x="62888" y="0"/>
                      </a:lnTo>
                      <a:lnTo>
                        <a:pt x="0" y="2160"/>
                      </a:lnTo>
                      <a:close/>
                    </a:path>
                  </a:pathLst>
                </a:custGeom>
                <a:solidFill>
                  <a:srgbClr val="EEA8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09" name="Freeform: Shape 108">
                  <a:extLst>
                    <a:ext uri="{FF2B5EF4-FFF2-40B4-BE49-F238E27FC236}">
                      <a16:creationId xmlns:a16="http://schemas.microsoft.com/office/drawing/2014/main" id="{F2D1305D-1E51-5461-97EA-2097CBDCF006}"/>
                    </a:ext>
                  </a:extLst>
                </p:cNvPr>
                <p:cNvSpPr/>
                <p:nvPr/>
              </p:nvSpPr>
              <p:spPr>
                <a:xfrm>
                  <a:off x="9200795" y="4158554"/>
                  <a:ext cx="157459" cy="128518"/>
                </a:xfrm>
                <a:custGeom>
                  <a:avLst/>
                  <a:gdLst>
                    <a:gd name="connsiteX0" fmla="*/ 0 w 157459"/>
                    <a:gd name="connsiteY0" fmla="*/ 128519 h 128518"/>
                    <a:gd name="connsiteX1" fmla="*/ 27946 w 157459"/>
                    <a:gd name="connsiteY1" fmla="*/ 93886 h 128518"/>
                    <a:gd name="connsiteX2" fmla="*/ 122176 w 157459"/>
                    <a:gd name="connsiteY2" fmla="*/ 0 h 128518"/>
                    <a:gd name="connsiteX3" fmla="*/ 157459 w 157459"/>
                    <a:gd name="connsiteY3" fmla="*/ 15670 h 128518"/>
                    <a:gd name="connsiteX4" fmla="*/ 0 w 157459"/>
                    <a:gd name="connsiteY4" fmla="*/ 128519 h 128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59" h="128518">
                      <a:moveTo>
                        <a:pt x="0" y="128519"/>
                      </a:moveTo>
                      <a:lnTo>
                        <a:pt x="27946" y="93886"/>
                      </a:lnTo>
                      <a:lnTo>
                        <a:pt x="122176" y="0"/>
                      </a:lnTo>
                      <a:lnTo>
                        <a:pt x="157459" y="15670"/>
                      </a:lnTo>
                      <a:lnTo>
                        <a:pt x="0" y="128519"/>
                      </a:lnTo>
                      <a:close/>
                    </a:path>
                  </a:pathLst>
                </a:custGeom>
                <a:solidFill>
                  <a:srgbClr val="D1C0B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10" name="Freeform: Shape 109">
                  <a:extLst>
                    <a:ext uri="{FF2B5EF4-FFF2-40B4-BE49-F238E27FC236}">
                      <a16:creationId xmlns:a16="http://schemas.microsoft.com/office/drawing/2014/main" id="{C5067BEE-E571-E4E7-3D35-45FEB3E78F0F}"/>
                    </a:ext>
                  </a:extLst>
                </p:cNvPr>
                <p:cNvSpPr/>
                <p:nvPr/>
              </p:nvSpPr>
              <p:spPr>
                <a:xfrm>
                  <a:off x="9123437" y="4141477"/>
                  <a:ext cx="72831" cy="117408"/>
                </a:xfrm>
                <a:custGeom>
                  <a:avLst/>
                  <a:gdLst>
                    <a:gd name="connsiteX0" fmla="*/ 43137 w 72831"/>
                    <a:gd name="connsiteY0" fmla="*/ 105510 h 117408"/>
                    <a:gd name="connsiteX1" fmla="*/ 0 w 72831"/>
                    <a:gd name="connsiteY1" fmla="*/ 117409 h 117408"/>
                    <a:gd name="connsiteX2" fmla="*/ 72832 w 72831"/>
                    <a:gd name="connsiteY2" fmla="*/ 0 h 117408"/>
                    <a:gd name="connsiteX3" fmla="*/ 43137 w 72831"/>
                    <a:gd name="connsiteY3" fmla="*/ 105510 h 117408"/>
                  </a:gdLst>
                  <a:ahLst/>
                  <a:cxnLst>
                    <a:cxn ang="0">
                      <a:pos x="connsiteX0" y="connsiteY0"/>
                    </a:cxn>
                    <a:cxn ang="0">
                      <a:pos x="connsiteX1" y="connsiteY1"/>
                    </a:cxn>
                    <a:cxn ang="0">
                      <a:pos x="connsiteX2" y="connsiteY2"/>
                    </a:cxn>
                    <a:cxn ang="0">
                      <a:pos x="connsiteX3" y="connsiteY3"/>
                    </a:cxn>
                  </a:cxnLst>
                  <a:rect l="l" t="t" r="r" b="b"/>
                  <a:pathLst>
                    <a:path w="72831" h="117408">
                      <a:moveTo>
                        <a:pt x="43137" y="105510"/>
                      </a:moveTo>
                      <a:lnTo>
                        <a:pt x="0" y="117409"/>
                      </a:lnTo>
                      <a:lnTo>
                        <a:pt x="72832" y="0"/>
                      </a:lnTo>
                      <a:lnTo>
                        <a:pt x="43137" y="105510"/>
                      </a:lnTo>
                      <a:close/>
                    </a:path>
                  </a:pathLst>
                </a:custGeom>
                <a:solidFill>
                  <a:srgbClr val="FAE6D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11" name="Freeform: Shape 110">
                  <a:extLst>
                    <a:ext uri="{FF2B5EF4-FFF2-40B4-BE49-F238E27FC236}">
                      <a16:creationId xmlns:a16="http://schemas.microsoft.com/office/drawing/2014/main" id="{378CD88D-6CE1-4FDD-06E7-C620716B2CB1}"/>
                    </a:ext>
                  </a:extLst>
                </p:cNvPr>
                <p:cNvSpPr/>
                <p:nvPr/>
              </p:nvSpPr>
              <p:spPr>
                <a:xfrm>
                  <a:off x="9228741" y="4152004"/>
                  <a:ext cx="130954" cy="163563"/>
                </a:xfrm>
                <a:custGeom>
                  <a:avLst/>
                  <a:gdLst>
                    <a:gd name="connsiteX0" fmla="*/ 0 w 130954"/>
                    <a:gd name="connsiteY0" fmla="*/ 100436 h 163563"/>
                    <a:gd name="connsiteX1" fmla="*/ 39400 w 130954"/>
                    <a:gd name="connsiteY1" fmla="*/ 163564 h 163563"/>
                    <a:gd name="connsiteX2" fmla="*/ 130954 w 130954"/>
                    <a:gd name="connsiteY2" fmla="*/ 19957 h 163563"/>
                    <a:gd name="connsiteX3" fmla="*/ 91760 w 130954"/>
                    <a:gd name="connsiteY3" fmla="*/ 0 h 163563"/>
                    <a:gd name="connsiteX4" fmla="*/ 0 w 130954"/>
                    <a:gd name="connsiteY4" fmla="*/ 100436 h 163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54" h="163563">
                      <a:moveTo>
                        <a:pt x="0" y="100436"/>
                      </a:moveTo>
                      <a:lnTo>
                        <a:pt x="39400" y="163564"/>
                      </a:lnTo>
                      <a:lnTo>
                        <a:pt x="130954" y="19957"/>
                      </a:lnTo>
                      <a:lnTo>
                        <a:pt x="91760" y="0"/>
                      </a:lnTo>
                      <a:lnTo>
                        <a:pt x="0" y="100436"/>
                      </a:lnTo>
                      <a:close/>
                    </a:path>
                  </a:pathLst>
                </a:custGeom>
                <a:solidFill>
                  <a:srgbClr val="FAE6D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12" name="Freeform: Shape 111">
                  <a:extLst>
                    <a:ext uri="{FF2B5EF4-FFF2-40B4-BE49-F238E27FC236}">
                      <a16:creationId xmlns:a16="http://schemas.microsoft.com/office/drawing/2014/main" id="{ED314B5F-1DD9-87A6-42CD-DB89A2D8626B}"/>
                    </a:ext>
                  </a:extLst>
                </p:cNvPr>
                <p:cNvSpPr/>
                <p:nvPr/>
              </p:nvSpPr>
              <p:spPr>
                <a:xfrm>
                  <a:off x="9022035" y="4356475"/>
                  <a:ext cx="35359" cy="150704"/>
                </a:xfrm>
                <a:custGeom>
                  <a:avLst/>
                  <a:gdLst>
                    <a:gd name="connsiteX0" fmla="*/ 6008 w 35359"/>
                    <a:gd name="connsiteY0" fmla="*/ 150705 h 150704"/>
                    <a:gd name="connsiteX1" fmla="*/ 6899 w 35359"/>
                    <a:gd name="connsiteY1" fmla="*/ 0 h 150704"/>
                    <a:gd name="connsiteX2" fmla="*/ 35359 w 35359"/>
                    <a:gd name="connsiteY2" fmla="*/ 117615 h 150704"/>
                    <a:gd name="connsiteX3" fmla="*/ 6008 w 35359"/>
                    <a:gd name="connsiteY3" fmla="*/ 150705 h 150704"/>
                  </a:gdLst>
                  <a:ahLst/>
                  <a:cxnLst>
                    <a:cxn ang="0">
                      <a:pos x="connsiteX0" y="connsiteY0"/>
                    </a:cxn>
                    <a:cxn ang="0">
                      <a:pos x="connsiteX1" y="connsiteY1"/>
                    </a:cxn>
                    <a:cxn ang="0">
                      <a:pos x="connsiteX2" y="connsiteY2"/>
                    </a:cxn>
                    <a:cxn ang="0">
                      <a:pos x="connsiteX3" y="connsiteY3"/>
                    </a:cxn>
                  </a:cxnLst>
                  <a:rect l="l" t="t" r="r" b="b"/>
                  <a:pathLst>
                    <a:path w="35359" h="150704">
                      <a:moveTo>
                        <a:pt x="6008" y="150705"/>
                      </a:moveTo>
                      <a:cubicBezTo>
                        <a:pt x="6008" y="150705"/>
                        <a:pt x="-8086" y="56990"/>
                        <a:pt x="6899" y="0"/>
                      </a:cubicBezTo>
                      <a:cubicBezTo>
                        <a:pt x="6899" y="0"/>
                        <a:pt x="15197" y="45983"/>
                        <a:pt x="35359" y="117615"/>
                      </a:cubicBezTo>
                      <a:lnTo>
                        <a:pt x="6008" y="150705"/>
                      </a:lnTo>
                      <a:close/>
                    </a:path>
                  </a:pathLst>
                </a:custGeom>
                <a:solidFill>
                  <a:srgbClr val="AB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13" name="Freeform: Shape 112">
                  <a:extLst>
                    <a:ext uri="{FF2B5EF4-FFF2-40B4-BE49-F238E27FC236}">
                      <a16:creationId xmlns:a16="http://schemas.microsoft.com/office/drawing/2014/main" id="{D737FB89-0E36-4543-2F68-21F5A281AC95}"/>
                    </a:ext>
                  </a:extLst>
                </p:cNvPr>
                <p:cNvSpPr/>
                <p:nvPr/>
              </p:nvSpPr>
              <p:spPr>
                <a:xfrm>
                  <a:off x="9424366" y="4358842"/>
                  <a:ext cx="41250" cy="177004"/>
                </a:xfrm>
                <a:custGeom>
                  <a:avLst/>
                  <a:gdLst>
                    <a:gd name="connsiteX0" fmla="*/ 41251 w 41250"/>
                    <a:gd name="connsiteY0" fmla="*/ 135891 h 177004"/>
                    <a:gd name="connsiteX1" fmla="*/ 0 w 41250"/>
                    <a:gd name="connsiteY1" fmla="*/ 0 h 177004"/>
                    <a:gd name="connsiteX2" fmla="*/ 17591 w 41250"/>
                    <a:gd name="connsiteY2" fmla="*/ 177005 h 177004"/>
                    <a:gd name="connsiteX3" fmla="*/ 41251 w 41250"/>
                    <a:gd name="connsiteY3" fmla="*/ 135891 h 177004"/>
                  </a:gdLst>
                  <a:ahLst/>
                  <a:cxnLst>
                    <a:cxn ang="0">
                      <a:pos x="connsiteX0" y="connsiteY0"/>
                    </a:cxn>
                    <a:cxn ang="0">
                      <a:pos x="connsiteX1" y="connsiteY1"/>
                    </a:cxn>
                    <a:cxn ang="0">
                      <a:pos x="connsiteX2" y="connsiteY2"/>
                    </a:cxn>
                    <a:cxn ang="0">
                      <a:pos x="connsiteX3" y="connsiteY3"/>
                    </a:cxn>
                  </a:cxnLst>
                  <a:rect l="l" t="t" r="r" b="b"/>
                  <a:pathLst>
                    <a:path w="41250" h="177004">
                      <a:moveTo>
                        <a:pt x="41251" y="135891"/>
                      </a:moveTo>
                      <a:cubicBezTo>
                        <a:pt x="41251" y="135891"/>
                        <a:pt x="2298" y="7064"/>
                        <a:pt x="0" y="0"/>
                      </a:cubicBezTo>
                      <a:cubicBezTo>
                        <a:pt x="0" y="0"/>
                        <a:pt x="2675" y="118403"/>
                        <a:pt x="17591" y="177005"/>
                      </a:cubicBezTo>
                      <a:cubicBezTo>
                        <a:pt x="17591" y="177005"/>
                        <a:pt x="31924" y="152007"/>
                        <a:pt x="41251" y="135891"/>
                      </a:cubicBezTo>
                      <a:close/>
                    </a:path>
                  </a:pathLst>
                </a:custGeom>
                <a:solidFill>
                  <a:srgbClr val="AB33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14" name="Freeform: Shape 113">
                  <a:extLst>
                    <a:ext uri="{FF2B5EF4-FFF2-40B4-BE49-F238E27FC236}">
                      <a16:creationId xmlns:a16="http://schemas.microsoft.com/office/drawing/2014/main" id="{70005984-FC88-EFDB-D178-BC097CC123FA}"/>
                    </a:ext>
                  </a:extLst>
                </p:cNvPr>
                <p:cNvSpPr/>
                <p:nvPr/>
              </p:nvSpPr>
              <p:spPr>
                <a:xfrm>
                  <a:off x="8014909" y="3848983"/>
                  <a:ext cx="612899" cy="788738"/>
                </a:xfrm>
                <a:custGeom>
                  <a:avLst/>
                  <a:gdLst>
                    <a:gd name="connsiteX0" fmla="*/ 0 w 612899"/>
                    <a:gd name="connsiteY0" fmla="*/ 0 h 788738"/>
                    <a:gd name="connsiteX1" fmla="*/ 612899 w 612899"/>
                    <a:gd name="connsiteY1" fmla="*/ 772245 h 788738"/>
                    <a:gd name="connsiteX2" fmla="*/ 591503 w 612899"/>
                    <a:gd name="connsiteY2" fmla="*/ 788739 h 788738"/>
                    <a:gd name="connsiteX3" fmla="*/ 0 w 612899"/>
                    <a:gd name="connsiteY3" fmla="*/ 0 h 788738"/>
                  </a:gdLst>
                  <a:ahLst/>
                  <a:cxnLst>
                    <a:cxn ang="0">
                      <a:pos x="connsiteX0" y="connsiteY0"/>
                    </a:cxn>
                    <a:cxn ang="0">
                      <a:pos x="connsiteX1" y="connsiteY1"/>
                    </a:cxn>
                    <a:cxn ang="0">
                      <a:pos x="connsiteX2" y="connsiteY2"/>
                    </a:cxn>
                    <a:cxn ang="0">
                      <a:pos x="connsiteX3" y="connsiteY3"/>
                    </a:cxn>
                  </a:cxnLst>
                  <a:rect l="l" t="t" r="r" b="b"/>
                  <a:pathLst>
                    <a:path w="612899" h="788738">
                      <a:moveTo>
                        <a:pt x="0" y="0"/>
                      </a:moveTo>
                      <a:lnTo>
                        <a:pt x="612899" y="772245"/>
                      </a:lnTo>
                      <a:lnTo>
                        <a:pt x="591503" y="788739"/>
                      </a:lnTo>
                      <a:lnTo>
                        <a:pt x="0" y="0"/>
                      </a:lnTo>
                      <a:close/>
                    </a:path>
                  </a:pathLst>
                </a:custGeom>
                <a:solidFill>
                  <a:srgbClr val="54281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15" name="Freeform: Shape 114">
                  <a:extLst>
                    <a:ext uri="{FF2B5EF4-FFF2-40B4-BE49-F238E27FC236}">
                      <a16:creationId xmlns:a16="http://schemas.microsoft.com/office/drawing/2014/main" id="{E1B09849-1AEE-968C-B16B-5968E0FB4B9C}"/>
                    </a:ext>
                  </a:extLst>
                </p:cNvPr>
                <p:cNvSpPr/>
                <p:nvPr/>
              </p:nvSpPr>
              <p:spPr>
                <a:xfrm>
                  <a:off x="8473450" y="4483657"/>
                  <a:ext cx="77242" cy="77461"/>
                </a:xfrm>
                <a:custGeom>
                  <a:avLst/>
                  <a:gdLst>
                    <a:gd name="connsiteX0" fmla="*/ 8695 w 77242"/>
                    <a:gd name="connsiteY0" fmla="*/ 1269 h 77461"/>
                    <a:gd name="connsiteX1" fmla="*/ 56324 w 77242"/>
                    <a:gd name="connsiteY1" fmla="*/ 4252 h 77461"/>
                    <a:gd name="connsiteX2" fmla="*/ 54095 w 77242"/>
                    <a:gd name="connsiteY2" fmla="*/ 15259 h 77461"/>
                    <a:gd name="connsiteX3" fmla="*/ 73846 w 77242"/>
                    <a:gd name="connsiteY3" fmla="*/ 22049 h 77461"/>
                    <a:gd name="connsiteX4" fmla="*/ 68360 w 77242"/>
                    <a:gd name="connsiteY4" fmla="*/ 41937 h 77461"/>
                    <a:gd name="connsiteX5" fmla="*/ 62942 w 77242"/>
                    <a:gd name="connsiteY5" fmla="*/ 57882 h 77461"/>
                    <a:gd name="connsiteX6" fmla="*/ 60096 w 77242"/>
                    <a:gd name="connsiteY6" fmla="*/ 71838 h 77461"/>
                    <a:gd name="connsiteX7" fmla="*/ 23268 w 77242"/>
                    <a:gd name="connsiteY7" fmla="*/ 77461 h 77461"/>
                    <a:gd name="connsiteX8" fmla="*/ 18262 w 77242"/>
                    <a:gd name="connsiteY8" fmla="*/ 63334 h 77461"/>
                    <a:gd name="connsiteX9" fmla="*/ 11404 w 77242"/>
                    <a:gd name="connsiteY9" fmla="*/ 46635 h 77461"/>
                    <a:gd name="connsiteX10" fmla="*/ 7461 w 77242"/>
                    <a:gd name="connsiteY10" fmla="*/ 29078 h 77461"/>
                    <a:gd name="connsiteX11" fmla="*/ 3998 w 77242"/>
                    <a:gd name="connsiteY11" fmla="*/ 1989 h 77461"/>
                    <a:gd name="connsiteX12" fmla="*/ 8729 w 77242"/>
                    <a:gd name="connsiteY12" fmla="*/ 1235 h 7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242" h="77461">
                      <a:moveTo>
                        <a:pt x="8695" y="1269"/>
                      </a:moveTo>
                      <a:cubicBezTo>
                        <a:pt x="8695" y="1269"/>
                        <a:pt x="54713" y="-3051"/>
                        <a:pt x="56324" y="4252"/>
                      </a:cubicBezTo>
                      <a:cubicBezTo>
                        <a:pt x="57936" y="11556"/>
                        <a:pt x="54095" y="15259"/>
                        <a:pt x="54095" y="15259"/>
                      </a:cubicBezTo>
                      <a:lnTo>
                        <a:pt x="73846" y="22049"/>
                      </a:lnTo>
                      <a:cubicBezTo>
                        <a:pt x="73846" y="22049"/>
                        <a:pt x="84373" y="33947"/>
                        <a:pt x="68360" y="41937"/>
                      </a:cubicBezTo>
                      <a:cubicBezTo>
                        <a:pt x="68360" y="41937"/>
                        <a:pt x="79333" y="52018"/>
                        <a:pt x="62942" y="57882"/>
                      </a:cubicBezTo>
                      <a:cubicBezTo>
                        <a:pt x="62942" y="57882"/>
                        <a:pt x="67228" y="67757"/>
                        <a:pt x="60096" y="71838"/>
                      </a:cubicBezTo>
                      <a:cubicBezTo>
                        <a:pt x="52998" y="75884"/>
                        <a:pt x="23268" y="77461"/>
                        <a:pt x="23268" y="77461"/>
                      </a:cubicBezTo>
                      <a:cubicBezTo>
                        <a:pt x="23268" y="77461"/>
                        <a:pt x="16857" y="74958"/>
                        <a:pt x="18262" y="63334"/>
                      </a:cubicBezTo>
                      <a:cubicBezTo>
                        <a:pt x="18262" y="63334"/>
                        <a:pt x="8832" y="57470"/>
                        <a:pt x="11404" y="46635"/>
                      </a:cubicBezTo>
                      <a:cubicBezTo>
                        <a:pt x="11404" y="46635"/>
                        <a:pt x="4580" y="40771"/>
                        <a:pt x="7461" y="29078"/>
                      </a:cubicBezTo>
                      <a:cubicBezTo>
                        <a:pt x="7461" y="29078"/>
                        <a:pt x="-6701" y="14779"/>
                        <a:pt x="3998" y="1989"/>
                      </a:cubicBezTo>
                      <a:cubicBezTo>
                        <a:pt x="3998" y="1989"/>
                        <a:pt x="6776" y="1406"/>
                        <a:pt x="8729" y="1235"/>
                      </a:cubicBezTo>
                      <a:close/>
                    </a:path>
                  </a:pathLst>
                </a:custGeom>
                <a:solidFill>
                  <a:srgbClr val="DB9C7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16" name="Freeform: Shape 115">
                  <a:extLst>
                    <a:ext uri="{FF2B5EF4-FFF2-40B4-BE49-F238E27FC236}">
                      <a16:creationId xmlns:a16="http://schemas.microsoft.com/office/drawing/2014/main" id="{736802ED-B177-8DB1-1B78-2799AD18E441}"/>
                    </a:ext>
                  </a:extLst>
                </p:cNvPr>
                <p:cNvSpPr/>
                <p:nvPr/>
              </p:nvSpPr>
              <p:spPr>
                <a:xfrm>
                  <a:off x="8517600" y="4470044"/>
                  <a:ext cx="56380" cy="46489"/>
                </a:xfrm>
                <a:custGeom>
                  <a:avLst/>
                  <a:gdLst>
                    <a:gd name="connsiteX0" fmla="*/ 40051 w 56380"/>
                    <a:gd name="connsiteY0" fmla="*/ 0 h 46489"/>
                    <a:gd name="connsiteX1" fmla="*/ 2813 w 56380"/>
                    <a:gd name="connsiteY1" fmla="*/ 32747 h 46489"/>
                    <a:gd name="connsiteX2" fmla="*/ 1167 w 56380"/>
                    <a:gd name="connsiteY2" fmla="*/ 43720 h 46489"/>
                    <a:gd name="connsiteX3" fmla="*/ 23729 w 56380"/>
                    <a:gd name="connsiteY3" fmla="*/ 41491 h 46489"/>
                    <a:gd name="connsiteX4" fmla="*/ 54248 w 56380"/>
                    <a:gd name="connsiteY4" fmla="*/ 31410 h 46489"/>
                    <a:gd name="connsiteX5" fmla="*/ 40051 w 56380"/>
                    <a:gd name="connsiteY5" fmla="*/ 0 h 46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380" h="46489">
                      <a:moveTo>
                        <a:pt x="40051" y="0"/>
                      </a:moveTo>
                      <a:cubicBezTo>
                        <a:pt x="40051" y="0"/>
                        <a:pt x="13306" y="17042"/>
                        <a:pt x="2813" y="32747"/>
                      </a:cubicBezTo>
                      <a:cubicBezTo>
                        <a:pt x="447" y="36313"/>
                        <a:pt x="-1234" y="40188"/>
                        <a:pt x="1167" y="43720"/>
                      </a:cubicBezTo>
                      <a:cubicBezTo>
                        <a:pt x="3567" y="47252"/>
                        <a:pt x="11762" y="48281"/>
                        <a:pt x="23729" y="41491"/>
                      </a:cubicBezTo>
                      <a:cubicBezTo>
                        <a:pt x="35696" y="34701"/>
                        <a:pt x="54248" y="31410"/>
                        <a:pt x="54248" y="31410"/>
                      </a:cubicBezTo>
                      <a:cubicBezTo>
                        <a:pt x="54248" y="31410"/>
                        <a:pt x="64500" y="20849"/>
                        <a:pt x="40051" y="0"/>
                      </a:cubicBezTo>
                      <a:close/>
                    </a:path>
                  </a:pathLst>
                </a:custGeom>
                <a:solidFill>
                  <a:srgbClr val="EEA8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17" name="Freeform: Shape 116">
                  <a:extLst>
                    <a:ext uri="{FF2B5EF4-FFF2-40B4-BE49-F238E27FC236}">
                      <a16:creationId xmlns:a16="http://schemas.microsoft.com/office/drawing/2014/main" id="{8A5C2AD7-C495-28F8-60B0-0AC58CFEDC9E}"/>
                    </a:ext>
                  </a:extLst>
                </p:cNvPr>
                <p:cNvSpPr/>
                <p:nvPr/>
              </p:nvSpPr>
              <p:spPr>
                <a:xfrm>
                  <a:off x="9111923" y="3744775"/>
                  <a:ext cx="247794" cy="374998"/>
                </a:xfrm>
                <a:custGeom>
                  <a:avLst/>
                  <a:gdLst>
                    <a:gd name="connsiteX0" fmla="*/ 127448 w 247794"/>
                    <a:gd name="connsiteY0" fmla="*/ 36 h 374998"/>
                    <a:gd name="connsiteX1" fmla="*/ 4689 w 247794"/>
                    <a:gd name="connsiteY1" fmla="*/ 120119 h 374998"/>
                    <a:gd name="connsiteX2" fmla="*/ 47004 w 247794"/>
                    <a:gd name="connsiteY2" fmla="*/ 368036 h 374998"/>
                    <a:gd name="connsiteX3" fmla="*/ 192427 w 247794"/>
                    <a:gd name="connsiteY3" fmla="*/ 308440 h 374998"/>
                    <a:gd name="connsiteX4" fmla="*/ 247257 w 247794"/>
                    <a:gd name="connsiteY4" fmla="*/ 143368 h 374998"/>
                    <a:gd name="connsiteX5" fmla="*/ 127482 w 247794"/>
                    <a:gd name="connsiteY5" fmla="*/ 36 h 374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794" h="374998">
                      <a:moveTo>
                        <a:pt x="127448" y="36"/>
                      </a:moveTo>
                      <a:cubicBezTo>
                        <a:pt x="127448" y="36"/>
                        <a:pt x="23755" y="-2639"/>
                        <a:pt x="4689" y="120119"/>
                      </a:cubicBezTo>
                      <a:cubicBezTo>
                        <a:pt x="-14375" y="242878"/>
                        <a:pt x="29721" y="350754"/>
                        <a:pt x="47004" y="368036"/>
                      </a:cubicBezTo>
                      <a:cubicBezTo>
                        <a:pt x="64286" y="385318"/>
                        <a:pt x="167979" y="372219"/>
                        <a:pt x="192427" y="308440"/>
                      </a:cubicBezTo>
                      <a:cubicBezTo>
                        <a:pt x="216876" y="244660"/>
                        <a:pt x="252606" y="198198"/>
                        <a:pt x="247257" y="143368"/>
                      </a:cubicBezTo>
                      <a:cubicBezTo>
                        <a:pt x="241908" y="88538"/>
                        <a:pt x="255007" y="-2056"/>
                        <a:pt x="127482" y="36"/>
                      </a:cubicBezTo>
                      <a:close/>
                    </a:path>
                  </a:pathLst>
                </a:custGeom>
                <a:solidFill>
                  <a:srgbClr val="EEA8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18" name="Freeform: Shape 117">
                  <a:extLst>
                    <a:ext uri="{FF2B5EF4-FFF2-40B4-BE49-F238E27FC236}">
                      <a16:creationId xmlns:a16="http://schemas.microsoft.com/office/drawing/2014/main" id="{204A0F49-5154-AC21-2263-E094B88A576C}"/>
                    </a:ext>
                  </a:extLst>
                </p:cNvPr>
                <p:cNvSpPr/>
                <p:nvPr/>
              </p:nvSpPr>
              <p:spPr>
                <a:xfrm>
                  <a:off x="9109894" y="3725885"/>
                  <a:ext cx="316507" cy="442921"/>
                </a:xfrm>
                <a:custGeom>
                  <a:avLst/>
                  <a:gdLst>
                    <a:gd name="connsiteX0" fmla="*/ 2295 w 316507"/>
                    <a:gd name="connsiteY0" fmla="*/ 185438 h 442921"/>
                    <a:gd name="connsiteX1" fmla="*/ 112195 w 316507"/>
                    <a:gd name="connsiteY1" fmla="*/ 4901 h 442921"/>
                    <a:gd name="connsiteX2" fmla="*/ 311249 w 316507"/>
                    <a:gd name="connsiteY2" fmla="*/ 127659 h 442921"/>
                    <a:gd name="connsiteX3" fmla="*/ 308849 w 316507"/>
                    <a:gd name="connsiteY3" fmla="*/ 341594 h 442921"/>
                    <a:gd name="connsiteX4" fmla="*/ 162259 w 316507"/>
                    <a:gd name="connsiteY4" fmla="*/ 442921 h 442921"/>
                    <a:gd name="connsiteX5" fmla="*/ 190856 w 316507"/>
                    <a:gd name="connsiteY5" fmla="*/ 154474 h 442921"/>
                    <a:gd name="connsiteX6" fmla="*/ 4731 w 316507"/>
                    <a:gd name="connsiteY6" fmla="*/ 153720 h 442921"/>
                    <a:gd name="connsiteX7" fmla="*/ 2295 w 316507"/>
                    <a:gd name="connsiteY7" fmla="*/ 185438 h 442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507" h="442921">
                      <a:moveTo>
                        <a:pt x="2295" y="185438"/>
                      </a:moveTo>
                      <a:cubicBezTo>
                        <a:pt x="2295" y="185438"/>
                        <a:pt x="-25479" y="32299"/>
                        <a:pt x="112195" y="4901"/>
                      </a:cubicBezTo>
                      <a:cubicBezTo>
                        <a:pt x="249870" y="-22531"/>
                        <a:pt x="298115" y="71629"/>
                        <a:pt x="311249" y="127659"/>
                      </a:cubicBezTo>
                      <a:cubicBezTo>
                        <a:pt x="324348" y="183689"/>
                        <a:pt x="308849" y="341594"/>
                        <a:pt x="308849" y="341594"/>
                      </a:cubicBezTo>
                      <a:cubicBezTo>
                        <a:pt x="308849" y="341594"/>
                        <a:pt x="217089" y="422039"/>
                        <a:pt x="162259" y="442921"/>
                      </a:cubicBezTo>
                      <a:cubicBezTo>
                        <a:pt x="162259" y="442921"/>
                        <a:pt x="208138" y="274866"/>
                        <a:pt x="190856" y="154474"/>
                      </a:cubicBezTo>
                      <a:cubicBezTo>
                        <a:pt x="190856" y="154474"/>
                        <a:pt x="79003" y="172030"/>
                        <a:pt x="4731" y="153720"/>
                      </a:cubicBezTo>
                      <a:cubicBezTo>
                        <a:pt x="4731" y="153720"/>
                        <a:pt x="2501" y="178854"/>
                        <a:pt x="2295" y="185438"/>
                      </a:cubicBezTo>
                      <a:close/>
                    </a:path>
                  </a:pathLst>
                </a:custGeom>
                <a:solidFill>
                  <a:srgbClr val="E8734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19" name="Freeform: Shape 118">
                  <a:extLst>
                    <a:ext uri="{FF2B5EF4-FFF2-40B4-BE49-F238E27FC236}">
                      <a16:creationId xmlns:a16="http://schemas.microsoft.com/office/drawing/2014/main" id="{C6B98713-FAC1-C1A9-CA29-42CB108096CC}"/>
                    </a:ext>
                  </a:extLst>
                </p:cNvPr>
                <p:cNvSpPr/>
                <p:nvPr/>
              </p:nvSpPr>
              <p:spPr>
                <a:xfrm>
                  <a:off x="9194183" y="4087470"/>
                  <a:ext cx="85068" cy="59115"/>
                </a:xfrm>
                <a:custGeom>
                  <a:avLst/>
                  <a:gdLst>
                    <a:gd name="connsiteX0" fmla="*/ 63 w 85068"/>
                    <a:gd name="connsiteY0" fmla="*/ 32061 h 59115"/>
                    <a:gd name="connsiteX1" fmla="*/ 85068 w 85068"/>
                    <a:gd name="connsiteY1" fmla="*/ 0 h 59115"/>
                    <a:gd name="connsiteX2" fmla="*/ 2532 w 85068"/>
                    <a:gd name="connsiteY2" fmla="*/ 59116 h 59115"/>
                    <a:gd name="connsiteX3" fmla="*/ 29 w 85068"/>
                    <a:gd name="connsiteY3" fmla="*/ 32061 h 59115"/>
                  </a:gdLst>
                  <a:ahLst/>
                  <a:cxnLst>
                    <a:cxn ang="0">
                      <a:pos x="connsiteX0" y="connsiteY0"/>
                    </a:cxn>
                    <a:cxn ang="0">
                      <a:pos x="connsiteX1" y="connsiteY1"/>
                    </a:cxn>
                    <a:cxn ang="0">
                      <a:pos x="connsiteX2" y="connsiteY2"/>
                    </a:cxn>
                    <a:cxn ang="0">
                      <a:pos x="connsiteX3" y="connsiteY3"/>
                    </a:cxn>
                  </a:cxnLst>
                  <a:rect l="l" t="t" r="r" b="b"/>
                  <a:pathLst>
                    <a:path w="85068" h="59115">
                      <a:moveTo>
                        <a:pt x="63" y="32061"/>
                      </a:moveTo>
                      <a:cubicBezTo>
                        <a:pt x="63" y="32061"/>
                        <a:pt x="36068" y="31821"/>
                        <a:pt x="85068" y="0"/>
                      </a:cubicBezTo>
                      <a:cubicBezTo>
                        <a:pt x="85068" y="0"/>
                        <a:pt x="50572" y="43274"/>
                        <a:pt x="2532" y="59116"/>
                      </a:cubicBezTo>
                      <a:cubicBezTo>
                        <a:pt x="2532" y="59116"/>
                        <a:pt x="-315" y="37582"/>
                        <a:pt x="29" y="32061"/>
                      </a:cubicBezTo>
                      <a:close/>
                    </a:path>
                  </a:pathLst>
                </a:custGeom>
                <a:solidFill>
                  <a:srgbClr val="A7786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20" name="Freeform: Shape 119">
                  <a:extLst>
                    <a:ext uri="{FF2B5EF4-FFF2-40B4-BE49-F238E27FC236}">
                      <a16:creationId xmlns:a16="http://schemas.microsoft.com/office/drawing/2014/main" id="{4BB85599-6D3D-8DE7-BE7D-06FF4AF18173}"/>
                    </a:ext>
                  </a:extLst>
                </p:cNvPr>
                <p:cNvSpPr/>
                <p:nvPr/>
              </p:nvSpPr>
              <p:spPr>
                <a:xfrm rot="-10243800">
                  <a:off x="9371848" y="4941351"/>
                  <a:ext cx="405787" cy="300106"/>
                </a:xfrm>
                <a:custGeom>
                  <a:avLst/>
                  <a:gdLst>
                    <a:gd name="connsiteX0" fmla="*/ 0 w 405787"/>
                    <a:gd name="connsiteY0" fmla="*/ 0 h 300106"/>
                    <a:gd name="connsiteX1" fmla="*/ 405788 w 405787"/>
                    <a:gd name="connsiteY1" fmla="*/ 0 h 300106"/>
                    <a:gd name="connsiteX2" fmla="*/ 405788 w 405787"/>
                    <a:gd name="connsiteY2" fmla="*/ 300106 h 300106"/>
                    <a:gd name="connsiteX3" fmla="*/ 0 w 405787"/>
                    <a:gd name="connsiteY3" fmla="*/ 300106 h 300106"/>
                  </a:gdLst>
                  <a:ahLst/>
                  <a:cxnLst>
                    <a:cxn ang="0">
                      <a:pos x="connsiteX0" y="connsiteY0"/>
                    </a:cxn>
                    <a:cxn ang="0">
                      <a:pos x="connsiteX1" y="connsiteY1"/>
                    </a:cxn>
                    <a:cxn ang="0">
                      <a:pos x="connsiteX2" y="connsiteY2"/>
                    </a:cxn>
                    <a:cxn ang="0">
                      <a:pos x="connsiteX3" y="connsiteY3"/>
                    </a:cxn>
                  </a:cxnLst>
                  <a:rect l="l" t="t" r="r" b="b"/>
                  <a:pathLst>
                    <a:path w="405787" h="300106">
                      <a:moveTo>
                        <a:pt x="0" y="0"/>
                      </a:moveTo>
                      <a:lnTo>
                        <a:pt x="405788" y="0"/>
                      </a:lnTo>
                      <a:lnTo>
                        <a:pt x="405788" y="300106"/>
                      </a:lnTo>
                      <a:lnTo>
                        <a:pt x="0" y="300106"/>
                      </a:lnTo>
                      <a:close/>
                    </a:path>
                  </a:pathLst>
                </a:custGeom>
                <a:solidFill>
                  <a:srgbClr val="366E9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21" name="Freeform: Shape 120">
                  <a:extLst>
                    <a:ext uri="{FF2B5EF4-FFF2-40B4-BE49-F238E27FC236}">
                      <a16:creationId xmlns:a16="http://schemas.microsoft.com/office/drawing/2014/main" id="{B9522430-895F-DA1C-FDF9-9F4AC629A817}"/>
                    </a:ext>
                  </a:extLst>
                </p:cNvPr>
                <p:cNvSpPr/>
                <p:nvPr/>
              </p:nvSpPr>
              <p:spPr>
                <a:xfrm>
                  <a:off x="9509903" y="5118571"/>
                  <a:ext cx="130190" cy="153282"/>
                </a:xfrm>
                <a:custGeom>
                  <a:avLst/>
                  <a:gdLst>
                    <a:gd name="connsiteX0" fmla="*/ 116980 w 130190"/>
                    <a:gd name="connsiteY0" fmla="*/ 148099 h 153282"/>
                    <a:gd name="connsiteX1" fmla="*/ 123838 w 130190"/>
                    <a:gd name="connsiteY1" fmla="*/ 132085 h 153282"/>
                    <a:gd name="connsiteX2" fmla="*/ 124695 w 130190"/>
                    <a:gd name="connsiteY2" fmla="*/ 113911 h 153282"/>
                    <a:gd name="connsiteX3" fmla="*/ 125415 w 130190"/>
                    <a:gd name="connsiteY3" fmla="*/ 108116 h 153282"/>
                    <a:gd name="connsiteX4" fmla="*/ 130079 w 130190"/>
                    <a:gd name="connsiteY4" fmla="*/ 76570 h 153282"/>
                    <a:gd name="connsiteX5" fmla="*/ 109916 w 130190"/>
                    <a:gd name="connsiteY5" fmla="*/ 2332 h 153282"/>
                    <a:gd name="connsiteX6" fmla="*/ 74461 w 130190"/>
                    <a:gd name="connsiteY6" fmla="*/ 3566 h 153282"/>
                    <a:gd name="connsiteX7" fmla="*/ 41097 w 130190"/>
                    <a:gd name="connsiteY7" fmla="*/ 0 h 153282"/>
                    <a:gd name="connsiteX8" fmla="*/ 51 w 130190"/>
                    <a:gd name="connsiteY8" fmla="*/ 90183 h 153282"/>
                    <a:gd name="connsiteX9" fmla="*/ 51 w 130190"/>
                    <a:gd name="connsiteY9" fmla="*/ 93955 h 153282"/>
                    <a:gd name="connsiteX10" fmla="*/ 6532 w 130190"/>
                    <a:gd name="connsiteY10" fmla="*/ 119364 h 153282"/>
                    <a:gd name="connsiteX11" fmla="*/ 17676 w 130190"/>
                    <a:gd name="connsiteY11" fmla="*/ 145733 h 153282"/>
                    <a:gd name="connsiteX12" fmla="*/ 38422 w 130190"/>
                    <a:gd name="connsiteY12" fmla="*/ 146213 h 153282"/>
                    <a:gd name="connsiteX13" fmla="*/ 66196 w 130190"/>
                    <a:gd name="connsiteY13" fmla="*/ 150327 h 153282"/>
                    <a:gd name="connsiteX14" fmla="*/ 94178 w 130190"/>
                    <a:gd name="connsiteY14" fmla="*/ 149504 h 153282"/>
                    <a:gd name="connsiteX15" fmla="*/ 116980 w 130190"/>
                    <a:gd name="connsiteY15" fmla="*/ 148133 h 15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0190" h="153282">
                      <a:moveTo>
                        <a:pt x="116980" y="148099"/>
                      </a:moveTo>
                      <a:cubicBezTo>
                        <a:pt x="116980" y="148099"/>
                        <a:pt x="123255" y="137880"/>
                        <a:pt x="123838" y="132085"/>
                      </a:cubicBezTo>
                      <a:cubicBezTo>
                        <a:pt x="123838" y="132085"/>
                        <a:pt x="124078" y="121455"/>
                        <a:pt x="124695" y="113911"/>
                      </a:cubicBezTo>
                      <a:cubicBezTo>
                        <a:pt x="124901" y="111511"/>
                        <a:pt x="125142" y="109420"/>
                        <a:pt x="125415" y="108116"/>
                      </a:cubicBezTo>
                      <a:cubicBezTo>
                        <a:pt x="126616" y="102562"/>
                        <a:pt x="130936" y="90731"/>
                        <a:pt x="130079" y="76570"/>
                      </a:cubicBezTo>
                      <a:cubicBezTo>
                        <a:pt x="129256" y="62442"/>
                        <a:pt x="109916" y="2332"/>
                        <a:pt x="109916" y="2332"/>
                      </a:cubicBezTo>
                      <a:lnTo>
                        <a:pt x="74461" y="3566"/>
                      </a:lnTo>
                      <a:lnTo>
                        <a:pt x="41097" y="0"/>
                      </a:lnTo>
                      <a:cubicBezTo>
                        <a:pt x="41097" y="0"/>
                        <a:pt x="806" y="76913"/>
                        <a:pt x="51" y="90183"/>
                      </a:cubicBezTo>
                      <a:cubicBezTo>
                        <a:pt x="-17" y="91486"/>
                        <a:pt x="-17" y="92755"/>
                        <a:pt x="51" y="93955"/>
                      </a:cubicBezTo>
                      <a:cubicBezTo>
                        <a:pt x="497" y="105271"/>
                        <a:pt x="5606" y="113465"/>
                        <a:pt x="6532" y="119364"/>
                      </a:cubicBezTo>
                      <a:cubicBezTo>
                        <a:pt x="6875" y="121524"/>
                        <a:pt x="11813" y="142818"/>
                        <a:pt x="17676" y="145733"/>
                      </a:cubicBezTo>
                      <a:cubicBezTo>
                        <a:pt x="25768" y="149813"/>
                        <a:pt x="33038" y="149333"/>
                        <a:pt x="38422" y="146213"/>
                      </a:cubicBezTo>
                      <a:cubicBezTo>
                        <a:pt x="38422" y="146213"/>
                        <a:pt x="54641" y="153482"/>
                        <a:pt x="66196" y="150327"/>
                      </a:cubicBezTo>
                      <a:cubicBezTo>
                        <a:pt x="66196" y="150327"/>
                        <a:pt x="80941" y="157494"/>
                        <a:pt x="94178" y="149504"/>
                      </a:cubicBezTo>
                      <a:cubicBezTo>
                        <a:pt x="94178" y="149504"/>
                        <a:pt x="109950" y="155094"/>
                        <a:pt x="116980" y="148133"/>
                      </a:cubicBezTo>
                      <a:close/>
                    </a:path>
                  </a:pathLst>
                </a:custGeom>
                <a:solidFill>
                  <a:srgbClr val="EEA8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22" name="Freeform: Shape 121">
                  <a:extLst>
                    <a:ext uri="{FF2B5EF4-FFF2-40B4-BE49-F238E27FC236}">
                      <a16:creationId xmlns:a16="http://schemas.microsoft.com/office/drawing/2014/main" id="{2CF1FF70-DD99-C4F9-6C56-3310A3F1E104}"/>
                    </a:ext>
                  </a:extLst>
                </p:cNvPr>
                <p:cNvSpPr/>
                <p:nvPr/>
              </p:nvSpPr>
              <p:spPr>
                <a:xfrm>
                  <a:off x="9393590" y="4189641"/>
                  <a:ext cx="259978" cy="954956"/>
                </a:xfrm>
                <a:custGeom>
                  <a:avLst/>
                  <a:gdLst>
                    <a:gd name="connsiteX0" fmla="*/ 21757 w 259978"/>
                    <a:gd name="connsiteY0" fmla="*/ 2380 h 954956"/>
                    <a:gd name="connsiteX1" fmla="*/ 133440 w 259978"/>
                    <a:gd name="connsiteY1" fmla="*/ 60261 h 954956"/>
                    <a:gd name="connsiteX2" fmla="*/ 179354 w 259978"/>
                    <a:gd name="connsiteY2" fmla="*/ 210074 h 954956"/>
                    <a:gd name="connsiteX3" fmla="*/ 236447 w 259978"/>
                    <a:gd name="connsiteY3" fmla="*/ 470575 h 954956"/>
                    <a:gd name="connsiteX4" fmla="*/ 259936 w 259978"/>
                    <a:gd name="connsiteY4" fmla="*/ 659993 h 954956"/>
                    <a:gd name="connsiteX5" fmla="*/ 249992 w 259978"/>
                    <a:gd name="connsiteY5" fmla="*/ 952898 h 954956"/>
                    <a:gd name="connsiteX6" fmla="*/ 137658 w 259978"/>
                    <a:gd name="connsiteY6" fmla="*/ 936474 h 954956"/>
                    <a:gd name="connsiteX7" fmla="*/ 147910 w 259978"/>
                    <a:gd name="connsiteY7" fmla="*/ 688865 h 954956"/>
                    <a:gd name="connsiteX8" fmla="*/ 129085 w 259978"/>
                    <a:gd name="connsiteY8" fmla="*/ 514021 h 954956"/>
                    <a:gd name="connsiteX9" fmla="*/ 53029 w 259978"/>
                    <a:gd name="connsiteY9" fmla="*/ 250159 h 954956"/>
                    <a:gd name="connsiteX10" fmla="*/ 21723 w 259978"/>
                    <a:gd name="connsiteY10" fmla="*/ 2380 h 95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9978" h="954956">
                      <a:moveTo>
                        <a:pt x="21757" y="2380"/>
                      </a:moveTo>
                      <a:cubicBezTo>
                        <a:pt x="21757" y="2380"/>
                        <a:pt x="92738" y="-17955"/>
                        <a:pt x="133440" y="60261"/>
                      </a:cubicBezTo>
                      <a:cubicBezTo>
                        <a:pt x="174108" y="138511"/>
                        <a:pt x="173902" y="171875"/>
                        <a:pt x="179354" y="210074"/>
                      </a:cubicBezTo>
                      <a:cubicBezTo>
                        <a:pt x="184498" y="246147"/>
                        <a:pt x="234081" y="460425"/>
                        <a:pt x="236447" y="470575"/>
                      </a:cubicBezTo>
                      <a:cubicBezTo>
                        <a:pt x="238779" y="480759"/>
                        <a:pt x="258804" y="611267"/>
                        <a:pt x="259936" y="659993"/>
                      </a:cubicBezTo>
                      <a:cubicBezTo>
                        <a:pt x="260793" y="697061"/>
                        <a:pt x="248448" y="943503"/>
                        <a:pt x="249992" y="952898"/>
                      </a:cubicBezTo>
                      <a:cubicBezTo>
                        <a:pt x="251569" y="962294"/>
                        <a:pt x="137658" y="936474"/>
                        <a:pt x="137658" y="936474"/>
                      </a:cubicBezTo>
                      <a:cubicBezTo>
                        <a:pt x="137658" y="936474"/>
                        <a:pt x="150242" y="712354"/>
                        <a:pt x="147910" y="688865"/>
                      </a:cubicBezTo>
                      <a:cubicBezTo>
                        <a:pt x="145578" y="665411"/>
                        <a:pt x="140572" y="548413"/>
                        <a:pt x="129085" y="514021"/>
                      </a:cubicBezTo>
                      <a:cubicBezTo>
                        <a:pt x="115609" y="473627"/>
                        <a:pt x="62425" y="270116"/>
                        <a:pt x="53029" y="250159"/>
                      </a:cubicBezTo>
                      <a:cubicBezTo>
                        <a:pt x="43634" y="230202"/>
                        <a:pt x="-38113" y="27789"/>
                        <a:pt x="21723" y="2380"/>
                      </a:cubicBezTo>
                      <a:close/>
                    </a:path>
                  </a:pathLst>
                </a:custGeom>
                <a:solidFill>
                  <a:srgbClr val="EB47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grpSp>
          <p:grpSp>
            <p:nvGrpSpPr>
              <p:cNvPr id="123" name="Graphic 5">
                <a:extLst>
                  <a:ext uri="{FF2B5EF4-FFF2-40B4-BE49-F238E27FC236}">
                    <a16:creationId xmlns:a16="http://schemas.microsoft.com/office/drawing/2014/main" id="{CE7DD440-7B06-D3F4-22EE-F97F4D1D182F}"/>
                  </a:ext>
                </a:extLst>
              </p:cNvPr>
              <p:cNvGrpSpPr/>
              <p:nvPr/>
            </p:nvGrpSpPr>
            <p:grpSpPr>
              <a:xfrm>
                <a:off x="5970406" y="3504337"/>
                <a:ext cx="1342937" cy="2970625"/>
                <a:chOff x="3736581" y="3594114"/>
                <a:chExt cx="1304450" cy="2885491"/>
              </a:xfrm>
            </p:grpSpPr>
            <p:sp>
              <p:nvSpPr>
                <p:cNvPr id="124" name="Freeform: Shape 123">
                  <a:extLst>
                    <a:ext uri="{FF2B5EF4-FFF2-40B4-BE49-F238E27FC236}">
                      <a16:creationId xmlns:a16="http://schemas.microsoft.com/office/drawing/2014/main" id="{B458F225-8A08-A90A-7598-89468A696D68}"/>
                    </a:ext>
                  </a:extLst>
                </p:cNvPr>
                <p:cNvSpPr/>
                <p:nvPr/>
              </p:nvSpPr>
              <p:spPr>
                <a:xfrm>
                  <a:off x="4860847" y="4270516"/>
                  <a:ext cx="151062" cy="162527"/>
                </a:xfrm>
                <a:custGeom>
                  <a:avLst/>
                  <a:gdLst>
                    <a:gd name="connsiteX0" fmla="*/ 0 w 151062"/>
                    <a:gd name="connsiteY0" fmla="*/ 114523 h 162527"/>
                    <a:gd name="connsiteX1" fmla="*/ 10665 w 151062"/>
                    <a:gd name="connsiteY1" fmla="*/ 60448 h 162527"/>
                    <a:gd name="connsiteX2" fmla="*/ 49138 w 151062"/>
                    <a:gd name="connsiteY2" fmla="*/ 27598 h 162527"/>
                    <a:gd name="connsiteX3" fmla="*/ 99681 w 151062"/>
                    <a:gd name="connsiteY3" fmla="*/ 63 h 162527"/>
                    <a:gd name="connsiteX4" fmla="*/ 113774 w 151062"/>
                    <a:gd name="connsiteY4" fmla="*/ 8944 h 162527"/>
                    <a:gd name="connsiteX5" fmla="*/ 120770 w 151062"/>
                    <a:gd name="connsiteY5" fmla="*/ 27701 h 162527"/>
                    <a:gd name="connsiteX6" fmla="*/ 133251 w 151062"/>
                    <a:gd name="connsiteY6" fmla="*/ 47246 h 162527"/>
                    <a:gd name="connsiteX7" fmla="*/ 142270 w 151062"/>
                    <a:gd name="connsiteY7" fmla="*/ 68712 h 162527"/>
                    <a:gd name="connsiteX8" fmla="*/ 150636 w 151062"/>
                    <a:gd name="connsiteY8" fmla="*/ 86131 h 162527"/>
                    <a:gd name="connsiteX9" fmla="*/ 131811 w 151062"/>
                    <a:gd name="connsiteY9" fmla="*/ 106979 h 162527"/>
                    <a:gd name="connsiteX10" fmla="*/ 59493 w 151062"/>
                    <a:gd name="connsiteY10" fmla="*/ 162049 h 162527"/>
                    <a:gd name="connsiteX11" fmla="*/ 0 w 151062"/>
                    <a:gd name="connsiteY11" fmla="*/ 114523 h 16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1062" h="162527">
                      <a:moveTo>
                        <a:pt x="0" y="114523"/>
                      </a:moveTo>
                      <a:cubicBezTo>
                        <a:pt x="0" y="114523"/>
                        <a:pt x="9053" y="67580"/>
                        <a:pt x="10665" y="60448"/>
                      </a:cubicBezTo>
                      <a:cubicBezTo>
                        <a:pt x="12276" y="53315"/>
                        <a:pt x="28392" y="38640"/>
                        <a:pt x="49138" y="27598"/>
                      </a:cubicBezTo>
                      <a:cubicBezTo>
                        <a:pt x="69266" y="16865"/>
                        <a:pt x="95806" y="-1205"/>
                        <a:pt x="99681" y="63"/>
                      </a:cubicBezTo>
                      <a:cubicBezTo>
                        <a:pt x="103522" y="1332"/>
                        <a:pt x="107499" y="646"/>
                        <a:pt x="113774" y="8944"/>
                      </a:cubicBezTo>
                      <a:cubicBezTo>
                        <a:pt x="120049" y="17242"/>
                        <a:pt x="120770" y="27701"/>
                        <a:pt x="120770" y="27701"/>
                      </a:cubicBezTo>
                      <a:cubicBezTo>
                        <a:pt x="120770" y="27701"/>
                        <a:pt x="133320" y="34285"/>
                        <a:pt x="133251" y="47246"/>
                      </a:cubicBezTo>
                      <a:cubicBezTo>
                        <a:pt x="133251" y="47246"/>
                        <a:pt x="144773" y="54002"/>
                        <a:pt x="142270" y="68712"/>
                      </a:cubicBezTo>
                      <a:cubicBezTo>
                        <a:pt x="142270" y="68712"/>
                        <a:pt x="153345" y="75604"/>
                        <a:pt x="150636" y="86131"/>
                      </a:cubicBezTo>
                      <a:cubicBezTo>
                        <a:pt x="150636" y="86131"/>
                        <a:pt x="135823" y="100190"/>
                        <a:pt x="131811" y="106979"/>
                      </a:cubicBezTo>
                      <a:cubicBezTo>
                        <a:pt x="127833" y="113769"/>
                        <a:pt x="94984" y="140892"/>
                        <a:pt x="59493" y="162049"/>
                      </a:cubicBezTo>
                      <a:cubicBezTo>
                        <a:pt x="59493" y="162049"/>
                        <a:pt x="19203" y="170690"/>
                        <a:pt x="0" y="114523"/>
                      </a:cubicBezTo>
                      <a:close/>
                    </a:path>
                  </a:pathLst>
                </a:custGeom>
                <a:solidFill>
                  <a:srgbClr val="EEA8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25" name="Freeform: Shape 124">
                  <a:extLst>
                    <a:ext uri="{FF2B5EF4-FFF2-40B4-BE49-F238E27FC236}">
                      <a16:creationId xmlns:a16="http://schemas.microsoft.com/office/drawing/2014/main" id="{CB014161-D616-E8B3-33AE-9A907A93D500}"/>
                    </a:ext>
                  </a:extLst>
                </p:cNvPr>
                <p:cNvSpPr/>
                <p:nvPr/>
              </p:nvSpPr>
              <p:spPr>
                <a:xfrm>
                  <a:off x="4843442" y="4363196"/>
                  <a:ext cx="76898" cy="85042"/>
                </a:xfrm>
                <a:custGeom>
                  <a:avLst/>
                  <a:gdLst>
                    <a:gd name="connsiteX0" fmla="*/ 76899 w 76898"/>
                    <a:gd name="connsiteY0" fmla="*/ 69369 h 85042"/>
                    <a:gd name="connsiteX1" fmla="*/ 12879 w 76898"/>
                    <a:gd name="connsiteY1" fmla="*/ 84148 h 85042"/>
                    <a:gd name="connsiteX2" fmla="*/ 1220 w 76898"/>
                    <a:gd name="connsiteY2" fmla="*/ 25684 h 85042"/>
                    <a:gd name="connsiteX3" fmla="*/ 26869 w 76898"/>
                    <a:gd name="connsiteY3" fmla="*/ 0 h 85042"/>
                    <a:gd name="connsiteX4" fmla="*/ 76899 w 76898"/>
                    <a:gd name="connsiteY4" fmla="*/ 69335 h 8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98" h="85042">
                      <a:moveTo>
                        <a:pt x="76899" y="69369"/>
                      </a:moveTo>
                      <a:cubicBezTo>
                        <a:pt x="76899" y="69369"/>
                        <a:pt x="31327" y="89463"/>
                        <a:pt x="12879" y="84148"/>
                      </a:cubicBezTo>
                      <a:cubicBezTo>
                        <a:pt x="-5569" y="78833"/>
                        <a:pt x="1220" y="25684"/>
                        <a:pt x="1220" y="25684"/>
                      </a:cubicBezTo>
                      <a:lnTo>
                        <a:pt x="26869" y="0"/>
                      </a:lnTo>
                      <a:lnTo>
                        <a:pt x="76899" y="69335"/>
                      </a:lnTo>
                      <a:close/>
                    </a:path>
                  </a:pathLst>
                </a:custGeom>
                <a:solidFill>
                  <a:srgbClr val="EEA8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26" name="Freeform: Shape 125">
                  <a:extLst>
                    <a:ext uri="{FF2B5EF4-FFF2-40B4-BE49-F238E27FC236}">
                      <a16:creationId xmlns:a16="http://schemas.microsoft.com/office/drawing/2014/main" id="{2DF9DEEB-C207-EB15-6B48-9371F9616710}"/>
                    </a:ext>
                  </a:extLst>
                </p:cNvPr>
                <p:cNvSpPr/>
                <p:nvPr/>
              </p:nvSpPr>
              <p:spPr>
                <a:xfrm>
                  <a:off x="3736615" y="4007775"/>
                  <a:ext cx="1152624" cy="851323"/>
                </a:xfrm>
                <a:custGeom>
                  <a:avLst/>
                  <a:gdLst>
                    <a:gd name="connsiteX0" fmla="*/ 720365 w 1152624"/>
                    <a:gd name="connsiteY0" fmla="*/ 453285 h 851323"/>
                    <a:gd name="connsiteX1" fmla="*/ 721050 w 1152624"/>
                    <a:gd name="connsiteY1" fmla="*/ 375858 h 851323"/>
                    <a:gd name="connsiteX2" fmla="*/ 721119 w 1152624"/>
                    <a:gd name="connsiteY2" fmla="*/ 375995 h 851323"/>
                    <a:gd name="connsiteX3" fmla="*/ 744230 w 1152624"/>
                    <a:gd name="connsiteY3" fmla="*/ 456097 h 851323"/>
                    <a:gd name="connsiteX4" fmla="*/ 806878 w 1152624"/>
                    <a:gd name="connsiteY4" fmla="*/ 628164 h 851323"/>
                    <a:gd name="connsiteX5" fmla="*/ 1152624 w 1152624"/>
                    <a:gd name="connsiteY5" fmla="*/ 438540 h 851323"/>
                    <a:gd name="connsiteX6" fmla="*/ 1122826 w 1152624"/>
                    <a:gd name="connsiteY6" fmla="*/ 360427 h 851323"/>
                    <a:gd name="connsiteX7" fmla="*/ 856667 w 1152624"/>
                    <a:gd name="connsiteY7" fmla="*/ 485380 h 851323"/>
                    <a:gd name="connsiteX8" fmla="*/ 723142 w 1152624"/>
                    <a:gd name="connsiteY8" fmla="*/ 133873 h 851323"/>
                    <a:gd name="connsiteX9" fmla="*/ 673113 w 1152624"/>
                    <a:gd name="connsiteY9" fmla="*/ 98383 h 851323"/>
                    <a:gd name="connsiteX10" fmla="*/ 585022 w 1152624"/>
                    <a:gd name="connsiteY10" fmla="*/ 50995 h 851323"/>
                    <a:gd name="connsiteX11" fmla="*/ 543908 w 1152624"/>
                    <a:gd name="connsiteY11" fmla="*/ 29837 h 851323"/>
                    <a:gd name="connsiteX12" fmla="*/ 542057 w 1152624"/>
                    <a:gd name="connsiteY12" fmla="*/ 28980 h 851323"/>
                    <a:gd name="connsiteX13" fmla="*/ 542057 w 1152624"/>
                    <a:gd name="connsiteY13" fmla="*/ 28980 h 851323"/>
                    <a:gd name="connsiteX14" fmla="*/ 508590 w 1152624"/>
                    <a:gd name="connsiteY14" fmla="*/ 13687 h 851323"/>
                    <a:gd name="connsiteX15" fmla="*/ 508521 w 1152624"/>
                    <a:gd name="connsiteY15" fmla="*/ 13687 h 851323"/>
                    <a:gd name="connsiteX16" fmla="*/ 499777 w 1152624"/>
                    <a:gd name="connsiteY16" fmla="*/ 12864 h 851323"/>
                    <a:gd name="connsiteX17" fmla="*/ 355313 w 1152624"/>
                    <a:gd name="connsiteY17" fmla="*/ 314 h 851323"/>
                    <a:gd name="connsiteX18" fmla="*/ 349347 w 1152624"/>
                    <a:gd name="connsiteY18" fmla="*/ 40 h 851323"/>
                    <a:gd name="connsiteX19" fmla="*/ 346398 w 1152624"/>
                    <a:gd name="connsiteY19" fmla="*/ 40 h 851323"/>
                    <a:gd name="connsiteX20" fmla="*/ 301101 w 1152624"/>
                    <a:gd name="connsiteY20" fmla="*/ 15504 h 851323"/>
                    <a:gd name="connsiteX21" fmla="*/ 301101 w 1152624"/>
                    <a:gd name="connsiteY21" fmla="*/ 15504 h 851323"/>
                    <a:gd name="connsiteX22" fmla="*/ 298392 w 1152624"/>
                    <a:gd name="connsiteY22" fmla="*/ 16533 h 851323"/>
                    <a:gd name="connsiteX23" fmla="*/ 295031 w 1152624"/>
                    <a:gd name="connsiteY23" fmla="*/ 17802 h 851323"/>
                    <a:gd name="connsiteX24" fmla="*/ 288791 w 1152624"/>
                    <a:gd name="connsiteY24" fmla="*/ 20202 h 851323"/>
                    <a:gd name="connsiteX25" fmla="*/ 275795 w 1152624"/>
                    <a:gd name="connsiteY25" fmla="*/ 25277 h 851323"/>
                    <a:gd name="connsiteX26" fmla="*/ 271200 w 1152624"/>
                    <a:gd name="connsiteY26" fmla="*/ 27094 h 851323"/>
                    <a:gd name="connsiteX27" fmla="*/ 156911 w 1152624"/>
                    <a:gd name="connsiteY27" fmla="*/ 78289 h 851323"/>
                    <a:gd name="connsiteX28" fmla="*/ 91212 w 1152624"/>
                    <a:gd name="connsiteY28" fmla="*/ 196007 h 851323"/>
                    <a:gd name="connsiteX29" fmla="*/ 0 w 1152624"/>
                    <a:gd name="connsiteY29" fmla="*/ 564384 h 851323"/>
                    <a:gd name="connsiteX30" fmla="*/ 0 w 1152624"/>
                    <a:gd name="connsiteY30" fmla="*/ 566545 h 851323"/>
                    <a:gd name="connsiteX31" fmla="*/ 27021 w 1152624"/>
                    <a:gd name="connsiteY31" fmla="*/ 625832 h 851323"/>
                    <a:gd name="connsiteX32" fmla="*/ 76638 w 1152624"/>
                    <a:gd name="connsiteY32" fmla="*/ 522653 h 851323"/>
                    <a:gd name="connsiteX33" fmla="*/ 202620 w 1152624"/>
                    <a:gd name="connsiteY33" fmla="*/ 363479 h 851323"/>
                    <a:gd name="connsiteX34" fmla="*/ 202654 w 1152624"/>
                    <a:gd name="connsiteY34" fmla="*/ 363719 h 851323"/>
                    <a:gd name="connsiteX35" fmla="*/ 202654 w 1152624"/>
                    <a:gd name="connsiteY35" fmla="*/ 363856 h 851323"/>
                    <a:gd name="connsiteX36" fmla="*/ 202654 w 1152624"/>
                    <a:gd name="connsiteY36" fmla="*/ 363993 h 851323"/>
                    <a:gd name="connsiteX37" fmla="*/ 202791 w 1152624"/>
                    <a:gd name="connsiteY37" fmla="*/ 364439 h 851323"/>
                    <a:gd name="connsiteX38" fmla="*/ 203066 w 1152624"/>
                    <a:gd name="connsiteY38" fmla="*/ 365365 h 851323"/>
                    <a:gd name="connsiteX39" fmla="*/ 203203 w 1152624"/>
                    <a:gd name="connsiteY39" fmla="*/ 365948 h 851323"/>
                    <a:gd name="connsiteX40" fmla="*/ 203340 w 1152624"/>
                    <a:gd name="connsiteY40" fmla="*/ 366394 h 851323"/>
                    <a:gd name="connsiteX41" fmla="*/ 245654 w 1152624"/>
                    <a:gd name="connsiteY41" fmla="*/ 587461 h 851323"/>
                    <a:gd name="connsiteX42" fmla="*/ 265816 w 1152624"/>
                    <a:gd name="connsiteY42" fmla="*/ 791898 h 851323"/>
                    <a:gd name="connsiteX43" fmla="*/ 265885 w 1152624"/>
                    <a:gd name="connsiteY43" fmla="*/ 791898 h 851323"/>
                    <a:gd name="connsiteX44" fmla="*/ 287899 w 1152624"/>
                    <a:gd name="connsiteY44" fmla="*/ 794985 h 851323"/>
                    <a:gd name="connsiteX45" fmla="*/ 336625 w 1152624"/>
                    <a:gd name="connsiteY45" fmla="*/ 801877 h 851323"/>
                    <a:gd name="connsiteX46" fmla="*/ 342454 w 1152624"/>
                    <a:gd name="connsiteY46" fmla="*/ 802700 h 851323"/>
                    <a:gd name="connsiteX47" fmla="*/ 356650 w 1152624"/>
                    <a:gd name="connsiteY47" fmla="*/ 804689 h 851323"/>
                    <a:gd name="connsiteX48" fmla="*/ 485924 w 1152624"/>
                    <a:gd name="connsiteY48" fmla="*/ 822862 h 851323"/>
                    <a:gd name="connsiteX49" fmla="*/ 531770 w 1152624"/>
                    <a:gd name="connsiteY49" fmla="*/ 829309 h 851323"/>
                    <a:gd name="connsiteX50" fmla="*/ 537976 w 1152624"/>
                    <a:gd name="connsiteY50" fmla="*/ 830200 h 851323"/>
                    <a:gd name="connsiteX51" fmla="*/ 564174 w 1152624"/>
                    <a:gd name="connsiteY51" fmla="*/ 833869 h 851323"/>
                    <a:gd name="connsiteX52" fmla="*/ 636525 w 1152624"/>
                    <a:gd name="connsiteY52" fmla="*/ 844053 h 851323"/>
                    <a:gd name="connsiteX53" fmla="*/ 654973 w 1152624"/>
                    <a:gd name="connsiteY53" fmla="*/ 846659 h 851323"/>
                    <a:gd name="connsiteX54" fmla="*/ 655145 w 1152624"/>
                    <a:gd name="connsiteY54" fmla="*/ 846659 h 851323"/>
                    <a:gd name="connsiteX55" fmla="*/ 668964 w 1152624"/>
                    <a:gd name="connsiteY55" fmla="*/ 848649 h 851323"/>
                    <a:gd name="connsiteX56" fmla="*/ 688063 w 1152624"/>
                    <a:gd name="connsiteY56" fmla="*/ 851323 h 851323"/>
                    <a:gd name="connsiteX57" fmla="*/ 688063 w 1152624"/>
                    <a:gd name="connsiteY57" fmla="*/ 851323 h 851323"/>
                    <a:gd name="connsiteX58" fmla="*/ 703871 w 1152624"/>
                    <a:gd name="connsiteY58" fmla="*/ 770947 h 851323"/>
                    <a:gd name="connsiteX59" fmla="*/ 720365 w 1152624"/>
                    <a:gd name="connsiteY59" fmla="*/ 453285 h 85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152624" h="851323">
                      <a:moveTo>
                        <a:pt x="720365" y="453285"/>
                      </a:moveTo>
                      <a:cubicBezTo>
                        <a:pt x="758084" y="432471"/>
                        <a:pt x="721256" y="377778"/>
                        <a:pt x="721050" y="375858"/>
                      </a:cubicBezTo>
                      <a:lnTo>
                        <a:pt x="721119" y="375995"/>
                      </a:lnTo>
                      <a:cubicBezTo>
                        <a:pt x="722422" y="378841"/>
                        <a:pt x="731852" y="413440"/>
                        <a:pt x="744230" y="456097"/>
                      </a:cubicBezTo>
                      <a:cubicBezTo>
                        <a:pt x="765147" y="528243"/>
                        <a:pt x="794397" y="623603"/>
                        <a:pt x="806878" y="628164"/>
                      </a:cubicBezTo>
                      <a:cubicBezTo>
                        <a:pt x="825018" y="634850"/>
                        <a:pt x="1104207" y="468612"/>
                        <a:pt x="1152624" y="438540"/>
                      </a:cubicBezTo>
                      <a:lnTo>
                        <a:pt x="1122826" y="360427"/>
                      </a:lnTo>
                      <a:lnTo>
                        <a:pt x="856667" y="485380"/>
                      </a:lnTo>
                      <a:lnTo>
                        <a:pt x="723142" y="133873"/>
                      </a:lnTo>
                      <a:cubicBezTo>
                        <a:pt x="720090" y="131439"/>
                        <a:pt x="699311" y="110830"/>
                        <a:pt x="673113" y="98383"/>
                      </a:cubicBezTo>
                      <a:cubicBezTo>
                        <a:pt x="646401" y="85662"/>
                        <a:pt x="614168" y="66973"/>
                        <a:pt x="585022" y="50995"/>
                      </a:cubicBezTo>
                      <a:cubicBezTo>
                        <a:pt x="570140" y="42868"/>
                        <a:pt x="556081" y="35427"/>
                        <a:pt x="543908" y="29837"/>
                      </a:cubicBezTo>
                      <a:lnTo>
                        <a:pt x="542057" y="28980"/>
                      </a:lnTo>
                      <a:lnTo>
                        <a:pt x="542057" y="28980"/>
                      </a:lnTo>
                      <a:cubicBezTo>
                        <a:pt x="521928" y="19756"/>
                        <a:pt x="508590" y="13687"/>
                        <a:pt x="508590" y="13687"/>
                      </a:cubicBezTo>
                      <a:lnTo>
                        <a:pt x="508521" y="13687"/>
                      </a:lnTo>
                      <a:cubicBezTo>
                        <a:pt x="508041" y="13653"/>
                        <a:pt x="504886" y="13344"/>
                        <a:pt x="499777" y="12864"/>
                      </a:cubicBezTo>
                      <a:cubicBezTo>
                        <a:pt x="471728" y="10189"/>
                        <a:pt x="384528" y="2028"/>
                        <a:pt x="355313" y="314"/>
                      </a:cubicBezTo>
                      <a:cubicBezTo>
                        <a:pt x="352913" y="177"/>
                        <a:pt x="350890" y="74"/>
                        <a:pt x="349347" y="40"/>
                      </a:cubicBezTo>
                      <a:cubicBezTo>
                        <a:pt x="348009" y="5"/>
                        <a:pt x="347015" y="-29"/>
                        <a:pt x="346398" y="40"/>
                      </a:cubicBezTo>
                      <a:cubicBezTo>
                        <a:pt x="342694" y="245"/>
                        <a:pt x="324727" y="6520"/>
                        <a:pt x="301101" y="15504"/>
                      </a:cubicBezTo>
                      <a:lnTo>
                        <a:pt x="301101" y="15504"/>
                      </a:lnTo>
                      <a:cubicBezTo>
                        <a:pt x="300209" y="15847"/>
                        <a:pt x="299318" y="16190"/>
                        <a:pt x="298392" y="16533"/>
                      </a:cubicBezTo>
                      <a:cubicBezTo>
                        <a:pt x="297295" y="16944"/>
                        <a:pt x="296163" y="17356"/>
                        <a:pt x="295031" y="17802"/>
                      </a:cubicBezTo>
                      <a:cubicBezTo>
                        <a:pt x="292974" y="18590"/>
                        <a:pt x="290917" y="19379"/>
                        <a:pt x="288791" y="20202"/>
                      </a:cubicBezTo>
                      <a:cubicBezTo>
                        <a:pt x="284573" y="21848"/>
                        <a:pt x="280218" y="23563"/>
                        <a:pt x="275795" y="25277"/>
                      </a:cubicBezTo>
                      <a:cubicBezTo>
                        <a:pt x="274286" y="25894"/>
                        <a:pt x="272743" y="26477"/>
                        <a:pt x="271200" y="27094"/>
                      </a:cubicBezTo>
                      <a:cubicBezTo>
                        <a:pt x="223948" y="45851"/>
                        <a:pt x="169770" y="69031"/>
                        <a:pt x="156911" y="78289"/>
                      </a:cubicBezTo>
                      <a:cubicBezTo>
                        <a:pt x="148407" y="84393"/>
                        <a:pt x="121935" y="134285"/>
                        <a:pt x="91212" y="196007"/>
                      </a:cubicBezTo>
                      <a:cubicBezTo>
                        <a:pt x="51675" y="322674"/>
                        <a:pt x="1543" y="516584"/>
                        <a:pt x="0" y="564384"/>
                      </a:cubicBezTo>
                      <a:cubicBezTo>
                        <a:pt x="0" y="565139"/>
                        <a:pt x="0" y="565859"/>
                        <a:pt x="0" y="566545"/>
                      </a:cubicBezTo>
                      <a:cubicBezTo>
                        <a:pt x="0" y="572065"/>
                        <a:pt x="10424" y="594114"/>
                        <a:pt x="27021" y="625832"/>
                      </a:cubicBezTo>
                      <a:cubicBezTo>
                        <a:pt x="51298" y="577243"/>
                        <a:pt x="70397" y="537329"/>
                        <a:pt x="76638" y="522653"/>
                      </a:cubicBezTo>
                      <a:cubicBezTo>
                        <a:pt x="97110" y="474304"/>
                        <a:pt x="202620" y="363479"/>
                        <a:pt x="202620" y="363479"/>
                      </a:cubicBezTo>
                      <a:cubicBezTo>
                        <a:pt x="202620" y="363479"/>
                        <a:pt x="202620" y="363548"/>
                        <a:pt x="202654" y="363719"/>
                      </a:cubicBezTo>
                      <a:cubicBezTo>
                        <a:pt x="202654" y="363753"/>
                        <a:pt x="202654" y="363822"/>
                        <a:pt x="202654" y="363856"/>
                      </a:cubicBezTo>
                      <a:cubicBezTo>
                        <a:pt x="202654" y="363856"/>
                        <a:pt x="202654" y="363925"/>
                        <a:pt x="202654" y="363993"/>
                      </a:cubicBezTo>
                      <a:cubicBezTo>
                        <a:pt x="202688" y="364131"/>
                        <a:pt x="202757" y="364302"/>
                        <a:pt x="202791" y="364439"/>
                      </a:cubicBezTo>
                      <a:cubicBezTo>
                        <a:pt x="202860" y="364714"/>
                        <a:pt x="202928" y="365022"/>
                        <a:pt x="203066" y="365365"/>
                      </a:cubicBezTo>
                      <a:cubicBezTo>
                        <a:pt x="203134" y="365537"/>
                        <a:pt x="203168" y="365742"/>
                        <a:pt x="203203" y="365948"/>
                      </a:cubicBezTo>
                      <a:cubicBezTo>
                        <a:pt x="203237" y="366085"/>
                        <a:pt x="203306" y="366257"/>
                        <a:pt x="203340" y="366394"/>
                      </a:cubicBezTo>
                      <a:cubicBezTo>
                        <a:pt x="209100" y="387791"/>
                        <a:pt x="244351" y="521556"/>
                        <a:pt x="245654" y="587461"/>
                      </a:cubicBezTo>
                      <a:cubicBezTo>
                        <a:pt x="247094" y="659196"/>
                        <a:pt x="265816" y="791898"/>
                        <a:pt x="265816" y="791898"/>
                      </a:cubicBezTo>
                      <a:lnTo>
                        <a:pt x="265885" y="791898"/>
                      </a:lnTo>
                      <a:cubicBezTo>
                        <a:pt x="265885" y="791898"/>
                        <a:pt x="287899" y="794985"/>
                        <a:pt x="287899" y="794985"/>
                      </a:cubicBezTo>
                      <a:lnTo>
                        <a:pt x="336625" y="801877"/>
                      </a:lnTo>
                      <a:lnTo>
                        <a:pt x="342454" y="802700"/>
                      </a:lnTo>
                      <a:lnTo>
                        <a:pt x="356650" y="804689"/>
                      </a:lnTo>
                      <a:lnTo>
                        <a:pt x="485924" y="822862"/>
                      </a:lnTo>
                      <a:lnTo>
                        <a:pt x="531770" y="829309"/>
                      </a:lnTo>
                      <a:lnTo>
                        <a:pt x="537976" y="830200"/>
                      </a:lnTo>
                      <a:lnTo>
                        <a:pt x="564174" y="833869"/>
                      </a:lnTo>
                      <a:lnTo>
                        <a:pt x="636525" y="844053"/>
                      </a:lnTo>
                      <a:lnTo>
                        <a:pt x="654973" y="846659"/>
                      </a:lnTo>
                      <a:lnTo>
                        <a:pt x="655145" y="846659"/>
                      </a:lnTo>
                      <a:cubicBezTo>
                        <a:pt x="655145" y="846659"/>
                        <a:pt x="668964" y="848649"/>
                        <a:pt x="668964" y="848649"/>
                      </a:cubicBezTo>
                      <a:lnTo>
                        <a:pt x="688063" y="851323"/>
                      </a:lnTo>
                      <a:lnTo>
                        <a:pt x="688063" y="851323"/>
                      </a:lnTo>
                      <a:cubicBezTo>
                        <a:pt x="688578" y="850603"/>
                        <a:pt x="706649" y="825880"/>
                        <a:pt x="703871" y="770947"/>
                      </a:cubicBezTo>
                      <a:cubicBezTo>
                        <a:pt x="703871" y="770947"/>
                        <a:pt x="648287" y="493061"/>
                        <a:pt x="720365" y="453285"/>
                      </a:cubicBezTo>
                      <a:close/>
                    </a:path>
                  </a:pathLst>
                </a:custGeom>
                <a:solidFill>
                  <a:srgbClr val="DECBC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27" name="Freeform: Shape 126">
                  <a:extLst>
                    <a:ext uri="{FF2B5EF4-FFF2-40B4-BE49-F238E27FC236}">
                      <a16:creationId xmlns:a16="http://schemas.microsoft.com/office/drawing/2014/main" id="{1D14A40C-1142-3026-4E89-B52EC5F06835}"/>
                    </a:ext>
                  </a:extLst>
                </p:cNvPr>
                <p:cNvSpPr/>
                <p:nvPr/>
              </p:nvSpPr>
              <p:spPr>
                <a:xfrm>
                  <a:off x="4058853" y="3635743"/>
                  <a:ext cx="254361" cy="340091"/>
                </a:xfrm>
                <a:custGeom>
                  <a:avLst/>
                  <a:gdLst>
                    <a:gd name="connsiteX0" fmla="*/ 123703 w 254361"/>
                    <a:gd name="connsiteY0" fmla="*/ 5100 h 340091"/>
                    <a:gd name="connsiteX1" fmla="*/ 252908 w 254361"/>
                    <a:gd name="connsiteY1" fmla="*/ 149530 h 340091"/>
                    <a:gd name="connsiteX2" fmla="*/ 106901 w 254361"/>
                    <a:gd name="connsiteY2" fmla="*/ 327941 h 340091"/>
                    <a:gd name="connsiteX3" fmla="*/ 774 w 254361"/>
                    <a:gd name="connsiteY3" fmla="*/ 116714 h 340091"/>
                    <a:gd name="connsiteX4" fmla="*/ 123703 w 254361"/>
                    <a:gd name="connsiteY4" fmla="*/ 5100 h 340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361" h="340091">
                      <a:moveTo>
                        <a:pt x="123703" y="5100"/>
                      </a:moveTo>
                      <a:cubicBezTo>
                        <a:pt x="123703" y="5100"/>
                        <a:pt x="270430" y="-41912"/>
                        <a:pt x="252908" y="149530"/>
                      </a:cubicBezTo>
                      <a:cubicBezTo>
                        <a:pt x="235386" y="340970"/>
                        <a:pt x="200684" y="358973"/>
                        <a:pt x="106901" y="327941"/>
                      </a:cubicBezTo>
                      <a:cubicBezTo>
                        <a:pt x="13118" y="296942"/>
                        <a:pt x="10546" y="175521"/>
                        <a:pt x="774" y="116714"/>
                      </a:cubicBezTo>
                      <a:cubicBezTo>
                        <a:pt x="-8999" y="57941"/>
                        <a:pt x="76143" y="11375"/>
                        <a:pt x="123703" y="5100"/>
                      </a:cubicBezTo>
                      <a:close/>
                    </a:path>
                  </a:pathLst>
                </a:custGeom>
                <a:solidFill>
                  <a:srgbClr val="EEA8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28" name="Freeform: Shape 127">
                  <a:extLst>
                    <a:ext uri="{FF2B5EF4-FFF2-40B4-BE49-F238E27FC236}">
                      <a16:creationId xmlns:a16="http://schemas.microsoft.com/office/drawing/2014/main" id="{F8D86B58-BBFF-483D-F379-7C1ABEB8B7F6}"/>
                    </a:ext>
                  </a:extLst>
                </p:cNvPr>
                <p:cNvSpPr/>
                <p:nvPr/>
              </p:nvSpPr>
              <p:spPr>
                <a:xfrm>
                  <a:off x="4078632" y="3836656"/>
                  <a:ext cx="180974" cy="265018"/>
                </a:xfrm>
                <a:custGeom>
                  <a:avLst/>
                  <a:gdLst>
                    <a:gd name="connsiteX0" fmla="*/ 180974 w 180974"/>
                    <a:gd name="connsiteY0" fmla="*/ 223759 h 265018"/>
                    <a:gd name="connsiteX1" fmla="*/ 10450 w 180974"/>
                    <a:gd name="connsiteY1" fmla="*/ 245294 h 265018"/>
                    <a:gd name="connsiteX2" fmla="*/ 1500 w 180974"/>
                    <a:gd name="connsiteY2" fmla="*/ 17779 h 265018"/>
                    <a:gd name="connsiteX3" fmla="*/ 148399 w 180974"/>
                    <a:gd name="connsiteY3" fmla="*/ 120649 h 265018"/>
                    <a:gd name="connsiteX4" fmla="*/ 146444 w 180974"/>
                    <a:gd name="connsiteY4" fmla="*/ 139131 h 265018"/>
                    <a:gd name="connsiteX5" fmla="*/ 150696 w 180974"/>
                    <a:gd name="connsiteY5" fmla="*/ 169170 h 265018"/>
                    <a:gd name="connsiteX6" fmla="*/ 180974 w 180974"/>
                    <a:gd name="connsiteY6" fmla="*/ 223725 h 265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4" h="265018">
                      <a:moveTo>
                        <a:pt x="180974" y="223759"/>
                      </a:moveTo>
                      <a:cubicBezTo>
                        <a:pt x="180974" y="223759"/>
                        <a:pt x="120898" y="299917"/>
                        <a:pt x="10450" y="245294"/>
                      </a:cubicBezTo>
                      <a:cubicBezTo>
                        <a:pt x="10450" y="245294"/>
                        <a:pt x="20394" y="90886"/>
                        <a:pt x="1500" y="17779"/>
                      </a:cubicBezTo>
                      <a:cubicBezTo>
                        <a:pt x="-17393" y="-55327"/>
                        <a:pt x="148399" y="120649"/>
                        <a:pt x="148399" y="120649"/>
                      </a:cubicBezTo>
                      <a:cubicBezTo>
                        <a:pt x="146513" y="121850"/>
                        <a:pt x="145861" y="129050"/>
                        <a:pt x="146444" y="139131"/>
                      </a:cubicBezTo>
                      <a:cubicBezTo>
                        <a:pt x="146959" y="147704"/>
                        <a:pt x="148330" y="158334"/>
                        <a:pt x="150696" y="169170"/>
                      </a:cubicBezTo>
                      <a:cubicBezTo>
                        <a:pt x="155943" y="193550"/>
                        <a:pt x="165921" y="218924"/>
                        <a:pt x="180974" y="223725"/>
                      </a:cubicBezTo>
                      <a:close/>
                    </a:path>
                  </a:pathLst>
                </a:custGeom>
                <a:solidFill>
                  <a:srgbClr val="EEA8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29" name="Freeform: Shape 128">
                  <a:extLst>
                    <a:ext uri="{FF2B5EF4-FFF2-40B4-BE49-F238E27FC236}">
                      <a16:creationId xmlns:a16="http://schemas.microsoft.com/office/drawing/2014/main" id="{BCF68FBB-BB36-4744-7F72-A55BF2A021FB}"/>
                    </a:ext>
                  </a:extLst>
                </p:cNvPr>
                <p:cNvSpPr/>
                <p:nvPr/>
              </p:nvSpPr>
              <p:spPr>
                <a:xfrm>
                  <a:off x="4042327" y="3594114"/>
                  <a:ext cx="276687" cy="254423"/>
                </a:xfrm>
                <a:custGeom>
                  <a:avLst/>
                  <a:gdLst>
                    <a:gd name="connsiteX0" fmla="*/ 33142 w 276687"/>
                    <a:gd name="connsiteY0" fmla="*/ 254389 h 254423"/>
                    <a:gd name="connsiteX1" fmla="*/ 53270 w 276687"/>
                    <a:gd name="connsiteY1" fmla="*/ 190918 h 254423"/>
                    <a:gd name="connsiteX2" fmla="*/ 80257 w 276687"/>
                    <a:gd name="connsiteY2" fmla="*/ 210772 h 254423"/>
                    <a:gd name="connsiteX3" fmla="*/ 102511 w 276687"/>
                    <a:gd name="connsiteY3" fmla="*/ 212967 h 254423"/>
                    <a:gd name="connsiteX4" fmla="*/ 111838 w 276687"/>
                    <a:gd name="connsiteY4" fmla="*/ 150559 h 254423"/>
                    <a:gd name="connsiteX5" fmla="*/ 270669 w 276687"/>
                    <a:gd name="connsiteY5" fmla="*/ 149976 h 254423"/>
                    <a:gd name="connsiteX6" fmla="*/ 236482 w 276687"/>
                    <a:gd name="connsiteY6" fmla="*/ 16691 h 254423"/>
                    <a:gd name="connsiteX7" fmla="*/ 54333 w 276687"/>
                    <a:gd name="connsiteY7" fmla="*/ 29001 h 254423"/>
                    <a:gd name="connsiteX8" fmla="*/ 464 w 276687"/>
                    <a:gd name="connsiteY8" fmla="*/ 68400 h 254423"/>
                    <a:gd name="connsiteX9" fmla="*/ 33177 w 276687"/>
                    <a:gd name="connsiteY9" fmla="*/ 254424 h 254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687" h="254423">
                      <a:moveTo>
                        <a:pt x="33142" y="254389"/>
                      </a:moveTo>
                      <a:cubicBezTo>
                        <a:pt x="33142" y="254389"/>
                        <a:pt x="31736" y="194691"/>
                        <a:pt x="53270" y="190918"/>
                      </a:cubicBezTo>
                      <a:cubicBezTo>
                        <a:pt x="74805" y="187147"/>
                        <a:pt x="80257" y="210772"/>
                        <a:pt x="80257" y="210772"/>
                      </a:cubicBezTo>
                      <a:lnTo>
                        <a:pt x="102511" y="212967"/>
                      </a:lnTo>
                      <a:cubicBezTo>
                        <a:pt x="102511" y="212967"/>
                        <a:pt x="90989" y="161532"/>
                        <a:pt x="111838" y="150559"/>
                      </a:cubicBezTo>
                      <a:cubicBezTo>
                        <a:pt x="132686" y="139552"/>
                        <a:pt x="254656" y="166779"/>
                        <a:pt x="270669" y="149976"/>
                      </a:cubicBezTo>
                      <a:cubicBezTo>
                        <a:pt x="286682" y="133174"/>
                        <a:pt x="269194" y="28350"/>
                        <a:pt x="236482" y="16691"/>
                      </a:cubicBezTo>
                      <a:cubicBezTo>
                        <a:pt x="203769" y="5032"/>
                        <a:pt x="114101" y="-19656"/>
                        <a:pt x="54333" y="29001"/>
                      </a:cubicBezTo>
                      <a:cubicBezTo>
                        <a:pt x="54333" y="29001"/>
                        <a:pt x="4270" y="27732"/>
                        <a:pt x="464" y="68400"/>
                      </a:cubicBezTo>
                      <a:cubicBezTo>
                        <a:pt x="-3342" y="109068"/>
                        <a:pt x="17060" y="225860"/>
                        <a:pt x="33177" y="254424"/>
                      </a:cubicBezTo>
                      <a:close/>
                    </a:path>
                  </a:pathLst>
                </a:custGeom>
                <a:solidFill>
                  <a:srgbClr val="3A3F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30" name="Freeform: Shape 129">
                  <a:extLst>
                    <a:ext uri="{FF2B5EF4-FFF2-40B4-BE49-F238E27FC236}">
                      <a16:creationId xmlns:a16="http://schemas.microsoft.com/office/drawing/2014/main" id="{1F433905-2D02-E34E-DB4D-E4C34DFEAB08}"/>
                    </a:ext>
                  </a:extLst>
                </p:cNvPr>
                <p:cNvSpPr/>
                <p:nvPr/>
              </p:nvSpPr>
              <p:spPr>
                <a:xfrm>
                  <a:off x="4104170" y="3916706"/>
                  <a:ext cx="125158" cy="89154"/>
                </a:xfrm>
                <a:custGeom>
                  <a:avLst/>
                  <a:gdLst>
                    <a:gd name="connsiteX0" fmla="*/ 125159 w 125158"/>
                    <a:gd name="connsiteY0" fmla="*/ 89154 h 89154"/>
                    <a:gd name="connsiteX1" fmla="*/ 0 w 125158"/>
                    <a:gd name="connsiteY1" fmla="*/ 0 h 89154"/>
                    <a:gd name="connsiteX2" fmla="*/ 120907 w 125158"/>
                    <a:gd name="connsiteY2" fmla="*/ 59082 h 89154"/>
                    <a:gd name="connsiteX3" fmla="*/ 125159 w 125158"/>
                    <a:gd name="connsiteY3" fmla="*/ 89120 h 89154"/>
                  </a:gdLst>
                  <a:ahLst/>
                  <a:cxnLst>
                    <a:cxn ang="0">
                      <a:pos x="connsiteX0" y="connsiteY0"/>
                    </a:cxn>
                    <a:cxn ang="0">
                      <a:pos x="connsiteX1" y="connsiteY1"/>
                    </a:cxn>
                    <a:cxn ang="0">
                      <a:pos x="connsiteX2" y="connsiteY2"/>
                    </a:cxn>
                    <a:cxn ang="0">
                      <a:pos x="connsiteX3" y="connsiteY3"/>
                    </a:cxn>
                  </a:cxnLst>
                  <a:rect l="l" t="t" r="r" b="b"/>
                  <a:pathLst>
                    <a:path w="125158" h="89154">
                      <a:moveTo>
                        <a:pt x="125159" y="89154"/>
                      </a:moveTo>
                      <a:cubicBezTo>
                        <a:pt x="14093" y="65391"/>
                        <a:pt x="206" y="995"/>
                        <a:pt x="0" y="0"/>
                      </a:cubicBezTo>
                      <a:cubicBezTo>
                        <a:pt x="41011" y="58019"/>
                        <a:pt x="120907" y="59082"/>
                        <a:pt x="120907" y="59082"/>
                      </a:cubicBezTo>
                      <a:cubicBezTo>
                        <a:pt x="121421" y="67654"/>
                        <a:pt x="122792" y="78284"/>
                        <a:pt x="125159" y="89120"/>
                      </a:cubicBezTo>
                      <a:close/>
                    </a:path>
                  </a:pathLst>
                </a:custGeom>
                <a:solidFill>
                  <a:srgbClr val="A7786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31" name="Freeform: Shape 130">
                  <a:extLst>
                    <a:ext uri="{FF2B5EF4-FFF2-40B4-BE49-F238E27FC236}">
                      <a16:creationId xmlns:a16="http://schemas.microsoft.com/office/drawing/2014/main" id="{3766F99A-FF21-E92A-D617-0DA23A504EFC}"/>
                    </a:ext>
                  </a:extLst>
                </p:cNvPr>
                <p:cNvSpPr/>
                <p:nvPr/>
              </p:nvSpPr>
              <p:spPr>
                <a:xfrm>
                  <a:off x="4918454" y="4348664"/>
                  <a:ext cx="51126" cy="37030"/>
                </a:xfrm>
                <a:custGeom>
                  <a:avLst/>
                  <a:gdLst>
                    <a:gd name="connsiteX0" fmla="*/ 0 w 51126"/>
                    <a:gd name="connsiteY0" fmla="*/ 474 h 37030"/>
                    <a:gd name="connsiteX1" fmla="*/ 3121 w 51126"/>
                    <a:gd name="connsiteY1" fmla="*/ 31266 h 37030"/>
                    <a:gd name="connsiteX2" fmla="*/ 51127 w 51126"/>
                    <a:gd name="connsiteY2" fmla="*/ 36855 h 37030"/>
                    <a:gd name="connsiteX3" fmla="*/ 0 w 51126"/>
                    <a:gd name="connsiteY3" fmla="*/ 474 h 37030"/>
                  </a:gdLst>
                  <a:ahLst/>
                  <a:cxnLst>
                    <a:cxn ang="0">
                      <a:pos x="connsiteX0" y="connsiteY0"/>
                    </a:cxn>
                    <a:cxn ang="0">
                      <a:pos x="connsiteX1" y="connsiteY1"/>
                    </a:cxn>
                    <a:cxn ang="0">
                      <a:pos x="connsiteX2" y="connsiteY2"/>
                    </a:cxn>
                    <a:cxn ang="0">
                      <a:pos x="connsiteX3" y="connsiteY3"/>
                    </a:cxn>
                  </a:cxnLst>
                  <a:rect l="l" t="t" r="r" b="b"/>
                  <a:pathLst>
                    <a:path w="51126" h="37030">
                      <a:moveTo>
                        <a:pt x="0" y="474"/>
                      </a:moveTo>
                      <a:cubicBezTo>
                        <a:pt x="0" y="474"/>
                        <a:pt x="5041" y="23962"/>
                        <a:pt x="3121" y="31266"/>
                      </a:cubicBezTo>
                      <a:cubicBezTo>
                        <a:pt x="1200" y="38570"/>
                        <a:pt x="51127" y="36855"/>
                        <a:pt x="51127" y="36855"/>
                      </a:cubicBezTo>
                      <a:cubicBezTo>
                        <a:pt x="51127" y="36855"/>
                        <a:pt x="28701" y="-4875"/>
                        <a:pt x="0" y="474"/>
                      </a:cubicBezTo>
                      <a:close/>
                    </a:path>
                  </a:pathLst>
                </a:custGeom>
                <a:solidFill>
                  <a:srgbClr val="CF8C6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32" name="Freeform: Shape 131">
                  <a:extLst>
                    <a:ext uri="{FF2B5EF4-FFF2-40B4-BE49-F238E27FC236}">
                      <a16:creationId xmlns:a16="http://schemas.microsoft.com/office/drawing/2014/main" id="{CF563E96-D2E6-8449-6144-A6FB9C695EA8}"/>
                    </a:ext>
                  </a:extLst>
                </p:cNvPr>
                <p:cNvSpPr/>
                <p:nvPr/>
              </p:nvSpPr>
              <p:spPr>
                <a:xfrm>
                  <a:off x="4914097" y="4270476"/>
                  <a:ext cx="97885" cy="115169"/>
                </a:xfrm>
                <a:custGeom>
                  <a:avLst/>
                  <a:gdLst>
                    <a:gd name="connsiteX0" fmla="*/ 40945 w 97885"/>
                    <a:gd name="connsiteY0" fmla="*/ 3635 h 115169"/>
                    <a:gd name="connsiteX1" fmla="*/ 414 w 97885"/>
                    <a:gd name="connsiteY1" fmla="*/ 49892 h 115169"/>
                    <a:gd name="connsiteX2" fmla="*/ 12484 w 97885"/>
                    <a:gd name="connsiteY2" fmla="*/ 57847 h 115169"/>
                    <a:gd name="connsiteX3" fmla="*/ 757 w 97885"/>
                    <a:gd name="connsiteY3" fmla="*/ 82090 h 115169"/>
                    <a:gd name="connsiteX4" fmla="*/ 23937 w 97885"/>
                    <a:gd name="connsiteY4" fmla="*/ 95120 h 115169"/>
                    <a:gd name="connsiteX5" fmla="*/ 43448 w 97885"/>
                    <a:gd name="connsiteY5" fmla="*/ 104687 h 115169"/>
                    <a:gd name="connsiteX6" fmla="*/ 58775 w 97885"/>
                    <a:gd name="connsiteY6" fmla="*/ 114769 h 115169"/>
                    <a:gd name="connsiteX7" fmla="*/ 97386 w 97885"/>
                    <a:gd name="connsiteY7" fmla="*/ 86205 h 115169"/>
                    <a:gd name="connsiteX8" fmla="*/ 89020 w 97885"/>
                    <a:gd name="connsiteY8" fmla="*/ 68786 h 115169"/>
                    <a:gd name="connsiteX9" fmla="*/ 80001 w 97885"/>
                    <a:gd name="connsiteY9" fmla="*/ 47320 h 115169"/>
                    <a:gd name="connsiteX10" fmla="*/ 66353 w 97885"/>
                    <a:gd name="connsiteY10" fmla="*/ 23077 h 115169"/>
                    <a:gd name="connsiteX11" fmla="*/ 45917 w 97885"/>
                    <a:gd name="connsiteY11" fmla="*/ 0 h 115169"/>
                    <a:gd name="connsiteX12" fmla="*/ 40945 w 97885"/>
                    <a:gd name="connsiteY12" fmla="*/ 3635 h 1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7885" h="115169">
                      <a:moveTo>
                        <a:pt x="40945" y="3635"/>
                      </a:moveTo>
                      <a:cubicBezTo>
                        <a:pt x="40945" y="3635"/>
                        <a:pt x="-4798" y="41765"/>
                        <a:pt x="414" y="49892"/>
                      </a:cubicBezTo>
                      <a:cubicBezTo>
                        <a:pt x="5626" y="58018"/>
                        <a:pt x="12484" y="57847"/>
                        <a:pt x="12484" y="57847"/>
                      </a:cubicBezTo>
                      <a:lnTo>
                        <a:pt x="757" y="82090"/>
                      </a:lnTo>
                      <a:cubicBezTo>
                        <a:pt x="757" y="82090"/>
                        <a:pt x="2060" y="102527"/>
                        <a:pt x="23937" y="95120"/>
                      </a:cubicBezTo>
                      <a:cubicBezTo>
                        <a:pt x="23937" y="95120"/>
                        <a:pt x="23182" y="114323"/>
                        <a:pt x="43448" y="104687"/>
                      </a:cubicBezTo>
                      <a:cubicBezTo>
                        <a:pt x="43448" y="104687"/>
                        <a:pt x="48591" y="117580"/>
                        <a:pt x="58775" y="114769"/>
                      </a:cubicBezTo>
                      <a:cubicBezTo>
                        <a:pt x="68960" y="111957"/>
                        <a:pt x="97386" y="86205"/>
                        <a:pt x="97386" y="86205"/>
                      </a:cubicBezTo>
                      <a:cubicBezTo>
                        <a:pt x="97386" y="86205"/>
                        <a:pt x="100952" y="78078"/>
                        <a:pt x="89020" y="68786"/>
                      </a:cubicBezTo>
                      <a:cubicBezTo>
                        <a:pt x="89020" y="68786"/>
                        <a:pt x="92243" y="54830"/>
                        <a:pt x="80001" y="47320"/>
                      </a:cubicBezTo>
                      <a:cubicBezTo>
                        <a:pt x="80001" y="47320"/>
                        <a:pt x="79658" y="31032"/>
                        <a:pt x="66353" y="23077"/>
                      </a:cubicBezTo>
                      <a:cubicBezTo>
                        <a:pt x="66353" y="23077"/>
                        <a:pt x="63130" y="3806"/>
                        <a:pt x="45917" y="0"/>
                      </a:cubicBezTo>
                      <a:cubicBezTo>
                        <a:pt x="45917" y="0"/>
                        <a:pt x="42865" y="2023"/>
                        <a:pt x="40945" y="3635"/>
                      </a:cubicBezTo>
                      <a:close/>
                    </a:path>
                  </a:pathLst>
                </a:custGeom>
                <a:solidFill>
                  <a:srgbClr val="DB9C7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33" name="Freeform: Shape 132">
                  <a:extLst>
                    <a:ext uri="{FF2B5EF4-FFF2-40B4-BE49-F238E27FC236}">
                      <a16:creationId xmlns:a16="http://schemas.microsoft.com/office/drawing/2014/main" id="{036C03A6-61BD-C74C-B349-866C9B59C7B1}"/>
                    </a:ext>
                  </a:extLst>
                </p:cNvPr>
                <p:cNvSpPr/>
                <p:nvPr/>
              </p:nvSpPr>
              <p:spPr>
                <a:xfrm>
                  <a:off x="4872461" y="4324015"/>
                  <a:ext cx="75799" cy="47205"/>
                </a:xfrm>
                <a:custGeom>
                  <a:avLst/>
                  <a:gdLst>
                    <a:gd name="connsiteX0" fmla="*/ 354 w 75799"/>
                    <a:gd name="connsiteY0" fmla="*/ 5646 h 47205"/>
                    <a:gd name="connsiteX1" fmla="*/ 64167 w 75799"/>
                    <a:gd name="connsiteY1" fmla="*/ 1360 h 47205"/>
                    <a:gd name="connsiteX2" fmla="*/ 75689 w 75799"/>
                    <a:gd name="connsiteY2" fmla="*/ 9829 h 47205"/>
                    <a:gd name="connsiteX3" fmla="*/ 53160 w 75799"/>
                    <a:gd name="connsiteY3" fmla="*/ 28449 h 47205"/>
                    <a:gd name="connsiteX4" fmla="*/ 16196 w 75799"/>
                    <a:gd name="connsiteY4" fmla="*/ 47205 h 47205"/>
                    <a:gd name="connsiteX5" fmla="*/ 354 w 75799"/>
                    <a:gd name="connsiteY5" fmla="*/ 5680 h 47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99" h="47205">
                      <a:moveTo>
                        <a:pt x="354" y="5646"/>
                      </a:moveTo>
                      <a:cubicBezTo>
                        <a:pt x="354" y="5646"/>
                        <a:pt x="40232" y="-3338"/>
                        <a:pt x="64167" y="1360"/>
                      </a:cubicBezTo>
                      <a:cubicBezTo>
                        <a:pt x="69585" y="2422"/>
                        <a:pt x="74625" y="4411"/>
                        <a:pt x="75689" y="9829"/>
                      </a:cubicBezTo>
                      <a:cubicBezTo>
                        <a:pt x="76751" y="15247"/>
                        <a:pt x="70236" y="23682"/>
                        <a:pt x="53160" y="28449"/>
                      </a:cubicBezTo>
                      <a:cubicBezTo>
                        <a:pt x="36083" y="33215"/>
                        <a:pt x="16196" y="47205"/>
                        <a:pt x="16196" y="47205"/>
                      </a:cubicBezTo>
                      <a:cubicBezTo>
                        <a:pt x="16196" y="47205"/>
                        <a:pt x="-2801" y="46965"/>
                        <a:pt x="354" y="5680"/>
                      </a:cubicBezTo>
                      <a:close/>
                    </a:path>
                  </a:pathLst>
                </a:custGeom>
                <a:solidFill>
                  <a:srgbClr val="EEA8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34" name="Freeform: Shape 133">
                  <a:extLst>
                    <a:ext uri="{FF2B5EF4-FFF2-40B4-BE49-F238E27FC236}">
                      <a16:creationId xmlns:a16="http://schemas.microsoft.com/office/drawing/2014/main" id="{D5B4042B-8E6C-78B4-121E-6F8A0A418AB5}"/>
                    </a:ext>
                  </a:extLst>
                </p:cNvPr>
                <p:cNvSpPr/>
                <p:nvPr/>
              </p:nvSpPr>
              <p:spPr>
                <a:xfrm>
                  <a:off x="4423548" y="6302776"/>
                  <a:ext cx="272467" cy="151164"/>
                </a:xfrm>
                <a:custGeom>
                  <a:avLst/>
                  <a:gdLst>
                    <a:gd name="connsiteX0" fmla="*/ 108698 w 272467"/>
                    <a:gd name="connsiteY0" fmla="*/ 8606 h 151164"/>
                    <a:gd name="connsiteX1" fmla="*/ 196755 w 272467"/>
                    <a:gd name="connsiteY1" fmla="*/ 67620 h 151164"/>
                    <a:gd name="connsiteX2" fmla="*/ 272467 w 272467"/>
                    <a:gd name="connsiteY2" fmla="*/ 118883 h 151164"/>
                    <a:gd name="connsiteX3" fmla="*/ 94056 w 272467"/>
                    <a:gd name="connsiteY3" fmla="*/ 137091 h 151164"/>
                    <a:gd name="connsiteX4" fmla="*/ 2193 w 272467"/>
                    <a:gd name="connsiteY4" fmla="*/ 86616 h 151164"/>
                    <a:gd name="connsiteX5" fmla="*/ 11725 w 272467"/>
                    <a:gd name="connsiteY5" fmla="*/ 2571 h 151164"/>
                    <a:gd name="connsiteX6" fmla="*/ 108698 w 272467"/>
                    <a:gd name="connsiteY6" fmla="*/ 8606 h 15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467" h="151164">
                      <a:moveTo>
                        <a:pt x="108698" y="8606"/>
                      </a:moveTo>
                      <a:cubicBezTo>
                        <a:pt x="108698" y="8606"/>
                        <a:pt x="152383" y="57367"/>
                        <a:pt x="196755" y="67620"/>
                      </a:cubicBezTo>
                      <a:cubicBezTo>
                        <a:pt x="241126" y="77838"/>
                        <a:pt x="272124" y="90868"/>
                        <a:pt x="272467" y="118883"/>
                      </a:cubicBezTo>
                      <a:cubicBezTo>
                        <a:pt x="272810" y="146864"/>
                        <a:pt x="144805" y="165312"/>
                        <a:pt x="94056" y="137091"/>
                      </a:cubicBezTo>
                      <a:cubicBezTo>
                        <a:pt x="18309" y="94983"/>
                        <a:pt x="10594" y="107670"/>
                        <a:pt x="2193" y="86616"/>
                      </a:cubicBezTo>
                      <a:cubicBezTo>
                        <a:pt x="-6208" y="65562"/>
                        <a:pt x="12274" y="9258"/>
                        <a:pt x="11725" y="2571"/>
                      </a:cubicBezTo>
                      <a:cubicBezTo>
                        <a:pt x="11040" y="-5692"/>
                        <a:pt x="108698" y="8606"/>
                        <a:pt x="108698" y="8606"/>
                      </a:cubicBezTo>
                      <a:close/>
                    </a:path>
                  </a:pathLst>
                </a:custGeom>
                <a:solidFill>
                  <a:srgbClr val="353A3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35" name="Freeform: Shape 134">
                  <a:extLst>
                    <a:ext uri="{FF2B5EF4-FFF2-40B4-BE49-F238E27FC236}">
                      <a16:creationId xmlns:a16="http://schemas.microsoft.com/office/drawing/2014/main" id="{C828248B-E435-8092-CADD-5BD897F7B8FF}"/>
                    </a:ext>
                  </a:extLst>
                </p:cNvPr>
                <p:cNvSpPr/>
                <p:nvPr/>
              </p:nvSpPr>
              <p:spPr>
                <a:xfrm>
                  <a:off x="4435208" y="6274315"/>
                  <a:ext cx="97125" cy="41246"/>
                </a:xfrm>
                <a:custGeom>
                  <a:avLst/>
                  <a:gdLst>
                    <a:gd name="connsiteX0" fmla="*/ 92135 w 97125"/>
                    <a:gd name="connsiteY0" fmla="*/ 13716 h 41246"/>
                    <a:gd name="connsiteX1" fmla="*/ 97038 w 97125"/>
                    <a:gd name="connsiteY1" fmla="*/ 37067 h 41246"/>
                    <a:gd name="connsiteX2" fmla="*/ 66 w 97125"/>
                    <a:gd name="connsiteY2" fmla="*/ 31032 h 41246"/>
                    <a:gd name="connsiteX3" fmla="*/ 5964 w 97125"/>
                    <a:gd name="connsiteY3" fmla="*/ 0 h 41246"/>
                    <a:gd name="connsiteX4" fmla="*/ 92101 w 97125"/>
                    <a:gd name="connsiteY4" fmla="*/ 13750 h 41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25" h="41246">
                      <a:moveTo>
                        <a:pt x="92135" y="13716"/>
                      </a:moveTo>
                      <a:cubicBezTo>
                        <a:pt x="92135" y="13716"/>
                        <a:pt x="97895" y="36587"/>
                        <a:pt x="97038" y="37067"/>
                      </a:cubicBezTo>
                      <a:cubicBezTo>
                        <a:pt x="96181" y="37547"/>
                        <a:pt x="-2917" y="49343"/>
                        <a:pt x="66" y="31032"/>
                      </a:cubicBezTo>
                      <a:cubicBezTo>
                        <a:pt x="2501" y="16150"/>
                        <a:pt x="5964" y="0"/>
                        <a:pt x="5964" y="0"/>
                      </a:cubicBezTo>
                      <a:lnTo>
                        <a:pt x="92101" y="13750"/>
                      </a:lnTo>
                      <a:close/>
                    </a:path>
                  </a:pathLst>
                </a:custGeom>
                <a:solidFill>
                  <a:srgbClr val="81807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36" name="Freeform: Shape 135">
                  <a:extLst>
                    <a:ext uri="{FF2B5EF4-FFF2-40B4-BE49-F238E27FC236}">
                      <a16:creationId xmlns:a16="http://schemas.microsoft.com/office/drawing/2014/main" id="{F70DBD20-07A8-199D-9CC4-1FBFA4AAA297}"/>
                    </a:ext>
                  </a:extLst>
                </p:cNvPr>
                <p:cNvSpPr/>
                <p:nvPr/>
              </p:nvSpPr>
              <p:spPr>
                <a:xfrm>
                  <a:off x="3984510" y="6320645"/>
                  <a:ext cx="249067" cy="158959"/>
                </a:xfrm>
                <a:custGeom>
                  <a:avLst/>
                  <a:gdLst>
                    <a:gd name="connsiteX0" fmla="*/ 101966 w 249067"/>
                    <a:gd name="connsiteY0" fmla="*/ 3425 h 158959"/>
                    <a:gd name="connsiteX1" fmla="*/ 177096 w 249067"/>
                    <a:gd name="connsiteY1" fmla="*/ 61889 h 158959"/>
                    <a:gd name="connsiteX2" fmla="*/ 249036 w 249067"/>
                    <a:gd name="connsiteY2" fmla="*/ 120456 h 158959"/>
                    <a:gd name="connsiteX3" fmla="*/ 77414 w 249067"/>
                    <a:gd name="connsiteY3" fmla="*/ 135510 h 158959"/>
                    <a:gd name="connsiteX4" fmla="*/ 3245 w 249067"/>
                    <a:gd name="connsiteY4" fmla="*/ 85926 h 158959"/>
                    <a:gd name="connsiteX5" fmla="*/ 7257 w 249067"/>
                    <a:gd name="connsiteY5" fmla="*/ 3596 h 158959"/>
                    <a:gd name="connsiteX6" fmla="*/ 101932 w 249067"/>
                    <a:gd name="connsiteY6" fmla="*/ 3425 h 158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067" h="158959">
                      <a:moveTo>
                        <a:pt x="101966" y="3425"/>
                      </a:moveTo>
                      <a:cubicBezTo>
                        <a:pt x="101966" y="3425"/>
                        <a:pt x="134096" y="50950"/>
                        <a:pt x="177096" y="61889"/>
                      </a:cubicBezTo>
                      <a:cubicBezTo>
                        <a:pt x="219478" y="72690"/>
                        <a:pt x="246944" y="93264"/>
                        <a:pt x="249036" y="120456"/>
                      </a:cubicBezTo>
                      <a:cubicBezTo>
                        <a:pt x="251128" y="147648"/>
                        <a:pt x="149081" y="183275"/>
                        <a:pt x="77414" y="135510"/>
                      </a:cubicBezTo>
                      <a:cubicBezTo>
                        <a:pt x="30300" y="104100"/>
                        <a:pt x="12743" y="105883"/>
                        <a:pt x="3245" y="85926"/>
                      </a:cubicBezTo>
                      <a:cubicBezTo>
                        <a:pt x="-6253" y="65970"/>
                        <a:pt x="8217" y="10077"/>
                        <a:pt x="7257" y="3596"/>
                      </a:cubicBezTo>
                      <a:cubicBezTo>
                        <a:pt x="6091" y="-4394"/>
                        <a:pt x="101932" y="3425"/>
                        <a:pt x="101932" y="3425"/>
                      </a:cubicBezTo>
                      <a:close/>
                    </a:path>
                  </a:pathLst>
                </a:custGeom>
                <a:solidFill>
                  <a:srgbClr val="353A3D"/>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37" name="Freeform: Shape 136">
                  <a:extLst>
                    <a:ext uri="{FF2B5EF4-FFF2-40B4-BE49-F238E27FC236}">
                      <a16:creationId xmlns:a16="http://schemas.microsoft.com/office/drawing/2014/main" id="{A8562988-C520-09DA-781C-620086D6224B}"/>
                    </a:ext>
                  </a:extLst>
                </p:cNvPr>
                <p:cNvSpPr/>
                <p:nvPr/>
              </p:nvSpPr>
              <p:spPr>
                <a:xfrm>
                  <a:off x="3991799" y="6291975"/>
                  <a:ext cx="94866" cy="40383"/>
                </a:xfrm>
                <a:custGeom>
                  <a:avLst/>
                  <a:gdLst>
                    <a:gd name="connsiteX0" fmla="*/ 93374 w 94866"/>
                    <a:gd name="connsiteY0" fmla="*/ 8606 h 40383"/>
                    <a:gd name="connsiteX1" fmla="*/ 94677 w 94866"/>
                    <a:gd name="connsiteY1" fmla="*/ 32095 h 40383"/>
                    <a:gd name="connsiteX2" fmla="*/ 3 w 94866"/>
                    <a:gd name="connsiteY2" fmla="*/ 32267 h 40383"/>
                    <a:gd name="connsiteX3" fmla="*/ 6003 w 94866"/>
                    <a:gd name="connsiteY3" fmla="*/ 0 h 40383"/>
                    <a:gd name="connsiteX4" fmla="*/ 93409 w 94866"/>
                    <a:gd name="connsiteY4" fmla="*/ 8573 h 40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866" h="40383">
                      <a:moveTo>
                        <a:pt x="93374" y="8606"/>
                      </a:moveTo>
                      <a:cubicBezTo>
                        <a:pt x="93374" y="8606"/>
                        <a:pt x="95500" y="31581"/>
                        <a:pt x="94677" y="32095"/>
                      </a:cubicBezTo>
                      <a:cubicBezTo>
                        <a:pt x="93889" y="32609"/>
                        <a:pt x="-580" y="50372"/>
                        <a:pt x="3" y="32267"/>
                      </a:cubicBezTo>
                      <a:cubicBezTo>
                        <a:pt x="448" y="17899"/>
                        <a:pt x="6003" y="0"/>
                        <a:pt x="6003" y="0"/>
                      </a:cubicBezTo>
                      <a:lnTo>
                        <a:pt x="93409" y="8573"/>
                      </a:lnTo>
                      <a:close/>
                    </a:path>
                  </a:pathLst>
                </a:custGeom>
                <a:solidFill>
                  <a:srgbClr val="81807E"/>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38" name="Freeform: Shape 137">
                  <a:extLst>
                    <a:ext uri="{FF2B5EF4-FFF2-40B4-BE49-F238E27FC236}">
                      <a16:creationId xmlns:a16="http://schemas.microsoft.com/office/drawing/2014/main" id="{C7DBE60D-499C-3235-E72D-749C89DF94D1}"/>
                    </a:ext>
                  </a:extLst>
                </p:cNvPr>
                <p:cNvSpPr/>
                <p:nvPr/>
              </p:nvSpPr>
              <p:spPr>
                <a:xfrm>
                  <a:off x="3953550" y="4814855"/>
                  <a:ext cx="588637" cy="1504047"/>
                </a:xfrm>
                <a:custGeom>
                  <a:avLst/>
                  <a:gdLst>
                    <a:gd name="connsiteX0" fmla="*/ 483678 w 588637"/>
                    <a:gd name="connsiteY0" fmla="*/ 105142 h 1504047"/>
                    <a:gd name="connsiteX1" fmla="*/ 546875 w 588637"/>
                    <a:gd name="connsiteY1" fmla="*/ 546763 h 1504047"/>
                    <a:gd name="connsiteX2" fmla="*/ 578765 w 588637"/>
                    <a:gd name="connsiteY2" fmla="*/ 836582 h 1504047"/>
                    <a:gd name="connsiteX3" fmla="*/ 588468 w 588637"/>
                    <a:gd name="connsiteY3" fmla="*/ 1469782 h 1504047"/>
                    <a:gd name="connsiteX4" fmla="*/ 469105 w 588637"/>
                    <a:gd name="connsiteY4" fmla="*/ 1477154 h 1504047"/>
                    <a:gd name="connsiteX5" fmla="*/ 384820 w 588637"/>
                    <a:gd name="connsiteY5" fmla="*/ 793857 h 1504047"/>
                    <a:gd name="connsiteX6" fmla="*/ 264942 w 588637"/>
                    <a:gd name="connsiteY6" fmla="*/ 338760 h 1504047"/>
                    <a:gd name="connsiteX7" fmla="*/ 206958 w 588637"/>
                    <a:gd name="connsiteY7" fmla="*/ 864460 h 1504047"/>
                    <a:gd name="connsiteX8" fmla="*/ 148322 w 588637"/>
                    <a:gd name="connsiteY8" fmla="*/ 1499374 h 1504047"/>
                    <a:gd name="connsiteX9" fmla="*/ 23026 w 588637"/>
                    <a:gd name="connsiteY9" fmla="*/ 1491624 h 1504047"/>
                    <a:gd name="connsiteX10" fmla="*/ 20180 w 588637"/>
                    <a:gd name="connsiteY10" fmla="*/ 876667 h 1504047"/>
                    <a:gd name="connsiteX11" fmla="*/ 41509 w 588637"/>
                    <a:gd name="connsiteY11" fmla="*/ 40128 h 1504047"/>
                    <a:gd name="connsiteX12" fmla="*/ 483644 w 588637"/>
                    <a:gd name="connsiteY12" fmla="*/ 105142 h 150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8637" h="1504047">
                      <a:moveTo>
                        <a:pt x="483678" y="105142"/>
                      </a:moveTo>
                      <a:cubicBezTo>
                        <a:pt x="483678" y="105142"/>
                        <a:pt x="528118" y="426954"/>
                        <a:pt x="546875" y="546763"/>
                      </a:cubicBezTo>
                      <a:cubicBezTo>
                        <a:pt x="568786" y="686838"/>
                        <a:pt x="572661" y="764059"/>
                        <a:pt x="578765" y="836582"/>
                      </a:cubicBezTo>
                      <a:cubicBezTo>
                        <a:pt x="586445" y="927794"/>
                        <a:pt x="583085" y="1443104"/>
                        <a:pt x="588468" y="1469782"/>
                      </a:cubicBezTo>
                      <a:cubicBezTo>
                        <a:pt x="593852" y="1496459"/>
                        <a:pt x="469105" y="1477154"/>
                        <a:pt x="469105" y="1477154"/>
                      </a:cubicBezTo>
                      <a:cubicBezTo>
                        <a:pt x="469105" y="1477154"/>
                        <a:pt x="407726" y="891001"/>
                        <a:pt x="384820" y="793857"/>
                      </a:cubicBezTo>
                      <a:cubicBezTo>
                        <a:pt x="363492" y="703434"/>
                        <a:pt x="284385" y="314071"/>
                        <a:pt x="264942" y="338760"/>
                      </a:cubicBezTo>
                      <a:cubicBezTo>
                        <a:pt x="245500" y="363449"/>
                        <a:pt x="221360" y="793137"/>
                        <a:pt x="206958" y="864460"/>
                      </a:cubicBezTo>
                      <a:cubicBezTo>
                        <a:pt x="192556" y="935783"/>
                        <a:pt x="148322" y="1499374"/>
                        <a:pt x="148322" y="1499374"/>
                      </a:cubicBezTo>
                      <a:cubicBezTo>
                        <a:pt x="148322" y="1499374"/>
                        <a:pt x="49430" y="1513947"/>
                        <a:pt x="23026" y="1491624"/>
                      </a:cubicBezTo>
                      <a:cubicBezTo>
                        <a:pt x="23026" y="1491624"/>
                        <a:pt x="10991" y="1010398"/>
                        <a:pt x="20180" y="876667"/>
                      </a:cubicBezTo>
                      <a:cubicBezTo>
                        <a:pt x="23678" y="825712"/>
                        <a:pt x="-39519" y="265619"/>
                        <a:pt x="41509" y="40128"/>
                      </a:cubicBezTo>
                      <a:cubicBezTo>
                        <a:pt x="84337" y="-79029"/>
                        <a:pt x="483644" y="105142"/>
                        <a:pt x="483644" y="105142"/>
                      </a:cubicBezTo>
                      <a:close/>
                    </a:path>
                  </a:pathLst>
                </a:custGeom>
                <a:solidFill>
                  <a:srgbClr val="2D31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39" name="Freeform: Shape 138">
                  <a:extLst>
                    <a:ext uri="{FF2B5EF4-FFF2-40B4-BE49-F238E27FC236}">
                      <a16:creationId xmlns:a16="http://schemas.microsoft.com/office/drawing/2014/main" id="{D8956847-2032-CC5B-2F4D-B52DAF206675}"/>
                    </a:ext>
                  </a:extLst>
                </p:cNvPr>
                <p:cNvSpPr/>
                <p:nvPr/>
              </p:nvSpPr>
              <p:spPr>
                <a:xfrm>
                  <a:off x="3995008" y="4799729"/>
                  <a:ext cx="442254" cy="120267"/>
                </a:xfrm>
                <a:custGeom>
                  <a:avLst/>
                  <a:gdLst>
                    <a:gd name="connsiteX0" fmla="*/ 429704 w 442254"/>
                    <a:gd name="connsiteY0" fmla="*/ 59369 h 120267"/>
                    <a:gd name="connsiteX1" fmla="*/ 442255 w 442254"/>
                    <a:gd name="connsiteY1" fmla="*/ 120268 h 120267"/>
                    <a:gd name="connsiteX2" fmla="*/ 119 w 442254"/>
                    <a:gd name="connsiteY2" fmla="*/ 55254 h 120267"/>
                    <a:gd name="connsiteX3" fmla="*/ 7423 w 442254"/>
                    <a:gd name="connsiteY3" fmla="*/ 13 h 120267"/>
                    <a:gd name="connsiteX4" fmla="*/ 429704 w 442254"/>
                    <a:gd name="connsiteY4" fmla="*/ 59369 h 120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254" h="120267">
                      <a:moveTo>
                        <a:pt x="429704" y="59369"/>
                      </a:moveTo>
                      <a:cubicBezTo>
                        <a:pt x="429704" y="59369"/>
                        <a:pt x="439442" y="70993"/>
                        <a:pt x="442255" y="120268"/>
                      </a:cubicBezTo>
                      <a:cubicBezTo>
                        <a:pt x="442255" y="120268"/>
                        <a:pt x="42365" y="73634"/>
                        <a:pt x="119" y="55254"/>
                      </a:cubicBezTo>
                      <a:cubicBezTo>
                        <a:pt x="119" y="55254"/>
                        <a:pt x="-1527" y="973"/>
                        <a:pt x="7423" y="13"/>
                      </a:cubicBezTo>
                      <a:cubicBezTo>
                        <a:pt x="17264" y="-1016"/>
                        <a:pt x="429704" y="59369"/>
                        <a:pt x="429704" y="59369"/>
                      </a:cubicBezTo>
                      <a:close/>
                    </a:path>
                  </a:pathLst>
                </a:custGeom>
                <a:solidFill>
                  <a:srgbClr val="49505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40" name="Freeform: Shape 139">
                  <a:extLst>
                    <a:ext uri="{FF2B5EF4-FFF2-40B4-BE49-F238E27FC236}">
                      <a16:creationId xmlns:a16="http://schemas.microsoft.com/office/drawing/2014/main" id="{34C41DDD-6F2B-A971-661A-D838E952AA2C}"/>
                    </a:ext>
                  </a:extLst>
                </p:cNvPr>
                <p:cNvSpPr/>
                <p:nvPr/>
              </p:nvSpPr>
              <p:spPr>
                <a:xfrm>
                  <a:off x="4065799" y="4807046"/>
                  <a:ext cx="27980" cy="71700"/>
                </a:xfrm>
                <a:custGeom>
                  <a:avLst/>
                  <a:gdLst>
                    <a:gd name="connsiteX0" fmla="*/ 27981 w 27980"/>
                    <a:gd name="connsiteY0" fmla="*/ 2332 h 71700"/>
                    <a:gd name="connsiteX1" fmla="*/ 18482 w 27980"/>
                    <a:gd name="connsiteY1" fmla="*/ 71701 h 71700"/>
                    <a:gd name="connsiteX2" fmla="*/ 0 w 27980"/>
                    <a:gd name="connsiteY2" fmla="*/ 67997 h 71700"/>
                    <a:gd name="connsiteX3" fmla="*/ 8092 w 27980"/>
                    <a:gd name="connsiteY3" fmla="*/ 0 h 71700"/>
                    <a:gd name="connsiteX4" fmla="*/ 27981 w 27980"/>
                    <a:gd name="connsiteY4" fmla="*/ 2298 h 7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0" h="71700">
                      <a:moveTo>
                        <a:pt x="27981" y="2332"/>
                      </a:moveTo>
                      <a:cubicBezTo>
                        <a:pt x="27981" y="2332"/>
                        <a:pt x="19237" y="57367"/>
                        <a:pt x="18482" y="71701"/>
                      </a:cubicBezTo>
                      <a:lnTo>
                        <a:pt x="0" y="67997"/>
                      </a:lnTo>
                      <a:cubicBezTo>
                        <a:pt x="0" y="67997"/>
                        <a:pt x="5109" y="9773"/>
                        <a:pt x="8092" y="0"/>
                      </a:cubicBezTo>
                      <a:lnTo>
                        <a:pt x="27981" y="2298"/>
                      </a:lnTo>
                      <a:close/>
                    </a:path>
                  </a:pathLst>
                </a:custGeom>
                <a:solidFill>
                  <a:srgbClr val="2D31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41" name="Freeform: Shape 140">
                  <a:extLst>
                    <a:ext uri="{FF2B5EF4-FFF2-40B4-BE49-F238E27FC236}">
                      <a16:creationId xmlns:a16="http://schemas.microsoft.com/office/drawing/2014/main" id="{95541192-7D9E-B13C-688E-52B717D61CA0}"/>
                    </a:ext>
                  </a:extLst>
                </p:cNvPr>
                <p:cNvSpPr/>
                <p:nvPr/>
              </p:nvSpPr>
              <p:spPr>
                <a:xfrm>
                  <a:off x="4372694" y="4850080"/>
                  <a:ext cx="25820" cy="71528"/>
                </a:xfrm>
                <a:custGeom>
                  <a:avLst/>
                  <a:gdLst>
                    <a:gd name="connsiteX0" fmla="*/ 18654 w 25820"/>
                    <a:gd name="connsiteY0" fmla="*/ 2606 h 71528"/>
                    <a:gd name="connsiteX1" fmla="*/ 25820 w 25820"/>
                    <a:gd name="connsiteY1" fmla="*/ 71529 h 71528"/>
                    <a:gd name="connsiteX2" fmla="*/ 6241 w 25820"/>
                    <a:gd name="connsiteY2" fmla="*/ 68991 h 71528"/>
                    <a:gd name="connsiteX3" fmla="*/ 0 w 25820"/>
                    <a:gd name="connsiteY3" fmla="*/ 0 h 71528"/>
                    <a:gd name="connsiteX4" fmla="*/ 18654 w 25820"/>
                    <a:gd name="connsiteY4" fmla="*/ 2606 h 71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20" h="71528">
                      <a:moveTo>
                        <a:pt x="18654" y="2606"/>
                      </a:moveTo>
                      <a:cubicBezTo>
                        <a:pt x="18654" y="2606"/>
                        <a:pt x="25649" y="52635"/>
                        <a:pt x="25820" y="71529"/>
                      </a:cubicBezTo>
                      <a:lnTo>
                        <a:pt x="6241" y="68991"/>
                      </a:lnTo>
                      <a:cubicBezTo>
                        <a:pt x="6241" y="68991"/>
                        <a:pt x="2229" y="6515"/>
                        <a:pt x="0" y="0"/>
                      </a:cubicBezTo>
                      <a:lnTo>
                        <a:pt x="18654" y="2606"/>
                      </a:lnTo>
                      <a:close/>
                    </a:path>
                  </a:pathLst>
                </a:custGeom>
                <a:solidFill>
                  <a:srgbClr val="2D313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42" name="Freeform: Shape 141">
                  <a:extLst>
                    <a:ext uri="{FF2B5EF4-FFF2-40B4-BE49-F238E27FC236}">
                      <a16:creationId xmlns:a16="http://schemas.microsoft.com/office/drawing/2014/main" id="{42EEBAC2-907F-BD3C-15BD-2AAFBECE8476}"/>
                    </a:ext>
                  </a:extLst>
                </p:cNvPr>
                <p:cNvSpPr/>
                <p:nvPr/>
              </p:nvSpPr>
              <p:spPr>
                <a:xfrm>
                  <a:off x="3736581" y="4023348"/>
                  <a:ext cx="461575" cy="1072076"/>
                </a:xfrm>
                <a:custGeom>
                  <a:avLst/>
                  <a:gdLst>
                    <a:gd name="connsiteX0" fmla="*/ 354970 w 461575"/>
                    <a:gd name="connsiteY0" fmla="*/ 68820 h 1072076"/>
                    <a:gd name="connsiteX1" fmla="*/ 301341 w 461575"/>
                    <a:gd name="connsiteY1" fmla="*/ 275 h 1072076"/>
                    <a:gd name="connsiteX2" fmla="*/ 301066 w 461575"/>
                    <a:gd name="connsiteY2" fmla="*/ 0 h 1072076"/>
                    <a:gd name="connsiteX3" fmla="*/ 298357 w 461575"/>
                    <a:gd name="connsiteY3" fmla="*/ 1029 h 1072076"/>
                    <a:gd name="connsiteX4" fmla="*/ 294997 w 461575"/>
                    <a:gd name="connsiteY4" fmla="*/ 2298 h 1072076"/>
                    <a:gd name="connsiteX5" fmla="*/ 288756 w 461575"/>
                    <a:gd name="connsiteY5" fmla="*/ 4698 h 1072076"/>
                    <a:gd name="connsiteX6" fmla="*/ 275760 w 461575"/>
                    <a:gd name="connsiteY6" fmla="*/ 9773 h 1072076"/>
                    <a:gd name="connsiteX7" fmla="*/ 271166 w 461575"/>
                    <a:gd name="connsiteY7" fmla="*/ 11590 h 1072076"/>
                    <a:gd name="connsiteX8" fmla="*/ 112129 w 461575"/>
                    <a:gd name="connsiteY8" fmla="*/ 73004 h 1072076"/>
                    <a:gd name="connsiteX9" fmla="*/ 71701 w 461575"/>
                    <a:gd name="connsiteY9" fmla="*/ 206803 h 1072076"/>
                    <a:gd name="connsiteX10" fmla="*/ 0 w 461575"/>
                    <a:gd name="connsiteY10" fmla="*/ 548915 h 1072076"/>
                    <a:gd name="connsiteX11" fmla="*/ 0 w 461575"/>
                    <a:gd name="connsiteY11" fmla="*/ 551075 h 1072076"/>
                    <a:gd name="connsiteX12" fmla="*/ 27021 w 461575"/>
                    <a:gd name="connsiteY12" fmla="*/ 610362 h 1072076"/>
                    <a:gd name="connsiteX13" fmla="*/ 133285 w 461575"/>
                    <a:gd name="connsiteY13" fmla="*/ 801461 h 1072076"/>
                    <a:gd name="connsiteX14" fmla="*/ 112163 w 461575"/>
                    <a:gd name="connsiteY14" fmla="*/ 842163 h 1072076"/>
                    <a:gd name="connsiteX15" fmla="*/ 87611 w 461575"/>
                    <a:gd name="connsiteY15" fmla="*/ 898295 h 1072076"/>
                    <a:gd name="connsiteX16" fmla="*/ 90080 w 461575"/>
                    <a:gd name="connsiteY16" fmla="*/ 1001474 h 1072076"/>
                    <a:gd name="connsiteX17" fmla="*/ 217982 w 461575"/>
                    <a:gd name="connsiteY17" fmla="*/ 1072077 h 1072076"/>
                    <a:gd name="connsiteX18" fmla="*/ 343998 w 461575"/>
                    <a:gd name="connsiteY18" fmla="*/ 784521 h 1072076"/>
                    <a:gd name="connsiteX19" fmla="*/ 435929 w 461575"/>
                    <a:gd name="connsiteY19" fmla="*/ 577924 h 1072076"/>
                    <a:gd name="connsiteX20" fmla="*/ 439598 w 461575"/>
                    <a:gd name="connsiteY20" fmla="*/ 554127 h 1072076"/>
                    <a:gd name="connsiteX21" fmla="*/ 444913 w 461575"/>
                    <a:gd name="connsiteY21" fmla="*/ 515310 h 1072076"/>
                    <a:gd name="connsiteX22" fmla="*/ 446696 w 461575"/>
                    <a:gd name="connsiteY22" fmla="*/ 501045 h 1072076"/>
                    <a:gd name="connsiteX23" fmla="*/ 460549 w 461575"/>
                    <a:gd name="connsiteY23" fmla="*/ 362446 h 1072076"/>
                    <a:gd name="connsiteX24" fmla="*/ 355004 w 461575"/>
                    <a:gd name="connsiteY24" fmla="*/ 68820 h 1072076"/>
                    <a:gd name="connsiteX25" fmla="*/ 200802 w 461575"/>
                    <a:gd name="connsiteY25" fmla="*/ 668792 h 1072076"/>
                    <a:gd name="connsiteX26" fmla="*/ 145081 w 461575"/>
                    <a:gd name="connsiteY26" fmla="*/ 529952 h 1072076"/>
                    <a:gd name="connsiteX27" fmla="*/ 202620 w 461575"/>
                    <a:gd name="connsiteY27" fmla="*/ 348215 h 1072076"/>
                    <a:gd name="connsiteX28" fmla="*/ 202620 w 461575"/>
                    <a:gd name="connsiteY28" fmla="*/ 348352 h 1072076"/>
                    <a:gd name="connsiteX29" fmla="*/ 202620 w 461575"/>
                    <a:gd name="connsiteY29" fmla="*/ 348489 h 1072076"/>
                    <a:gd name="connsiteX30" fmla="*/ 202757 w 461575"/>
                    <a:gd name="connsiteY30" fmla="*/ 348935 h 1072076"/>
                    <a:gd name="connsiteX31" fmla="*/ 203031 w 461575"/>
                    <a:gd name="connsiteY31" fmla="*/ 349861 h 1072076"/>
                    <a:gd name="connsiteX32" fmla="*/ 203168 w 461575"/>
                    <a:gd name="connsiteY32" fmla="*/ 350444 h 1072076"/>
                    <a:gd name="connsiteX33" fmla="*/ 203306 w 461575"/>
                    <a:gd name="connsiteY33" fmla="*/ 350890 h 1072076"/>
                    <a:gd name="connsiteX34" fmla="*/ 221308 w 461575"/>
                    <a:gd name="connsiteY34" fmla="*/ 586496 h 1072076"/>
                    <a:gd name="connsiteX35" fmla="*/ 200768 w 461575"/>
                    <a:gd name="connsiteY35" fmla="*/ 668792 h 1072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61575" h="1072076">
                      <a:moveTo>
                        <a:pt x="354970" y="68820"/>
                      </a:moveTo>
                      <a:cubicBezTo>
                        <a:pt x="328121" y="30655"/>
                        <a:pt x="305661" y="5109"/>
                        <a:pt x="301341" y="275"/>
                      </a:cubicBezTo>
                      <a:cubicBezTo>
                        <a:pt x="301238" y="172"/>
                        <a:pt x="301169" y="103"/>
                        <a:pt x="301066" y="0"/>
                      </a:cubicBezTo>
                      <a:cubicBezTo>
                        <a:pt x="300175" y="343"/>
                        <a:pt x="299283" y="686"/>
                        <a:pt x="298357" y="1029"/>
                      </a:cubicBezTo>
                      <a:cubicBezTo>
                        <a:pt x="297260" y="1440"/>
                        <a:pt x="296129" y="1852"/>
                        <a:pt x="294997" y="2298"/>
                      </a:cubicBezTo>
                      <a:cubicBezTo>
                        <a:pt x="292940" y="3086"/>
                        <a:pt x="290848" y="3875"/>
                        <a:pt x="288756" y="4698"/>
                      </a:cubicBezTo>
                      <a:cubicBezTo>
                        <a:pt x="284539" y="6344"/>
                        <a:pt x="280184" y="8058"/>
                        <a:pt x="275760" y="9773"/>
                      </a:cubicBezTo>
                      <a:cubicBezTo>
                        <a:pt x="274252" y="10356"/>
                        <a:pt x="272708" y="10973"/>
                        <a:pt x="271166" y="11590"/>
                      </a:cubicBezTo>
                      <a:cubicBezTo>
                        <a:pt x="222577" y="30655"/>
                        <a:pt x="124987" y="63745"/>
                        <a:pt x="112129" y="73004"/>
                      </a:cubicBezTo>
                      <a:cubicBezTo>
                        <a:pt x="104687" y="78319"/>
                        <a:pt x="90869" y="145287"/>
                        <a:pt x="71701" y="206803"/>
                      </a:cubicBezTo>
                      <a:cubicBezTo>
                        <a:pt x="32164" y="333470"/>
                        <a:pt x="1132" y="501217"/>
                        <a:pt x="0" y="548915"/>
                      </a:cubicBezTo>
                      <a:cubicBezTo>
                        <a:pt x="0" y="549669"/>
                        <a:pt x="0" y="550389"/>
                        <a:pt x="0" y="551075"/>
                      </a:cubicBezTo>
                      <a:cubicBezTo>
                        <a:pt x="0" y="556596"/>
                        <a:pt x="10390" y="578644"/>
                        <a:pt x="27021" y="610362"/>
                      </a:cubicBezTo>
                      <a:cubicBezTo>
                        <a:pt x="52704" y="659397"/>
                        <a:pt x="93269" y="731509"/>
                        <a:pt x="133285" y="801461"/>
                      </a:cubicBezTo>
                      <a:cubicBezTo>
                        <a:pt x="125913" y="815210"/>
                        <a:pt x="118781" y="828824"/>
                        <a:pt x="112163" y="842163"/>
                      </a:cubicBezTo>
                      <a:cubicBezTo>
                        <a:pt x="102493" y="861639"/>
                        <a:pt x="93989" y="880499"/>
                        <a:pt x="87611" y="898295"/>
                      </a:cubicBezTo>
                      <a:cubicBezTo>
                        <a:pt x="78490" y="923841"/>
                        <a:pt x="65803" y="989335"/>
                        <a:pt x="90080" y="1001474"/>
                      </a:cubicBezTo>
                      <a:lnTo>
                        <a:pt x="217982" y="1072077"/>
                      </a:lnTo>
                      <a:cubicBezTo>
                        <a:pt x="231869" y="1025340"/>
                        <a:pt x="343998" y="784521"/>
                        <a:pt x="343998" y="784521"/>
                      </a:cubicBezTo>
                      <a:cubicBezTo>
                        <a:pt x="380997" y="717072"/>
                        <a:pt x="422624" y="660666"/>
                        <a:pt x="435929" y="577924"/>
                      </a:cubicBezTo>
                      <a:cubicBezTo>
                        <a:pt x="437198" y="569934"/>
                        <a:pt x="438432" y="562013"/>
                        <a:pt x="439598" y="554127"/>
                      </a:cubicBezTo>
                      <a:cubicBezTo>
                        <a:pt x="441518" y="540993"/>
                        <a:pt x="443301" y="528032"/>
                        <a:pt x="444913" y="515310"/>
                      </a:cubicBezTo>
                      <a:cubicBezTo>
                        <a:pt x="445530" y="510510"/>
                        <a:pt x="446113" y="505743"/>
                        <a:pt x="446696" y="501045"/>
                      </a:cubicBezTo>
                      <a:cubicBezTo>
                        <a:pt x="453348" y="445873"/>
                        <a:pt x="457326" y="396701"/>
                        <a:pt x="460549" y="362446"/>
                      </a:cubicBezTo>
                      <a:cubicBezTo>
                        <a:pt x="470562" y="255735"/>
                        <a:pt x="405205" y="140212"/>
                        <a:pt x="355004" y="68820"/>
                      </a:cubicBezTo>
                      <a:close/>
                      <a:moveTo>
                        <a:pt x="200802" y="668792"/>
                      </a:moveTo>
                      <a:cubicBezTo>
                        <a:pt x="200802" y="668792"/>
                        <a:pt x="148784" y="580838"/>
                        <a:pt x="145081" y="529952"/>
                      </a:cubicBezTo>
                      <a:cubicBezTo>
                        <a:pt x="138943" y="445564"/>
                        <a:pt x="202620" y="348215"/>
                        <a:pt x="202620" y="348215"/>
                      </a:cubicBezTo>
                      <a:cubicBezTo>
                        <a:pt x="202620" y="348249"/>
                        <a:pt x="202620" y="348318"/>
                        <a:pt x="202620" y="348352"/>
                      </a:cubicBezTo>
                      <a:cubicBezTo>
                        <a:pt x="202620" y="348352"/>
                        <a:pt x="202620" y="348421"/>
                        <a:pt x="202620" y="348489"/>
                      </a:cubicBezTo>
                      <a:cubicBezTo>
                        <a:pt x="202654" y="348627"/>
                        <a:pt x="202722" y="348798"/>
                        <a:pt x="202757" y="348935"/>
                      </a:cubicBezTo>
                      <a:cubicBezTo>
                        <a:pt x="202860" y="349244"/>
                        <a:pt x="202928" y="349552"/>
                        <a:pt x="203031" y="349861"/>
                      </a:cubicBezTo>
                      <a:cubicBezTo>
                        <a:pt x="203100" y="350033"/>
                        <a:pt x="203134" y="350238"/>
                        <a:pt x="203168" y="350444"/>
                      </a:cubicBezTo>
                      <a:cubicBezTo>
                        <a:pt x="203203" y="350581"/>
                        <a:pt x="203271" y="350753"/>
                        <a:pt x="203306" y="350890"/>
                      </a:cubicBezTo>
                      <a:cubicBezTo>
                        <a:pt x="216061" y="401125"/>
                        <a:pt x="221308" y="586496"/>
                        <a:pt x="221308" y="586496"/>
                      </a:cubicBezTo>
                      <a:cubicBezTo>
                        <a:pt x="223194" y="637417"/>
                        <a:pt x="200768" y="668792"/>
                        <a:pt x="200768" y="668792"/>
                      </a:cubicBezTo>
                      <a:close/>
                    </a:path>
                  </a:pathLst>
                </a:custGeom>
                <a:solidFill>
                  <a:srgbClr val="EB47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43" name="Freeform: Shape 142">
                  <a:extLst>
                    <a:ext uri="{FF2B5EF4-FFF2-40B4-BE49-F238E27FC236}">
                      <a16:creationId xmlns:a16="http://schemas.microsoft.com/office/drawing/2014/main" id="{4C89E852-4BED-D81F-F885-62D8D75F810C}"/>
                    </a:ext>
                  </a:extLst>
                </p:cNvPr>
                <p:cNvSpPr/>
                <p:nvPr/>
              </p:nvSpPr>
              <p:spPr>
                <a:xfrm>
                  <a:off x="4279563" y="4037681"/>
                  <a:ext cx="602920" cy="1109007"/>
                </a:xfrm>
                <a:custGeom>
                  <a:avLst/>
                  <a:gdLst>
                    <a:gd name="connsiteX0" fmla="*/ 602852 w 602920"/>
                    <a:gd name="connsiteY0" fmla="*/ 423756 h 1109007"/>
                    <a:gd name="connsiteX1" fmla="*/ 251791 w 602920"/>
                    <a:gd name="connsiteY1" fmla="*/ 605973 h 1109007"/>
                    <a:gd name="connsiteX2" fmla="*/ 230223 w 602920"/>
                    <a:gd name="connsiteY2" fmla="*/ 569934 h 1109007"/>
                    <a:gd name="connsiteX3" fmla="*/ 199499 w 602920"/>
                    <a:gd name="connsiteY3" fmla="*/ 494153 h 1109007"/>
                    <a:gd name="connsiteX4" fmla="*/ 176525 w 602920"/>
                    <a:gd name="connsiteY4" fmla="*/ 431848 h 1109007"/>
                    <a:gd name="connsiteX5" fmla="*/ 176079 w 602920"/>
                    <a:gd name="connsiteY5" fmla="*/ 430648 h 1109007"/>
                    <a:gd name="connsiteX6" fmla="*/ 156774 w 602920"/>
                    <a:gd name="connsiteY6" fmla="*/ 572952 h 1109007"/>
                    <a:gd name="connsiteX7" fmla="*/ 156774 w 602920"/>
                    <a:gd name="connsiteY7" fmla="*/ 573089 h 1109007"/>
                    <a:gd name="connsiteX8" fmla="*/ 242739 w 602920"/>
                    <a:gd name="connsiteY8" fmla="*/ 1041764 h 1109007"/>
                    <a:gd name="connsiteX9" fmla="*/ 229160 w 602920"/>
                    <a:gd name="connsiteY9" fmla="*/ 1072317 h 1109007"/>
                    <a:gd name="connsiteX10" fmla="*/ 212769 w 602920"/>
                    <a:gd name="connsiteY10" fmla="*/ 1087439 h 1109007"/>
                    <a:gd name="connsiteX11" fmla="*/ 189384 w 602920"/>
                    <a:gd name="connsiteY11" fmla="*/ 1109007 h 1109007"/>
                    <a:gd name="connsiteX12" fmla="*/ 137606 w 602920"/>
                    <a:gd name="connsiteY12" fmla="*/ 879950 h 1109007"/>
                    <a:gd name="connsiteX13" fmla="*/ 135925 w 602920"/>
                    <a:gd name="connsiteY13" fmla="*/ 872681 h 1109007"/>
                    <a:gd name="connsiteX14" fmla="*/ 125981 w 602920"/>
                    <a:gd name="connsiteY14" fmla="*/ 818777 h 1109007"/>
                    <a:gd name="connsiteX15" fmla="*/ 125981 w 602920"/>
                    <a:gd name="connsiteY15" fmla="*/ 818639 h 1109007"/>
                    <a:gd name="connsiteX16" fmla="*/ 83908 w 602920"/>
                    <a:gd name="connsiteY16" fmla="*/ 557110 h 1109007"/>
                    <a:gd name="connsiteX17" fmla="*/ 83908 w 602920"/>
                    <a:gd name="connsiteY17" fmla="*/ 557110 h 1109007"/>
                    <a:gd name="connsiteX18" fmla="*/ 46908 w 602920"/>
                    <a:gd name="connsiteY18" fmla="*/ 251346 h 1109007"/>
                    <a:gd name="connsiteX19" fmla="*/ 44405 w 602920"/>
                    <a:gd name="connsiteY19" fmla="*/ 234201 h 1109007"/>
                    <a:gd name="connsiteX20" fmla="*/ 43411 w 602920"/>
                    <a:gd name="connsiteY20" fmla="*/ 227309 h 1109007"/>
                    <a:gd name="connsiteX21" fmla="*/ 43240 w 602920"/>
                    <a:gd name="connsiteY21" fmla="*/ 226108 h 1109007"/>
                    <a:gd name="connsiteX22" fmla="*/ 41731 w 602920"/>
                    <a:gd name="connsiteY22" fmla="*/ 216130 h 1109007"/>
                    <a:gd name="connsiteX23" fmla="*/ 41491 w 602920"/>
                    <a:gd name="connsiteY23" fmla="*/ 214415 h 1109007"/>
                    <a:gd name="connsiteX24" fmla="*/ 39228 w 602920"/>
                    <a:gd name="connsiteY24" fmla="*/ 199808 h 1109007"/>
                    <a:gd name="connsiteX25" fmla="*/ 39228 w 602920"/>
                    <a:gd name="connsiteY25" fmla="*/ 199774 h 1109007"/>
                    <a:gd name="connsiteX26" fmla="*/ 0 w 602920"/>
                    <a:gd name="connsiteY26" fmla="*/ 754 h 1109007"/>
                    <a:gd name="connsiteX27" fmla="*/ 960 w 602920"/>
                    <a:gd name="connsiteY27" fmla="*/ 0 h 1109007"/>
                    <a:gd name="connsiteX28" fmla="*/ 41011 w 602920"/>
                    <a:gd name="connsiteY28" fmla="*/ 18414 h 1109007"/>
                    <a:gd name="connsiteX29" fmla="*/ 133456 w 602920"/>
                    <a:gd name="connsiteY29" fmla="*/ 61585 h 1109007"/>
                    <a:gd name="connsiteX30" fmla="*/ 186949 w 602920"/>
                    <a:gd name="connsiteY30" fmla="*/ 89017 h 1109007"/>
                    <a:gd name="connsiteX31" fmla="*/ 324726 w 602920"/>
                    <a:gd name="connsiteY31" fmla="*/ 440318 h 1109007"/>
                    <a:gd name="connsiteX32" fmla="*/ 564345 w 602920"/>
                    <a:gd name="connsiteY32" fmla="*/ 325824 h 1109007"/>
                    <a:gd name="connsiteX33" fmla="*/ 602921 w 602920"/>
                    <a:gd name="connsiteY33" fmla="*/ 423721 h 1109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02920" h="1109007">
                      <a:moveTo>
                        <a:pt x="602852" y="423756"/>
                      </a:moveTo>
                      <a:cubicBezTo>
                        <a:pt x="600212" y="438740"/>
                        <a:pt x="271988" y="613414"/>
                        <a:pt x="251791" y="605973"/>
                      </a:cubicBezTo>
                      <a:cubicBezTo>
                        <a:pt x="247231" y="604293"/>
                        <a:pt x="239481" y="590439"/>
                        <a:pt x="230223" y="569934"/>
                      </a:cubicBezTo>
                      <a:cubicBezTo>
                        <a:pt x="220965" y="549429"/>
                        <a:pt x="210163" y="522305"/>
                        <a:pt x="199499" y="494153"/>
                      </a:cubicBezTo>
                      <a:cubicBezTo>
                        <a:pt x="191544" y="473168"/>
                        <a:pt x="183657" y="451633"/>
                        <a:pt x="176525" y="431848"/>
                      </a:cubicBezTo>
                      <a:cubicBezTo>
                        <a:pt x="176388" y="431437"/>
                        <a:pt x="176250" y="431059"/>
                        <a:pt x="176079" y="430648"/>
                      </a:cubicBezTo>
                      <a:cubicBezTo>
                        <a:pt x="167575" y="475500"/>
                        <a:pt x="152899" y="522751"/>
                        <a:pt x="156774" y="572952"/>
                      </a:cubicBezTo>
                      <a:cubicBezTo>
                        <a:pt x="156774" y="572986"/>
                        <a:pt x="156774" y="573054"/>
                        <a:pt x="156774" y="573089"/>
                      </a:cubicBezTo>
                      <a:cubicBezTo>
                        <a:pt x="152762" y="805815"/>
                        <a:pt x="222816" y="977574"/>
                        <a:pt x="242739" y="1041764"/>
                      </a:cubicBezTo>
                      <a:cubicBezTo>
                        <a:pt x="246065" y="1052463"/>
                        <a:pt x="237424" y="1064670"/>
                        <a:pt x="229160" y="1072317"/>
                      </a:cubicBezTo>
                      <a:lnTo>
                        <a:pt x="212769" y="1087439"/>
                      </a:lnTo>
                      <a:lnTo>
                        <a:pt x="189384" y="1109007"/>
                      </a:lnTo>
                      <a:cubicBezTo>
                        <a:pt x="189384" y="1109007"/>
                        <a:pt x="159037" y="970476"/>
                        <a:pt x="137606" y="879950"/>
                      </a:cubicBezTo>
                      <a:cubicBezTo>
                        <a:pt x="137023" y="877516"/>
                        <a:pt x="136474" y="875081"/>
                        <a:pt x="135925" y="872681"/>
                      </a:cubicBezTo>
                      <a:cubicBezTo>
                        <a:pt x="131056" y="851558"/>
                        <a:pt x="127490" y="832836"/>
                        <a:pt x="125981" y="818777"/>
                      </a:cubicBezTo>
                      <a:lnTo>
                        <a:pt x="125981" y="818639"/>
                      </a:lnTo>
                      <a:cubicBezTo>
                        <a:pt x="118369" y="746905"/>
                        <a:pt x="94400" y="650790"/>
                        <a:pt x="83908" y="557110"/>
                      </a:cubicBezTo>
                      <a:lnTo>
                        <a:pt x="83908" y="557110"/>
                      </a:lnTo>
                      <a:cubicBezTo>
                        <a:pt x="70603" y="438260"/>
                        <a:pt x="56750" y="320509"/>
                        <a:pt x="46908" y="251346"/>
                      </a:cubicBezTo>
                      <a:cubicBezTo>
                        <a:pt x="46051" y="245516"/>
                        <a:pt x="45228" y="239790"/>
                        <a:pt x="44405" y="234201"/>
                      </a:cubicBezTo>
                      <a:cubicBezTo>
                        <a:pt x="44097" y="231869"/>
                        <a:pt x="43754" y="229606"/>
                        <a:pt x="43411" y="227309"/>
                      </a:cubicBezTo>
                      <a:cubicBezTo>
                        <a:pt x="43342" y="226931"/>
                        <a:pt x="43274" y="226520"/>
                        <a:pt x="43240" y="226108"/>
                      </a:cubicBezTo>
                      <a:cubicBezTo>
                        <a:pt x="42725" y="222748"/>
                        <a:pt x="42245" y="219422"/>
                        <a:pt x="41731" y="216130"/>
                      </a:cubicBezTo>
                      <a:cubicBezTo>
                        <a:pt x="41628" y="215547"/>
                        <a:pt x="41559" y="214964"/>
                        <a:pt x="41491" y="214415"/>
                      </a:cubicBezTo>
                      <a:cubicBezTo>
                        <a:pt x="40702" y="209443"/>
                        <a:pt x="39982" y="204609"/>
                        <a:pt x="39228" y="199808"/>
                      </a:cubicBezTo>
                      <a:cubicBezTo>
                        <a:pt x="39228" y="199808"/>
                        <a:pt x="39228" y="199808"/>
                        <a:pt x="39228" y="199774"/>
                      </a:cubicBezTo>
                      <a:cubicBezTo>
                        <a:pt x="17111" y="57676"/>
                        <a:pt x="0" y="754"/>
                        <a:pt x="0" y="754"/>
                      </a:cubicBezTo>
                      <a:lnTo>
                        <a:pt x="960" y="0"/>
                      </a:lnTo>
                      <a:cubicBezTo>
                        <a:pt x="12584" y="5349"/>
                        <a:pt x="26369" y="11659"/>
                        <a:pt x="41011" y="18414"/>
                      </a:cubicBezTo>
                      <a:cubicBezTo>
                        <a:pt x="71631" y="32541"/>
                        <a:pt x="106162" y="48589"/>
                        <a:pt x="133456" y="61585"/>
                      </a:cubicBezTo>
                      <a:cubicBezTo>
                        <a:pt x="159654" y="74066"/>
                        <a:pt x="183897" y="86617"/>
                        <a:pt x="186949" y="89017"/>
                      </a:cubicBezTo>
                      <a:lnTo>
                        <a:pt x="324726" y="440318"/>
                      </a:lnTo>
                      <a:lnTo>
                        <a:pt x="564345" y="325824"/>
                      </a:lnTo>
                      <a:cubicBezTo>
                        <a:pt x="578575" y="358879"/>
                        <a:pt x="602921" y="423721"/>
                        <a:pt x="602921" y="423721"/>
                      </a:cubicBezTo>
                      <a:close/>
                    </a:path>
                  </a:pathLst>
                </a:custGeom>
                <a:solidFill>
                  <a:srgbClr val="EB47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44" name="Freeform: Shape 143">
                  <a:extLst>
                    <a:ext uri="{FF2B5EF4-FFF2-40B4-BE49-F238E27FC236}">
                      <a16:creationId xmlns:a16="http://schemas.microsoft.com/office/drawing/2014/main" id="{659BE225-026F-D1B4-7DE7-AE9ADE2D9F31}"/>
                    </a:ext>
                  </a:extLst>
                </p:cNvPr>
                <p:cNvSpPr/>
                <p:nvPr/>
              </p:nvSpPr>
              <p:spPr>
                <a:xfrm>
                  <a:off x="4012375" y="4023348"/>
                  <a:ext cx="185744" cy="577923"/>
                </a:xfrm>
                <a:custGeom>
                  <a:avLst/>
                  <a:gdLst>
                    <a:gd name="connsiteX0" fmla="*/ 59013 w 185744"/>
                    <a:gd name="connsiteY0" fmla="*/ 155745 h 577923"/>
                    <a:gd name="connsiteX1" fmla="*/ 118129 w 185744"/>
                    <a:gd name="connsiteY1" fmla="*/ 189075 h 577923"/>
                    <a:gd name="connsiteX2" fmla="*/ 92891 w 185744"/>
                    <a:gd name="connsiteY2" fmla="*/ 214827 h 577923"/>
                    <a:gd name="connsiteX3" fmla="*/ 160134 w 185744"/>
                    <a:gd name="connsiteY3" fmla="*/ 577924 h 577923"/>
                    <a:gd name="connsiteX4" fmla="*/ 184720 w 185744"/>
                    <a:gd name="connsiteY4" fmla="*/ 362446 h 577923"/>
                    <a:gd name="connsiteX5" fmla="*/ 25272 w 185744"/>
                    <a:gd name="connsiteY5" fmla="*/ 0 h 577923"/>
                    <a:gd name="connsiteX6" fmla="*/ 0 w 185744"/>
                    <a:gd name="connsiteY6" fmla="*/ 9807 h 577923"/>
                    <a:gd name="connsiteX7" fmla="*/ 59013 w 185744"/>
                    <a:gd name="connsiteY7" fmla="*/ 155745 h 577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744" h="577923">
                      <a:moveTo>
                        <a:pt x="59013" y="155745"/>
                      </a:moveTo>
                      <a:lnTo>
                        <a:pt x="118129" y="189075"/>
                      </a:lnTo>
                      <a:lnTo>
                        <a:pt x="92891" y="214827"/>
                      </a:lnTo>
                      <a:lnTo>
                        <a:pt x="160134" y="577924"/>
                      </a:lnTo>
                      <a:cubicBezTo>
                        <a:pt x="173850" y="492816"/>
                        <a:pt x="180091" y="411994"/>
                        <a:pt x="184720" y="362446"/>
                      </a:cubicBezTo>
                      <a:cubicBezTo>
                        <a:pt x="200185" y="197476"/>
                        <a:pt x="35524" y="11385"/>
                        <a:pt x="25272" y="0"/>
                      </a:cubicBezTo>
                      <a:cubicBezTo>
                        <a:pt x="17351" y="2983"/>
                        <a:pt x="8812" y="6310"/>
                        <a:pt x="0" y="9807"/>
                      </a:cubicBezTo>
                      <a:lnTo>
                        <a:pt x="59013" y="155745"/>
                      </a:lnTo>
                      <a:close/>
                    </a:path>
                  </a:pathLst>
                </a:custGeom>
                <a:solidFill>
                  <a:srgbClr val="B5373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45" name="Freeform: Shape 144">
                  <a:extLst>
                    <a:ext uri="{FF2B5EF4-FFF2-40B4-BE49-F238E27FC236}">
                      <a16:creationId xmlns:a16="http://schemas.microsoft.com/office/drawing/2014/main" id="{32F23602-470E-221E-5C41-568E19F5110A}"/>
                    </a:ext>
                  </a:extLst>
                </p:cNvPr>
                <p:cNvSpPr/>
                <p:nvPr/>
              </p:nvSpPr>
              <p:spPr>
                <a:xfrm>
                  <a:off x="4260909" y="4028766"/>
                  <a:ext cx="116311" cy="565990"/>
                </a:xfrm>
                <a:custGeom>
                  <a:avLst/>
                  <a:gdLst>
                    <a:gd name="connsiteX0" fmla="*/ 34 w 116311"/>
                    <a:gd name="connsiteY0" fmla="*/ 0 h 565990"/>
                    <a:gd name="connsiteX1" fmla="*/ 65528 w 116311"/>
                    <a:gd name="connsiteY1" fmla="*/ 260295 h 565990"/>
                    <a:gd name="connsiteX2" fmla="*/ 102562 w 116311"/>
                    <a:gd name="connsiteY2" fmla="*/ 565991 h 565990"/>
                    <a:gd name="connsiteX3" fmla="*/ 116312 w 116311"/>
                    <a:gd name="connsiteY3" fmla="*/ 225937 h 565990"/>
                    <a:gd name="connsiteX4" fmla="*/ 88159 w 116311"/>
                    <a:gd name="connsiteY4" fmla="*/ 195419 h 565990"/>
                    <a:gd name="connsiteX5" fmla="*/ 113191 w 116311"/>
                    <a:gd name="connsiteY5" fmla="*/ 164146 h 565990"/>
                    <a:gd name="connsiteX6" fmla="*/ 53115 w 116311"/>
                    <a:gd name="connsiteY6" fmla="*/ 24380 h 565990"/>
                    <a:gd name="connsiteX7" fmla="*/ 19546 w 116311"/>
                    <a:gd name="connsiteY7" fmla="*/ 8950 h 565990"/>
                    <a:gd name="connsiteX8" fmla="*/ 0 w 116311"/>
                    <a:gd name="connsiteY8" fmla="*/ 34 h 565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311" h="565990">
                      <a:moveTo>
                        <a:pt x="34" y="0"/>
                      </a:moveTo>
                      <a:cubicBezTo>
                        <a:pt x="34" y="0"/>
                        <a:pt x="39776" y="80239"/>
                        <a:pt x="65528" y="260295"/>
                      </a:cubicBezTo>
                      <a:cubicBezTo>
                        <a:pt x="75404" y="329458"/>
                        <a:pt x="89257" y="447176"/>
                        <a:pt x="102562" y="565991"/>
                      </a:cubicBezTo>
                      <a:lnTo>
                        <a:pt x="116312" y="225937"/>
                      </a:lnTo>
                      <a:lnTo>
                        <a:pt x="88159" y="195419"/>
                      </a:lnTo>
                      <a:lnTo>
                        <a:pt x="113191" y="164146"/>
                      </a:lnTo>
                      <a:lnTo>
                        <a:pt x="53115" y="24380"/>
                      </a:lnTo>
                      <a:cubicBezTo>
                        <a:pt x="38473" y="17625"/>
                        <a:pt x="31204" y="14299"/>
                        <a:pt x="19546" y="8950"/>
                      </a:cubicBezTo>
                      <a:lnTo>
                        <a:pt x="0" y="34"/>
                      </a:lnTo>
                      <a:close/>
                    </a:path>
                  </a:pathLst>
                </a:custGeom>
                <a:solidFill>
                  <a:srgbClr val="B5373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46" name="Freeform: Shape 145">
                  <a:extLst>
                    <a:ext uri="{FF2B5EF4-FFF2-40B4-BE49-F238E27FC236}">
                      <a16:creationId xmlns:a16="http://schemas.microsoft.com/office/drawing/2014/main" id="{55EB238F-7D7B-98EB-4F60-410085B6CDCB}"/>
                    </a:ext>
                  </a:extLst>
                </p:cNvPr>
                <p:cNvSpPr/>
                <p:nvPr/>
              </p:nvSpPr>
              <p:spPr>
                <a:xfrm>
                  <a:off x="4034664" y="3994304"/>
                  <a:ext cx="171758" cy="194149"/>
                </a:xfrm>
                <a:custGeom>
                  <a:avLst/>
                  <a:gdLst>
                    <a:gd name="connsiteX0" fmla="*/ 0 w 171758"/>
                    <a:gd name="connsiteY0" fmla="*/ 29764 h 194149"/>
                    <a:gd name="connsiteX1" fmla="*/ 57024 w 171758"/>
                    <a:gd name="connsiteY1" fmla="*/ 0 h 194149"/>
                    <a:gd name="connsiteX2" fmla="*/ 171759 w 171758"/>
                    <a:gd name="connsiteY2" fmla="*/ 97075 h 194149"/>
                    <a:gd name="connsiteX3" fmla="*/ 137297 w 171758"/>
                    <a:gd name="connsiteY3" fmla="*/ 194150 h 194149"/>
                    <a:gd name="connsiteX4" fmla="*/ 0 w 171758"/>
                    <a:gd name="connsiteY4" fmla="*/ 29730 h 194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758" h="194149">
                      <a:moveTo>
                        <a:pt x="0" y="29764"/>
                      </a:moveTo>
                      <a:lnTo>
                        <a:pt x="57024" y="0"/>
                      </a:lnTo>
                      <a:cubicBezTo>
                        <a:pt x="57024" y="0"/>
                        <a:pt x="70569" y="46669"/>
                        <a:pt x="171759" y="97075"/>
                      </a:cubicBezTo>
                      <a:lnTo>
                        <a:pt x="137297" y="194150"/>
                      </a:lnTo>
                      <a:lnTo>
                        <a:pt x="0" y="29730"/>
                      </a:lnTo>
                      <a:close/>
                    </a:path>
                  </a:pathLst>
                </a:custGeom>
                <a:solidFill>
                  <a:srgbClr val="F5E2D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47" name="Freeform: Shape 146">
                  <a:extLst>
                    <a:ext uri="{FF2B5EF4-FFF2-40B4-BE49-F238E27FC236}">
                      <a16:creationId xmlns:a16="http://schemas.microsoft.com/office/drawing/2014/main" id="{2ADC1A9A-2A78-C6A6-DC78-A007878BEFAB}"/>
                    </a:ext>
                  </a:extLst>
                </p:cNvPr>
                <p:cNvSpPr/>
                <p:nvPr/>
              </p:nvSpPr>
              <p:spPr>
                <a:xfrm>
                  <a:off x="4206457" y="4005860"/>
                  <a:ext cx="67276" cy="173233"/>
                </a:xfrm>
                <a:custGeom>
                  <a:avLst/>
                  <a:gdLst>
                    <a:gd name="connsiteX0" fmla="*/ 22872 w 67276"/>
                    <a:gd name="connsiteY0" fmla="*/ 0 h 173233"/>
                    <a:gd name="connsiteX1" fmla="*/ 0 w 67276"/>
                    <a:gd name="connsiteY1" fmla="*/ 85519 h 173233"/>
                    <a:gd name="connsiteX2" fmla="*/ 67277 w 67276"/>
                    <a:gd name="connsiteY2" fmla="*/ 173233 h 173233"/>
                    <a:gd name="connsiteX3" fmla="*/ 54521 w 67276"/>
                    <a:gd name="connsiteY3" fmla="*/ 22906 h 173233"/>
                    <a:gd name="connsiteX4" fmla="*/ 22906 w 67276"/>
                    <a:gd name="connsiteY4" fmla="*/ 34 h 173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76" h="173233">
                      <a:moveTo>
                        <a:pt x="22872" y="0"/>
                      </a:moveTo>
                      <a:cubicBezTo>
                        <a:pt x="22872" y="0"/>
                        <a:pt x="30381" y="30964"/>
                        <a:pt x="0" y="85519"/>
                      </a:cubicBezTo>
                      <a:lnTo>
                        <a:pt x="67277" y="173233"/>
                      </a:lnTo>
                      <a:lnTo>
                        <a:pt x="54521" y="22906"/>
                      </a:lnTo>
                      <a:lnTo>
                        <a:pt x="22906" y="34"/>
                      </a:lnTo>
                      <a:close/>
                    </a:path>
                  </a:pathLst>
                </a:custGeom>
                <a:solidFill>
                  <a:srgbClr val="F5E2D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48" name="Freeform: Shape 147">
                  <a:extLst>
                    <a:ext uri="{FF2B5EF4-FFF2-40B4-BE49-F238E27FC236}">
                      <a16:creationId xmlns:a16="http://schemas.microsoft.com/office/drawing/2014/main" id="{761E5FF4-F0AE-3BBD-132E-0E87804765BE}"/>
                    </a:ext>
                  </a:extLst>
                </p:cNvPr>
                <p:cNvSpPr/>
                <p:nvPr/>
              </p:nvSpPr>
              <p:spPr>
                <a:xfrm>
                  <a:off x="4196897" y="4091380"/>
                  <a:ext cx="50296" cy="70710"/>
                </a:xfrm>
                <a:custGeom>
                  <a:avLst/>
                  <a:gdLst>
                    <a:gd name="connsiteX0" fmla="*/ 9354 w 50296"/>
                    <a:gd name="connsiteY0" fmla="*/ 0 h 70710"/>
                    <a:gd name="connsiteX1" fmla="*/ 1021 w 50296"/>
                    <a:gd name="connsiteY1" fmla="*/ 66763 h 70710"/>
                    <a:gd name="connsiteX2" fmla="*/ 50296 w 50296"/>
                    <a:gd name="connsiteY2" fmla="*/ 64156 h 70710"/>
                    <a:gd name="connsiteX3" fmla="*/ 9354 w 50296"/>
                    <a:gd name="connsiteY3" fmla="*/ 0 h 70710"/>
                  </a:gdLst>
                  <a:ahLst/>
                  <a:cxnLst>
                    <a:cxn ang="0">
                      <a:pos x="connsiteX0" y="connsiteY0"/>
                    </a:cxn>
                    <a:cxn ang="0">
                      <a:pos x="connsiteX1" y="connsiteY1"/>
                    </a:cxn>
                    <a:cxn ang="0">
                      <a:pos x="connsiteX2" y="connsiteY2"/>
                    </a:cxn>
                    <a:cxn ang="0">
                      <a:pos x="connsiteX3" y="connsiteY3"/>
                    </a:cxn>
                  </a:cxnLst>
                  <a:rect l="l" t="t" r="r" b="b"/>
                  <a:pathLst>
                    <a:path w="50296" h="70710">
                      <a:moveTo>
                        <a:pt x="9354" y="0"/>
                      </a:moveTo>
                      <a:cubicBezTo>
                        <a:pt x="9354" y="0"/>
                        <a:pt x="-3676" y="52155"/>
                        <a:pt x="1021" y="66763"/>
                      </a:cubicBezTo>
                      <a:cubicBezTo>
                        <a:pt x="1021" y="66763"/>
                        <a:pt x="29688" y="77187"/>
                        <a:pt x="50296" y="64156"/>
                      </a:cubicBezTo>
                      <a:cubicBezTo>
                        <a:pt x="50296" y="64156"/>
                        <a:pt x="35689" y="27638"/>
                        <a:pt x="9354" y="0"/>
                      </a:cubicBezTo>
                      <a:close/>
                    </a:path>
                  </a:pathLst>
                </a:custGeom>
                <a:solidFill>
                  <a:srgbClr val="49505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49" name="Freeform: Shape 148">
                  <a:extLst>
                    <a:ext uri="{FF2B5EF4-FFF2-40B4-BE49-F238E27FC236}">
                      <a16:creationId xmlns:a16="http://schemas.microsoft.com/office/drawing/2014/main" id="{89F81954-5E76-01D2-3D8F-C6E9E539B3FF}"/>
                    </a:ext>
                  </a:extLst>
                </p:cNvPr>
                <p:cNvSpPr/>
                <p:nvPr/>
              </p:nvSpPr>
              <p:spPr>
                <a:xfrm>
                  <a:off x="4267493" y="4691797"/>
                  <a:ext cx="9498" cy="151733"/>
                </a:xfrm>
                <a:custGeom>
                  <a:avLst/>
                  <a:gdLst>
                    <a:gd name="connsiteX0" fmla="*/ 6172 w 9498"/>
                    <a:gd name="connsiteY0" fmla="*/ 151733 h 151733"/>
                    <a:gd name="connsiteX1" fmla="*/ 6241 w 9498"/>
                    <a:gd name="connsiteY1" fmla="*/ 0 h 151733"/>
                    <a:gd name="connsiteX2" fmla="*/ 0 w 9498"/>
                    <a:gd name="connsiteY2" fmla="*/ 411 h 151733"/>
                    <a:gd name="connsiteX3" fmla="*/ 69 w 9498"/>
                    <a:gd name="connsiteY3" fmla="*/ 150533 h 151733"/>
                    <a:gd name="connsiteX4" fmla="*/ 6206 w 9498"/>
                    <a:gd name="connsiteY4" fmla="*/ 151733 h 151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8" h="151733">
                      <a:moveTo>
                        <a:pt x="6172" y="151733"/>
                      </a:moveTo>
                      <a:cubicBezTo>
                        <a:pt x="13476" y="114940"/>
                        <a:pt x="6515" y="4663"/>
                        <a:pt x="6241" y="0"/>
                      </a:cubicBezTo>
                      <a:lnTo>
                        <a:pt x="0" y="411"/>
                      </a:lnTo>
                      <a:cubicBezTo>
                        <a:pt x="69" y="1543"/>
                        <a:pt x="7201" y="114529"/>
                        <a:pt x="69" y="150533"/>
                      </a:cubicBezTo>
                      <a:lnTo>
                        <a:pt x="6206" y="151733"/>
                      </a:lnTo>
                      <a:close/>
                    </a:path>
                  </a:pathLst>
                </a:custGeom>
                <a:solidFill>
                  <a:srgbClr val="AD9F99"/>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50" name="Freeform: Shape 149">
                  <a:extLst>
                    <a:ext uri="{FF2B5EF4-FFF2-40B4-BE49-F238E27FC236}">
                      <a16:creationId xmlns:a16="http://schemas.microsoft.com/office/drawing/2014/main" id="{1AF0C90E-75AB-8999-AA10-0075C3F702FB}"/>
                    </a:ext>
                  </a:extLst>
                </p:cNvPr>
                <p:cNvSpPr/>
                <p:nvPr/>
              </p:nvSpPr>
              <p:spPr>
                <a:xfrm>
                  <a:off x="4221304" y="4826523"/>
                  <a:ext cx="79586" cy="77838"/>
                </a:xfrm>
                <a:custGeom>
                  <a:avLst/>
                  <a:gdLst>
                    <a:gd name="connsiteX0" fmla="*/ 1303 w 79586"/>
                    <a:gd name="connsiteY0" fmla="*/ 34 h 77838"/>
                    <a:gd name="connsiteX1" fmla="*/ 79587 w 79586"/>
                    <a:gd name="connsiteY1" fmla="*/ 11899 h 77838"/>
                    <a:gd name="connsiteX2" fmla="*/ 77050 w 79586"/>
                    <a:gd name="connsiteY2" fmla="*/ 77838 h 77838"/>
                    <a:gd name="connsiteX3" fmla="*/ 0 w 79586"/>
                    <a:gd name="connsiteY3" fmla="*/ 69608 h 77838"/>
                    <a:gd name="connsiteX4" fmla="*/ 1303 w 79586"/>
                    <a:gd name="connsiteY4" fmla="*/ 0 h 77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586" h="77838">
                      <a:moveTo>
                        <a:pt x="1303" y="34"/>
                      </a:moveTo>
                      <a:cubicBezTo>
                        <a:pt x="1303" y="34"/>
                        <a:pt x="60144" y="7064"/>
                        <a:pt x="79587" y="11899"/>
                      </a:cubicBezTo>
                      <a:lnTo>
                        <a:pt x="77050" y="77838"/>
                      </a:lnTo>
                      <a:lnTo>
                        <a:pt x="0" y="69608"/>
                      </a:lnTo>
                      <a:lnTo>
                        <a:pt x="1303" y="0"/>
                      </a:lnTo>
                      <a:close/>
                    </a:path>
                  </a:pathLst>
                </a:custGeom>
                <a:solidFill>
                  <a:srgbClr val="3480B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51" name="Freeform: Shape 150">
                  <a:extLst>
                    <a:ext uri="{FF2B5EF4-FFF2-40B4-BE49-F238E27FC236}">
                      <a16:creationId xmlns:a16="http://schemas.microsoft.com/office/drawing/2014/main" id="{2D2912CA-02DF-975B-670A-A309F688AAF3}"/>
                    </a:ext>
                  </a:extLst>
                </p:cNvPr>
                <p:cNvSpPr/>
                <p:nvPr/>
              </p:nvSpPr>
              <p:spPr>
                <a:xfrm>
                  <a:off x="4202822" y="4143500"/>
                  <a:ext cx="88789" cy="671329"/>
                </a:xfrm>
                <a:custGeom>
                  <a:avLst/>
                  <a:gdLst>
                    <a:gd name="connsiteX0" fmla="*/ 32678 w 88789"/>
                    <a:gd name="connsiteY0" fmla="*/ 7338 h 671329"/>
                    <a:gd name="connsiteX1" fmla="*/ 87611 w 88789"/>
                    <a:gd name="connsiteY1" fmla="*/ 358536 h 671329"/>
                    <a:gd name="connsiteX2" fmla="*/ 58293 w 88789"/>
                    <a:gd name="connsiteY2" fmla="*/ 620580 h 671329"/>
                    <a:gd name="connsiteX3" fmla="*/ 17831 w 88789"/>
                    <a:gd name="connsiteY3" fmla="*/ 671330 h 671329"/>
                    <a:gd name="connsiteX4" fmla="*/ 0 w 88789"/>
                    <a:gd name="connsiteY4" fmla="*/ 608956 h 671329"/>
                    <a:gd name="connsiteX5" fmla="*/ 19237 w 88789"/>
                    <a:gd name="connsiteY5" fmla="*/ 125159 h 671329"/>
                    <a:gd name="connsiteX6" fmla="*/ 3463 w 88789"/>
                    <a:gd name="connsiteY6" fmla="*/ 0 h 671329"/>
                    <a:gd name="connsiteX7" fmla="*/ 32678 w 88789"/>
                    <a:gd name="connsiteY7" fmla="*/ 7304 h 67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89" h="671329">
                      <a:moveTo>
                        <a:pt x="32678" y="7338"/>
                      </a:moveTo>
                      <a:cubicBezTo>
                        <a:pt x="32678" y="7338"/>
                        <a:pt x="98309" y="173062"/>
                        <a:pt x="87611" y="358536"/>
                      </a:cubicBezTo>
                      <a:cubicBezTo>
                        <a:pt x="76501" y="550869"/>
                        <a:pt x="58293" y="620580"/>
                        <a:pt x="58293" y="620580"/>
                      </a:cubicBezTo>
                      <a:lnTo>
                        <a:pt x="17831" y="671330"/>
                      </a:lnTo>
                      <a:lnTo>
                        <a:pt x="0" y="608956"/>
                      </a:lnTo>
                      <a:cubicBezTo>
                        <a:pt x="0" y="608956"/>
                        <a:pt x="54281" y="363748"/>
                        <a:pt x="19237" y="125159"/>
                      </a:cubicBezTo>
                      <a:cubicBezTo>
                        <a:pt x="12893" y="81919"/>
                        <a:pt x="3463" y="0"/>
                        <a:pt x="3463" y="0"/>
                      </a:cubicBezTo>
                      <a:lnTo>
                        <a:pt x="32678" y="7304"/>
                      </a:lnTo>
                      <a:close/>
                    </a:path>
                  </a:pathLst>
                </a:custGeom>
                <a:solidFill>
                  <a:srgbClr val="495055"/>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52" name="Freeform: Shape 151">
                  <a:extLst>
                    <a:ext uri="{FF2B5EF4-FFF2-40B4-BE49-F238E27FC236}">
                      <a16:creationId xmlns:a16="http://schemas.microsoft.com/office/drawing/2014/main" id="{89E506D5-1C1F-5BD5-C9D3-6C8007C1734F}"/>
                    </a:ext>
                  </a:extLst>
                </p:cNvPr>
                <p:cNvSpPr/>
                <p:nvPr/>
              </p:nvSpPr>
              <p:spPr>
                <a:xfrm>
                  <a:off x="4438429" y="4273734"/>
                  <a:ext cx="42630" cy="258135"/>
                </a:xfrm>
                <a:custGeom>
                  <a:avLst/>
                  <a:gdLst>
                    <a:gd name="connsiteX0" fmla="*/ 40634 w 42630"/>
                    <a:gd name="connsiteY0" fmla="*/ 258101 h 258135"/>
                    <a:gd name="connsiteX1" fmla="*/ 17659 w 42630"/>
                    <a:gd name="connsiteY1" fmla="*/ 195796 h 258135"/>
                    <a:gd name="connsiteX2" fmla="*/ 17214 w 42630"/>
                    <a:gd name="connsiteY2" fmla="*/ 194596 h 258135"/>
                    <a:gd name="connsiteX3" fmla="*/ 17214 w 42630"/>
                    <a:gd name="connsiteY3" fmla="*/ 194596 h 258135"/>
                    <a:gd name="connsiteX4" fmla="*/ 15362 w 42630"/>
                    <a:gd name="connsiteY4" fmla="*/ 110551 h 258135"/>
                    <a:gd name="connsiteX5" fmla="*/ 0 w 42630"/>
                    <a:gd name="connsiteY5" fmla="*/ 0 h 258135"/>
                    <a:gd name="connsiteX6" fmla="*/ 42417 w 42630"/>
                    <a:gd name="connsiteY6" fmla="*/ 190207 h 258135"/>
                    <a:gd name="connsiteX7" fmla="*/ 40634 w 42630"/>
                    <a:gd name="connsiteY7" fmla="*/ 258135 h 258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30" h="258135">
                      <a:moveTo>
                        <a:pt x="40634" y="258101"/>
                      </a:moveTo>
                      <a:cubicBezTo>
                        <a:pt x="32678" y="237115"/>
                        <a:pt x="24792" y="215581"/>
                        <a:pt x="17659" y="195796"/>
                      </a:cubicBezTo>
                      <a:cubicBezTo>
                        <a:pt x="17522" y="195384"/>
                        <a:pt x="17385" y="195007"/>
                        <a:pt x="17214" y="194596"/>
                      </a:cubicBezTo>
                      <a:lnTo>
                        <a:pt x="17214" y="194596"/>
                      </a:lnTo>
                      <a:cubicBezTo>
                        <a:pt x="17214" y="194596"/>
                        <a:pt x="17556" y="155025"/>
                        <a:pt x="15362" y="110551"/>
                      </a:cubicBezTo>
                      <a:cubicBezTo>
                        <a:pt x="13305" y="68409"/>
                        <a:pt x="8984" y="21808"/>
                        <a:pt x="0" y="0"/>
                      </a:cubicBezTo>
                      <a:cubicBezTo>
                        <a:pt x="1166" y="2023"/>
                        <a:pt x="39262" y="67380"/>
                        <a:pt x="42417" y="190207"/>
                      </a:cubicBezTo>
                      <a:cubicBezTo>
                        <a:pt x="42965" y="211158"/>
                        <a:pt x="42485" y="233824"/>
                        <a:pt x="40634" y="258135"/>
                      </a:cubicBezTo>
                      <a:close/>
                    </a:path>
                  </a:pathLst>
                </a:custGeom>
                <a:solidFill>
                  <a:srgbClr val="A6323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53" name="Freeform: Shape 152">
                  <a:extLst>
                    <a:ext uri="{FF2B5EF4-FFF2-40B4-BE49-F238E27FC236}">
                      <a16:creationId xmlns:a16="http://schemas.microsoft.com/office/drawing/2014/main" id="{66A38471-BC9F-FE7C-683D-7D4E05AC243D}"/>
                    </a:ext>
                  </a:extLst>
                </p:cNvPr>
                <p:cNvSpPr/>
                <p:nvPr/>
              </p:nvSpPr>
              <p:spPr>
                <a:xfrm>
                  <a:off x="3978550" y="4941848"/>
                  <a:ext cx="126751" cy="112874"/>
                </a:xfrm>
                <a:custGeom>
                  <a:avLst/>
                  <a:gdLst>
                    <a:gd name="connsiteX0" fmla="*/ 64001 w 126751"/>
                    <a:gd name="connsiteY0" fmla="*/ 232 h 112874"/>
                    <a:gd name="connsiteX1" fmla="*/ 92153 w 126751"/>
                    <a:gd name="connsiteY1" fmla="*/ 33082 h 112874"/>
                    <a:gd name="connsiteX2" fmla="*/ 126751 w 126751"/>
                    <a:gd name="connsiteY2" fmla="*/ 60651 h 112874"/>
                    <a:gd name="connsiteX3" fmla="*/ 27585 w 126751"/>
                    <a:gd name="connsiteY3" fmla="*/ 112875 h 112874"/>
                    <a:gd name="connsiteX4" fmla="*/ 15 w 126751"/>
                    <a:gd name="connsiteY4" fmla="*/ 28384 h 112874"/>
                    <a:gd name="connsiteX5" fmla="*/ 63966 w 126751"/>
                    <a:gd name="connsiteY5" fmla="*/ 232 h 112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751" h="112874">
                      <a:moveTo>
                        <a:pt x="64001" y="232"/>
                      </a:moveTo>
                      <a:cubicBezTo>
                        <a:pt x="64001" y="232"/>
                        <a:pt x="78094" y="28384"/>
                        <a:pt x="92153" y="33082"/>
                      </a:cubicBezTo>
                      <a:cubicBezTo>
                        <a:pt x="106246" y="37780"/>
                        <a:pt x="126751" y="60651"/>
                        <a:pt x="126751" y="60651"/>
                      </a:cubicBezTo>
                      <a:lnTo>
                        <a:pt x="27585" y="112875"/>
                      </a:lnTo>
                      <a:cubicBezTo>
                        <a:pt x="27585" y="112875"/>
                        <a:pt x="1181" y="61234"/>
                        <a:pt x="15" y="28384"/>
                      </a:cubicBezTo>
                      <a:cubicBezTo>
                        <a:pt x="-1150" y="-4465"/>
                        <a:pt x="63966" y="232"/>
                        <a:pt x="63966" y="232"/>
                      </a:cubicBezTo>
                      <a:close/>
                    </a:path>
                  </a:pathLst>
                </a:custGeom>
                <a:solidFill>
                  <a:srgbClr val="EEA8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54" name="Freeform: Shape 153">
                  <a:extLst>
                    <a:ext uri="{FF2B5EF4-FFF2-40B4-BE49-F238E27FC236}">
                      <a16:creationId xmlns:a16="http://schemas.microsoft.com/office/drawing/2014/main" id="{FAD3696E-7831-A3E4-D72B-C1A3B07B9109}"/>
                    </a:ext>
                  </a:extLst>
                </p:cNvPr>
                <p:cNvSpPr/>
                <p:nvPr/>
              </p:nvSpPr>
              <p:spPr>
                <a:xfrm>
                  <a:off x="3968518" y="4936114"/>
                  <a:ext cx="85759" cy="62202"/>
                </a:xfrm>
                <a:custGeom>
                  <a:avLst/>
                  <a:gdLst>
                    <a:gd name="connsiteX0" fmla="*/ 79176 w 85759"/>
                    <a:gd name="connsiteY0" fmla="*/ 0 h 62202"/>
                    <a:gd name="connsiteX1" fmla="*/ 85759 w 85759"/>
                    <a:gd name="connsiteY1" fmla="*/ 13202 h 62202"/>
                    <a:gd name="connsiteX2" fmla="*/ 5830 w 85759"/>
                    <a:gd name="connsiteY2" fmla="*/ 62202 h 62202"/>
                    <a:gd name="connsiteX3" fmla="*/ 0 w 85759"/>
                    <a:gd name="connsiteY3" fmla="*/ 44611 h 62202"/>
                    <a:gd name="connsiteX4" fmla="*/ 79210 w 85759"/>
                    <a:gd name="connsiteY4" fmla="*/ 34 h 62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59" h="62202">
                      <a:moveTo>
                        <a:pt x="79176" y="0"/>
                      </a:moveTo>
                      <a:lnTo>
                        <a:pt x="85759" y="13202"/>
                      </a:lnTo>
                      <a:cubicBezTo>
                        <a:pt x="85759" y="13202"/>
                        <a:pt x="22872" y="59013"/>
                        <a:pt x="5830" y="62202"/>
                      </a:cubicBezTo>
                      <a:lnTo>
                        <a:pt x="0" y="44611"/>
                      </a:lnTo>
                      <a:lnTo>
                        <a:pt x="79210" y="34"/>
                      </a:lnTo>
                      <a:close/>
                    </a:path>
                  </a:pathLst>
                </a:custGeom>
                <a:solidFill>
                  <a:srgbClr val="DECBC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55" name="Freeform: Shape 154">
                  <a:extLst>
                    <a:ext uri="{FF2B5EF4-FFF2-40B4-BE49-F238E27FC236}">
                      <a16:creationId xmlns:a16="http://schemas.microsoft.com/office/drawing/2014/main" id="{4EEEDDA6-0EF5-E857-9506-C423E2B7BD0C}"/>
                    </a:ext>
                  </a:extLst>
                </p:cNvPr>
                <p:cNvSpPr/>
                <p:nvPr/>
              </p:nvSpPr>
              <p:spPr>
                <a:xfrm>
                  <a:off x="3869832" y="4692106"/>
                  <a:ext cx="189006" cy="296128"/>
                </a:xfrm>
                <a:custGeom>
                  <a:avLst/>
                  <a:gdLst>
                    <a:gd name="connsiteX0" fmla="*/ 67551 w 189006"/>
                    <a:gd name="connsiteY0" fmla="*/ 34 h 296128"/>
                    <a:gd name="connsiteX1" fmla="*/ 189006 w 189006"/>
                    <a:gd name="connsiteY1" fmla="*/ 240647 h 296128"/>
                    <a:gd name="connsiteX2" fmla="*/ 92651 w 189006"/>
                    <a:gd name="connsiteY2" fmla="*/ 296128 h 296128"/>
                    <a:gd name="connsiteX3" fmla="*/ 0 w 189006"/>
                    <a:gd name="connsiteY3" fmla="*/ 132634 h 296128"/>
                    <a:gd name="connsiteX4" fmla="*/ 67551 w 189006"/>
                    <a:gd name="connsiteY4" fmla="*/ 0 h 296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06" h="296128">
                      <a:moveTo>
                        <a:pt x="67551" y="34"/>
                      </a:moveTo>
                      <a:lnTo>
                        <a:pt x="189006" y="240647"/>
                      </a:lnTo>
                      <a:lnTo>
                        <a:pt x="92651" y="296128"/>
                      </a:lnTo>
                      <a:lnTo>
                        <a:pt x="0" y="132634"/>
                      </a:lnTo>
                      <a:cubicBezTo>
                        <a:pt x="0" y="132634"/>
                        <a:pt x="7749" y="23763"/>
                        <a:pt x="67551" y="0"/>
                      </a:cubicBezTo>
                      <a:close/>
                    </a:path>
                  </a:pathLst>
                </a:custGeom>
                <a:solidFill>
                  <a:srgbClr val="EB47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56" name="Freeform: Shape 155">
                  <a:extLst>
                    <a:ext uri="{FF2B5EF4-FFF2-40B4-BE49-F238E27FC236}">
                      <a16:creationId xmlns:a16="http://schemas.microsoft.com/office/drawing/2014/main" id="{17BA0906-1540-588C-B124-EE67F15BECB3}"/>
                    </a:ext>
                  </a:extLst>
                </p:cNvPr>
                <p:cNvSpPr/>
                <p:nvPr/>
              </p:nvSpPr>
              <p:spPr>
                <a:xfrm>
                  <a:off x="4909975" y="4270534"/>
                  <a:ext cx="70666" cy="63883"/>
                </a:xfrm>
                <a:custGeom>
                  <a:avLst/>
                  <a:gdLst>
                    <a:gd name="connsiteX0" fmla="*/ 70441 w 70666"/>
                    <a:gd name="connsiteY0" fmla="*/ 22985 h 63883"/>
                    <a:gd name="connsiteX1" fmla="*/ 13417 w 70666"/>
                    <a:gd name="connsiteY1" fmla="*/ 62796 h 63883"/>
                    <a:gd name="connsiteX2" fmla="*/ 387 w 70666"/>
                    <a:gd name="connsiteY2" fmla="*/ 44040 h 63883"/>
                    <a:gd name="connsiteX3" fmla="*/ 48016 w 70666"/>
                    <a:gd name="connsiteY3" fmla="*/ 457 h 63883"/>
                    <a:gd name="connsiteX4" fmla="*/ 70441 w 70666"/>
                    <a:gd name="connsiteY4" fmla="*/ 22985 h 63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66" h="63883">
                      <a:moveTo>
                        <a:pt x="70441" y="22985"/>
                      </a:moveTo>
                      <a:cubicBezTo>
                        <a:pt x="70441" y="22985"/>
                        <a:pt x="16229" y="56898"/>
                        <a:pt x="13417" y="62796"/>
                      </a:cubicBezTo>
                      <a:cubicBezTo>
                        <a:pt x="10605" y="68694"/>
                        <a:pt x="-2391" y="48909"/>
                        <a:pt x="387" y="44040"/>
                      </a:cubicBezTo>
                      <a:cubicBezTo>
                        <a:pt x="3164" y="39170"/>
                        <a:pt x="43249" y="3063"/>
                        <a:pt x="48016" y="457"/>
                      </a:cubicBezTo>
                      <a:cubicBezTo>
                        <a:pt x="52782" y="-2149"/>
                        <a:pt x="73013" y="6526"/>
                        <a:pt x="70441" y="22985"/>
                      </a:cubicBezTo>
                      <a:close/>
                    </a:path>
                  </a:pathLst>
                </a:custGeom>
                <a:solidFill>
                  <a:srgbClr val="EEA8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57" name="Freeform: Shape 156">
                  <a:extLst>
                    <a:ext uri="{FF2B5EF4-FFF2-40B4-BE49-F238E27FC236}">
                      <a16:creationId xmlns:a16="http://schemas.microsoft.com/office/drawing/2014/main" id="{C1B08B4C-C6B0-B62A-1275-17682B5EA368}"/>
                    </a:ext>
                  </a:extLst>
                </p:cNvPr>
                <p:cNvSpPr/>
                <p:nvPr/>
              </p:nvSpPr>
              <p:spPr>
                <a:xfrm>
                  <a:off x="4929891" y="4243432"/>
                  <a:ext cx="111139" cy="70451"/>
                </a:xfrm>
                <a:custGeom>
                  <a:avLst/>
                  <a:gdLst>
                    <a:gd name="connsiteX0" fmla="*/ 17641 w 111139"/>
                    <a:gd name="connsiteY0" fmla="*/ 32805 h 70451"/>
                    <a:gd name="connsiteX1" fmla="*/ 110087 w 111139"/>
                    <a:gd name="connsiteY1" fmla="*/ 1773 h 70451"/>
                    <a:gd name="connsiteX2" fmla="*/ 35986 w 111139"/>
                    <a:gd name="connsiteY2" fmla="*/ 57528 h 70451"/>
                    <a:gd name="connsiteX3" fmla="*/ 17641 w 111139"/>
                    <a:gd name="connsiteY3" fmla="*/ 32771 h 70451"/>
                  </a:gdLst>
                  <a:ahLst/>
                  <a:cxnLst>
                    <a:cxn ang="0">
                      <a:pos x="connsiteX0" y="connsiteY0"/>
                    </a:cxn>
                    <a:cxn ang="0">
                      <a:pos x="connsiteX1" y="connsiteY1"/>
                    </a:cxn>
                    <a:cxn ang="0">
                      <a:pos x="connsiteX2" y="connsiteY2"/>
                    </a:cxn>
                    <a:cxn ang="0">
                      <a:pos x="connsiteX3" y="connsiteY3"/>
                    </a:cxn>
                  </a:cxnLst>
                  <a:rect l="l" t="t" r="r" b="b"/>
                  <a:pathLst>
                    <a:path w="111139" h="70451">
                      <a:moveTo>
                        <a:pt x="17641" y="32805"/>
                      </a:moveTo>
                      <a:cubicBezTo>
                        <a:pt x="17641" y="32805"/>
                        <a:pt x="105423" y="-8994"/>
                        <a:pt x="110087" y="1773"/>
                      </a:cubicBezTo>
                      <a:cubicBezTo>
                        <a:pt x="114750" y="12574"/>
                        <a:pt x="106280" y="16689"/>
                        <a:pt x="35986" y="57528"/>
                      </a:cubicBezTo>
                      <a:cubicBezTo>
                        <a:pt x="-32354" y="97236"/>
                        <a:pt x="17641" y="32771"/>
                        <a:pt x="17641" y="32771"/>
                      </a:cubicBezTo>
                      <a:close/>
                    </a:path>
                  </a:pathLst>
                </a:custGeom>
                <a:solidFill>
                  <a:srgbClr val="EEA8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58" name="Freeform: Shape 157">
                  <a:extLst>
                    <a:ext uri="{FF2B5EF4-FFF2-40B4-BE49-F238E27FC236}">
                      <a16:creationId xmlns:a16="http://schemas.microsoft.com/office/drawing/2014/main" id="{AEDC48F1-0641-F41A-70D5-226F5B5DA8C9}"/>
                    </a:ext>
                  </a:extLst>
                </p:cNvPr>
                <p:cNvSpPr/>
                <p:nvPr/>
              </p:nvSpPr>
              <p:spPr>
                <a:xfrm>
                  <a:off x="3848744" y="4824774"/>
                  <a:ext cx="104858" cy="147721"/>
                </a:xfrm>
                <a:custGeom>
                  <a:avLst/>
                  <a:gdLst>
                    <a:gd name="connsiteX0" fmla="*/ 104824 w 104858"/>
                    <a:gd name="connsiteY0" fmla="*/ 147687 h 147721"/>
                    <a:gd name="connsiteX1" fmla="*/ 0 w 104858"/>
                    <a:gd name="connsiteY1" fmla="*/ 40702 h 147721"/>
                    <a:gd name="connsiteX2" fmla="*/ 21122 w 104858"/>
                    <a:gd name="connsiteY2" fmla="*/ 0 h 147721"/>
                    <a:gd name="connsiteX3" fmla="*/ 104859 w 104858"/>
                    <a:gd name="connsiteY3" fmla="*/ 147721 h 147721"/>
                  </a:gdLst>
                  <a:ahLst/>
                  <a:cxnLst>
                    <a:cxn ang="0">
                      <a:pos x="connsiteX0" y="connsiteY0"/>
                    </a:cxn>
                    <a:cxn ang="0">
                      <a:pos x="connsiteX1" y="connsiteY1"/>
                    </a:cxn>
                    <a:cxn ang="0">
                      <a:pos x="connsiteX2" y="connsiteY2"/>
                    </a:cxn>
                    <a:cxn ang="0">
                      <a:pos x="connsiteX3" y="connsiteY3"/>
                    </a:cxn>
                  </a:cxnLst>
                  <a:rect l="l" t="t" r="r" b="b"/>
                  <a:pathLst>
                    <a:path w="104858" h="147721">
                      <a:moveTo>
                        <a:pt x="104824" y="147687"/>
                      </a:moveTo>
                      <a:lnTo>
                        <a:pt x="0" y="40702"/>
                      </a:lnTo>
                      <a:cubicBezTo>
                        <a:pt x="6583" y="27363"/>
                        <a:pt x="13750" y="13750"/>
                        <a:pt x="21122" y="0"/>
                      </a:cubicBezTo>
                      <a:lnTo>
                        <a:pt x="104859" y="147721"/>
                      </a:lnTo>
                      <a:close/>
                    </a:path>
                  </a:pathLst>
                </a:custGeom>
                <a:solidFill>
                  <a:srgbClr val="A6323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grpSp>
        </p:grpSp>
        <p:grpSp>
          <p:nvGrpSpPr>
            <p:cNvPr id="159" name="Graphic 5">
              <a:extLst>
                <a:ext uri="{FF2B5EF4-FFF2-40B4-BE49-F238E27FC236}">
                  <a16:creationId xmlns:a16="http://schemas.microsoft.com/office/drawing/2014/main" id="{6F9DB318-69E7-431D-FFBB-C973321B7F35}"/>
                </a:ext>
              </a:extLst>
            </p:cNvPr>
            <p:cNvGrpSpPr/>
            <p:nvPr/>
          </p:nvGrpSpPr>
          <p:grpSpPr>
            <a:xfrm>
              <a:off x="8443152" y="3682579"/>
              <a:ext cx="1459721" cy="2954384"/>
              <a:chOff x="6138462" y="3767248"/>
              <a:chExt cx="1417887" cy="2869715"/>
            </a:xfrm>
          </p:grpSpPr>
          <p:sp>
            <p:nvSpPr>
              <p:cNvPr id="160" name="Freeform: Shape 159">
                <a:extLst>
                  <a:ext uri="{FF2B5EF4-FFF2-40B4-BE49-F238E27FC236}">
                    <a16:creationId xmlns:a16="http://schemas.microsoft.com/office/drawing/2014/main" id="{CAA74BDF-209A-4143-129F-E378AC3870BC}"/>
                  </a:ext>
                </a:extLst>
              </p:cNvPr>
              <p:cNvSpPr/>
              <p:nvPr/>
            </p:nvSpPr>
            <p:spPr>
              <a:xfrm>
                <a:off x="6139392" y="5105369"/>
                <a:ext cx="146687" cy="230432"/>
              </a:xfrm>
              <a:custGeom>
                <a:avLst/>
                <a:gdLst>
                  <a:gd name="connsiteX0" fmla="*/ 101250 w 146687"/>
                  <a:gd name="connsiteY0" fmla="*/ 12790 h 230432"/>
                  <a:gd name="connsiteX1" fmla="*/ 113526 w 146687"/>
                  <a:gd name="connsiteY1" fmla="*/ 45228 h 230432"/>
                  <a:gd name="connsiteX2" fmla="*/ 128511 w 146687"/>
                  <a:gd name="connsiteY2" fmla="*/ 83496 h 230432"/>
                  <a:gd name="connsiteX3" fmla="*/ 146684 w 146687"/>
                  <a:gd name="connsiteY3" fmla="*/ 147310 h 230432"/>
                  <a:gd name="connsiteX4" fmla="*/ 138112 w 146687"/>
                  <a:gd name="connsiteY4" fmla="*/ 190035 h 230432"/>
                  <a:gd name="connsiteX5" fmla="*/ 136569 w 146687"/>
                  <a:gd name="connsiteY5" fmla="*/ 218804 h 230432"/>
                  <a:gd name="connsiteX6" fmla="*/ 118875 w 146687"/>
                  <a:gd name="connsiteY6" fmla="*/ 205020 h 230432"/>
                  <a:gd name="connsiteX7" fmla="*/ 112635 w 146687"/>
                  <a:gd name="connsiteY7" fmla="*/ 216781 h 230432"/>
                  <a:gd name="connsiteX8" fmla="*/ 91752 w 146687"/>
                  <a:gd name="connsiteY8" fmla="*/ 217536 h 230432"/>
                  <a:gd name="connsiteX9" fmla="*/ 80402 w 146687"/>
                  <a:gd name="connsiteY9" fmla="*/ 228166 h 230432"/>
                  <a:gd name="connsiteX10" fmla="*/ 59622 w 146687"/>
                  <a:gd name="connsiteY10" fmla="*/ 225354 h 230432"/>
                  <a:gd name="connsiteX11" fmla="*/ 43849 w 146687"/>
                  <a:gd name="connsiteY11" fmla="*/ 230429 h 230432"/>
                  <a:gd name="connsiteX12" fmla="*/ 26361 w 146687"/>
                  <a:gd name="connsiteY12" fmla="*/ 219559 h 230432"/>
                  <a:gd name="connsiteX13" fmla="*/ 6233 w 146687"/>
                  <a:gd name="connsiteY13" fmla="*/ 215444 h 230432"/>
                  <a:gd name="connsiteX14" fmla="*/ 609 w 146687"/>
                  <a:gd name="connsiteY14" fmla="*/ 193807 h 230432"/>
                  <a:gd name="connsiteX15" fmla="*/ 20394 w 146687"/>
                  <a:gd name="connsiteY15" fmla="*/ 84730 h 230432"/>
                  <a:gd name="connsiteX16" fmla="*/ 15251 w 146687"/>
                  <a:gd name="connsiteY16" fmla="*/ 0 h 230432"/>
                  <a:gd name="connsiteX17" fmla="*/ 101319 w 146687"/>
                  <a:gd name="connsiteY17" fmla="*/ 12859 h 23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6687" h="230432">
                    <a:moveTo>
                      <a:pt x="101250" y="12790"/>
                    </a:moveTo>
                    <a:cubicBezTo>
                      <a:pt x="101250" y="12790"/>
                      <a:pt x="112155" y="30655"/>
                      <a:pt x="113526" y="45228"/>
                    </a:cubicBezTo>
                    <a:cubicBezTo>
                      <a:pt x="114623" y="56750"/>
                      <a:pt x="124293" y="73998"/>
                      <a:pt x="128511" y="83496"/>
                    </a:cubicBezTo>
                    <a:cubicBezTo>
                      <a:pt x="132694" y="93029"/>
                      <a:pt x="146204" y="136097"/>
                      <a:pt x="146684" y="147310"/>
                    </a:cubicBezTo>
                    <a:cubicBezTo>
                      <a:pt x="146890" y="151905"/>
                      <a:pt x="136672" y="180777"/>
                      <a:pt x="138112" y="190035"/>
                    </a:cubicBezTo>
                    <a:cubicBezTo>
                      <a:pt x="139552" y="199293"/>
                      <a:pt x="144833" y="217604"/>
                      <a:pt x="136569" y="218804"/>
                    </a:cubicBezTo>
                    <a:cubicBezTo>
                      <a:pt x="128271" y="220005"/>
                      <a:pt x="118875" y="205020"/>
                      <a:pt x="118875" y="205020"/>
                    </a:cubicBezTo>
                    <a:cubicBezTo>
                      <a:pt x="118875" y="205020"/>
                      <a:pt x="119664" y="213524"/>
                      <a:pt x="112635" y="216781"/>
                    </a:cubicBezTo>
                    <a:cubicBezTo>
                      <a:pt x="98987" y="223091"/>
                      <a:pt x="91752" y="217536"/>
                      <a:pt x="91752" y="217536"/>
                    </a:cubicBezTo>
                    <a:cubicBezTo>
                      <a:pt x="91752" y="217536"/>
                      <a:pt x="86711" y="226897"/>
                      <a:pt x="80402" y="228166"/>
                    </a:cubicBezTo>
                    <a:cubicBezTo>
                      <a:pt x="66446" y="230943"/>
                      <a:pt x="59622" y="225354"/>
                      <a:pt x="59622" y="225354"/>
                    </a:cubicBezTo>
                    <a:cubicBezTo>
                      <a:pt x="59622" y="225354"/>
                      <a:pt x="53484" y="230600"/>
                      <a:pt x="43849" y="230429"/>
                    </a:cubicBezTo>
                    <a:cubicBezTo>
                      <a:pt x="31539" y="230189"/>
                      <a:pt x="26361" y="219559"/>
                      <a:pt x="26361" y="219559"/>
                    </a:cubicBezTo>
                    <a:cubicBezTo>
                      <a:pt x="26361" y="219559"/>
                      <a:pt x="10759" y="222713"/>
                      <a:pt x="6233" y="215444"/>
                    </a:cubicBezTo>
                    <a:cubicBezTo>
                      <a:pt x="1707" y="208174"/>
                      <a:pt x="2495" y="200391"/>
                      <a:pt x="609" y="193807"/>
                    </a:cubicBezTo>
                    <a:cubicBezTo>
                      <a:pt x="-1277" y="187223"/>
                      <a:pt x="163" y="127627"/>
                      <a:pt x="20394" y="84730"/>
                    </a:cubicBezTo>
                    <a:cubicBezTo>
                      <a:pt x="40626" y="41834"/>
                      <a:pt x="15251" y="0"/>
                      <a:pt x="15251" y="0"/>
                    </a:cubicBezTo>
                    <a:lnTo>
                      <a:pt x="101319" y="12859"/>
                    </a:lnTo>
                    <a:close/>
                  </a:path>
                </a:pathLst>
              </a:custGeom>
              <a:solidFill>
                <a:srgbClr val="EEA8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61" name="Freeform: Shape 160">
                <a:extLst>
                  <a:ext uri="{FF2B5EF4-FFF2-40B4-BE49-F238E27FC236}">
                    <a16:creationId xmlns:a16="http://schemas.microsoft.com/office/drawing/2014/main" id="{C55E431D-0F6A-8BB1-5D52-F5F020969BF3}"/>
                  </a:ext>
                </a:extLst>
              </p:cNvPr>
              <p:cNvSpPr/>
              <p:nvPr/>
            </p:nvSpPr>
            <p:spPr>
              <a:xfrm>
                <a:off x="6138462" y="5226038"/>
                <a:ext cx="121969" cy="110031"/>
              </a:xfrm>
              <a:custGeom>
                <a:avLst/>
                <a:gdLst>
                  <a:gd name="connsiteX0" fmla="*/ 121931 w 121969"/>
                  <a:gd name="connsiteY0" fmla="*/ 78762 h 110031"/>
                  <a:gd name="connsiteX1" fmla="*/ 109244 w 121969"/>
                  <a:gd name="connsiteY1" fmla="*/ 13920 h 110031"/>
                  <a:gd name="connsiteX2" fmla="*/ 93573 w 121969"/>
                  <a:gd name="connsiteY2" fmla="*/ 21840 h 110031"/>
                  <a:gd name="connsiteX3" fmla="*/ 80097 w 121969"/>
                  <a:gd name="connsiteY3" fmla="*/ 204 h 110031"/>
                  <a:gd name="connsiteX4" fmla="*/ 64084 w 121969"/>
                  <a:gd name="connsiteY4" fmla="*/ 20263 h 110031"/>
                  <a:gd name="connsiteX5" fmla="*/ 45430 w 121969"/>
                  <a:gd name="connsiteY5" fmla="*/ 8570 h 110031"/>
                  <a:gd name="connsiteX6" fmla="*/ 33120 w 121969"/>
                  <a:gd name="connsiteY6" fmla="*/ 30345 h 110031"/>
                  <a:gd name="connsiteX7" fmla="*/ 7677 w 121969"/>
                  <a:gd name="connsiteY7" fmla="*/ 29624 h 110031"/>
                  <a:gd name="connsiteX8" fmla="*/ 7059 w 121969"/>
                  <a:gd name="connsiteY8" fmla="*/ 94707 h 110031"/>
                  <a:gd name="connsiteX9" fmla="*/ 27188 w 121969"/>
                  <a:gd name="connsiteY9" fmla="*/ 98822 h 110031"/>
                  <a:gd name="connsiteX10" fmla="*/ 60449 w 121969"/>
                  <a:gd name="connsiteY10" fmla="*/ 104651 h 110031"/>
                  <a:gd name="connsiteX11" fmla="*/ 92579 w 121969"/>
                  <a:gd name="connsiteY11" fmla="*/ 96833 h 110031"/>
                  <a:gd name="connsiteX12" fmla="*/ 121897 w 121969"/>
                  <a:gd name="connsiteY12" fmla="*/ 78728 h 110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69" h="110031">
                    <a:moveTo>
                      <a:pt x="121931" y="78762"/>
                    </a:moveTo>
                    <a:cubicBezTo>
                      <a:pt x="121931" y="78762"/>
                      <a:pt x="123337" y="25304"/>
                      <a:pt x="109244" y="13920"/>
                    </a:cubicBezTo>
                    <a:cubicBezTo>
                      <a:pt x="95185" y="2536"/>
                      <a:pt x="93573" y="21840"/>
                      <a:pt x="93573" y="21840"/>
                    </a:cubicBezTo>
                    <a:cubicBezTo>
                      <a:pt x="93573" y="21840"/>
                      <a:pt x="95494" y="2775"/>
                      <a:pt x="80097" y="204"/>
                    </a:cubicBezTo>
                    <a:cubicBezTo>
                      <a:pt x="64735" y="-2368"/>
                      <a:pt x="64084" y="20263"/>
                      <a:pt x="64084" y="20263"/>
                    </a:cubicBezTo>
                    <a:cubicBezTo>
                      <a:pt x="64084" y="20263"/>
                      <a:pt x="61581" y="5553"/>
                      <a:pt x="45430" y="8570"/>
                    </a:cubicBezTo>
                    <a:cubicBezTo>
                      <a:pt x="29279" y="11588"/>
                      <a:pt x="33120" y="30345"/>
                      <a:pt x="33120" y="30345"/>
                    </a:cubicBezTo>
                    <a:cubicBezTo>
                      <a:pt x="33120" y="30345"/>
                      <a:pt x="17689" y="11931"/>
                      <a:pt x="7677" y="29624"/>
                    </a:cubicBezTo>
                    <a:cubicBezTo>
                      <a:pt x="-9228" y="59457"/>
                      <a:pt x="7059" y="94707"/>
                      <a:pt x="7059" y="94707"/>
                    </a:cubicBezTo>
                    <a:cubicBezTo>
                      <a:pt x="7059" y="94707"/>
                      <a:pt x="11826" y="102800"/>
                      <a:pt x="27188" y="98822"/>
                    </a:cubicBezTo>
                    <a:cubicBezTo>
                      <a:pt x="27188" y="98822"/>
                      <a:pt x="37475" y="119533"/>
                      <a:pt x="60449" y="104651"/>
                    </a:cubicBezTo>
                    <a:cubicBezTo>
                      <a:pt x="60449" y="104651"/>
                      <a:pt x="84006" y="117613"/>
                      <a:pt x="92579" y="96833"/>
                    </a:cubicBezTo>
                    <a:cubicBezTo>
                      <a:pt x="92579" y="96833"/>
                      <a:pt x="118536" y="109143"/>
                      <a:pt x="121897" y="78728"/>
                    </a:cubicBezTo>
                    <a:close/>
                  </a:path>
                </a:pathLst>
              </a:custGeom>
              <a:solidFill>
                <a:srgbClr val="DB9C7C"/>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62" name="Freeform: Shape 161">
                <a:extLst>
                  <a:ext uri="{FF2B5EF4-FFF2-40B4-BE49-F238E27FC236}">
                    <a16:creationId xmlns:a16="http://schemas.microsoft.com/office/drawing/2014/main" id="{2001F65D-EF0B-3172-C6A2-5B1D8273B059}"/>
                  </a:ext>
                </a:extLst>
              </p:cNvPr>
              <p:cNvSpPr/>
              <p:nvPr/>
            </p:nvSpPr>
            <p:spPr>
              <a:xfrm>
                <a:off x="6142024" y="4223244"/>
                <a:ext cx="286928" cy="960340"/>
              </a:xfrm>
              <a:custGeom>
                <a:avLst/>
                <a:gdLst>
                  <a:gd name="connsiteX0" fmla="*/ 279944 w 286928"/>
                  <a:gd name="connsiteY0" fmla="*/ 124899 h 960340"/>
                  <a:gd name="connsiteX1" fmla="*/ 157528 w 286928"/>
                  <a:gd name="connsiteY1" fmla="*/ 542380 h 960340"/>
                  <a:gd name="connsiteX2" fmla="*/ 120221 w 286928"/>
                  <a:gd name="connsiteY2" fmla="*/ 928176 h 960340"/>
                  <a:gd name="connsiteX3" fmla="*/ 0 w 286928"/>
                  <a:gd name="connsiteY3" fmla="*/ 960340 h 960340"/>
                  <a:gd name="connsiteX4" fmla="*/ 15362 w 286928"/>
                  <a:gd name="connsiteY4" fmla="*/ 515839 h 960340"/>
                  <a:gd name="connsiteX5" fmla="*/ 180297 w 286928"/>
                  <a:gd name="connsiteY5" fmla="*/ 5330 h 960340"/>
                  <a:gd name="connsiteX6" fmla="*/ 257278 w 286928"/>
                  <a:gd name="connsiteY6" fmla="*/ 28989 h 960340"/>
                  <a:gd name="connsiteX7" fmla="*/ 279909 w 286928"/>
                  <a:gd name="connsiteY7" fmla="*/ 124899 h 960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928" h="960340">
                    <a:moveTo>
                      <a:pt x="279944" y="124899"/>
                    </a:moveTo>
                    <a:cubicBezTo>
                      <a:pt x="279944" y="124899"/>
                      <a:pt x="188424" y="429874"/>
                      <a:pt x="157528" y="542380"/>
                    </a:cubicBezTo>
                    <a:cubicBezTo>
                      <a:pt x="147825" y="577664"/>
                      <a:pt x="124370" y="914597"/>
                      <a:pt x="120221" y="928176"/>
                    </a:cubicBezTo>
                    <a:cubicBezTo>
                      <a:pt x="116072" y="941755"/>
                      <a:pt x="0" y="960340"/>
                      <a:pt x="0" y="960340"/>
                    </a:cubicBezTo>
                    <a:cubicBezTo>
                      <a:pt x="0" y="960340"/>
                      <a:pt x="14059" y="538813"/>
                      <a:pt x="15362" y="515839"/>
                    </a:cubicBezTo>
                    <a:cubicBezTo>
                      <a:pt x="16665" y="492865"/>
                      <a:pt x="143435" y="22131"/>
                      <a:pt x="180297" y="5330"/>
                    </a:cubicBezTo>
                    <a:cubicBezTo>
                      <a:pt x="207900" y="-7255"/>
                      <a:pt x="222474" y="3169"/>
                      <a:pt x="257278" y="28989"/>
                    </a:cubicBezTo>
                    <a:cubicBezTo>
                      <a:pt x="306107" y="65268"/>
                      <a:pt x="279909" y="124899"/>
                      <a:pt x="279909" y="124899"/>
                    </a:cubicBezTo>
                    <a:close/>
                  </a:path>
                </a:pathLst>
              </a:custGeom>
              <a:solidFill>
                <a:srgbClr val="32365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63" name="Freeform: Shape 162">
                <a:extLst>
                  <a:ext uri="{FF2B5EF4-FFF2-40B4-BE49-F238E27FC236}">
                    <a16:creationId xmlns:a16="http://schemas.microsoft.com/office/drawing/2014/main" id="{7503914E-B5D3-137C-EFBA-E97EB19805D4}"/>
                  </a:ext>
                </a:extLst>
              </p:cNvPr>
              <p:cNvSpPr/>
              <p:nvPr/>
            </p:nvSpPr>
            <p:spPr>
              <a:xfrm rot="-1992000">
                <a:off x="7299078" y="3851343"/>
                <a:ext cx="250351" cy="18585"/>
              </a:xfrm>
              <a:custGeom>
                <a:avLst/>
                <a:gdLst>
                  <a:gd name="connsiteX0" fmla="*/ 0 w 250351"/>
                  <a:gd name="connsiteY0" fmla="*/ 0 h 18585"/>
                  <a:gd name="connsiteX1" fmla="*/ 250352 w 250351"/>
                  <a:gd name="connsiteY1" fmla="*/ 0 h 18585"/>
                  <a:gd name="connsiteX2" fmla="*/ 250352 w 250351"/>
                  <a:gd name="connsiteY2" fmla="*/ 18586 h 18585"/>
                  <a:gd name="connsiteX3" fmla="*/ 0 w 250351"/>
                  <a:gd name="connsiteY3" fmla="*/ 18586 h 18585"/>
                </a:gdLst>
                <a:ahLst/>
                <a:cxnLst>
                  <a:cxn ang="0">
                    <a:pos x="connsiteX0" y="connsiteY0"/>
                  </a:cxn>
                  <a:cxn ang="0">
                    <a:pos x="connsiteX1" y="connsiteY1"/>
                  </a:cxn>
                  <a:cxn ang="0">
                    <a:pos x="connsiteX2" y="connsiteY2"/>
                  </a:cxn>
                  <a:cxn ang="0">
                    <a:pos x="connsiteX3" y="connsiteY3"/>
                  </a:cxn>
                </a:cxnLst>
                <a:rect l="l" t="t" r="r" b="b"/>
                <a:pathLst>
                  <a:path w="250351" h="18585">
                    <a:moveTo>
                      <a:pt x="0" y="0"/>
                    </a:moveTo>
                    <a:lnTo>
                      <a:pt x="250352" y="0"/>
                    </a:lnTo>
                    <a:lnTo>
                      <a:pt x="250352" y="18586"/>
                    </a:lnTo>
                    <a:lnTo>
                      <a:pt x="0" y="18586"/>
                    </a:lnTo>
                    <a:close/>
                  </a:path>
                </a:pathLst>
              </a:custGeom>
              <a:solidFill>
                <a:srgbClr val="4DA8F2"/>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64" name="Freeform: Shape 163">
                <a:extLst>
                  <a:ext uri="{FF2B5EF4-FFF2-40B4-BE49-F238E27FC236}">
                    <a16:creationId xmlns:a16="http://schemas.microsoft.com/office/drawing/2014/main" id="{714AD65A-D088-3291-4FF7-829E7782FC93}"/>
                  </a:ext>
                </a:extLst>
              </p:cNvPr>
              <p:cNvSpPr/>
              <p:nvPr/>
            </p:nvSpPr>
            <p:spPr>
              <a:xfrm>
                <a:off x="7402285" y="3798734"/>
                <a:ext cx="154064" cy="168824"/>
              </a:xfrm>
              <a:custGeom>
                <a:avLst/>
                <a:gdLst>
                  <a:gd name="connsiteX0" fmla="*/ 154065 w 154064"/>
                  <a:gd name="connsiteY0" fmla="*/ 63896 h 168824"/>
                  <a:gd name="connsiteX1" fmla="*/ 148682 w 154064"/>
                  <a:gd name="connsiteY1" fmla="*/ 80493 h 168824"/>
                  <a:gd name="connsiteX2" fmla="*/ 137297 w 154064"/>
                  <a:gd name="connsiteY2" fmla="*/ 94757 h 168824"/>
                  <a:gd name="connsiteX3" fmla="*/ 134006 w 154064"/>
                  <a:gd name="connsiteY3" fmla="*/ 99627 h 168824"/>
                  <a:gd name="connsiteX4" fmla="*/ 116689 w 154064"/>
                  <a:gd name="connsiteY4" fmla="*/ 126510 h 168824"/>
                  <a:gd name="connsiteX5" fmla="*/ 67860 w 154064"/>
                  <a:gd name="connsiteY5" fmla="*/ 168824 h 168824"/>
                  <a:gd name="connsiteX6" fmla="*/ 34565 w 154064"/>
                  <a:gd name="connsiteY6" fmla="*/ 140569 h 168824"/>
                  <a:gd name="connsiteX7" fmla="*/ 0 w 154064"/>
                  <a:gd name="connsiteY7" fmla="*/ 125070 h 168824"/>
                  <a:gd name="connsiteX8" fmla="*/ 27569 w 154064"/>
                  <a:gd name="connsiteY8" fmla="*/ 30464 h 168824"/>
                  <a:gd name="connsiteX9" fmla="*/ 30072 w 154064"/>
                  <a:gd name="connsiteY9" fmla="*/ 27618 h 168824"/>
                  <a:gd name="connsiteX10" fmla="*/ 51744 w 154064"/>
                  <a:gd name="connsiteY10" fmla="*/ 12702 h 168824"/>
                  <a:gd name="connsiteX11" fmla="*/ 77564 w 154064"/>
                  <a:gd name="connsiteY11" fmla="*/ 151 h 168824"/>
                  <a:gd name="connsiteX12" fmla="*/ 93543 w 154064"/>
                  <a:gd name="connsiteY12" fmla="*/ 13490 h 168824"/>
                  <a:gd name="connsiteX13" fmla="*/ 117203 w 154064"/>
                  <a:gd name="connsiteY13" fmla="*/ 28715 h 168824"/>
                  <a:gd name="connsiteX14" fmla="*/ 137777 w 154064"/>
                  <a:gd name="connsiteY14" fmla="*/ 47815 h 168824"/>
                  <a:gd name="connsiteX15" fmla="*/ 154065 w 154064"/>
                  <a:gd name="connsiteY15" fmla="*/ 63931 h 168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4064" h="168824">
                    <a:moveTo>
                      <a:pt x="154065" y="63896"/>
                    </a:moveTo>
                    <a:cubicBezTo>
                      <a:pt x="154065" y="63896"/>
                      <a:pt x="152076" y="75727"/>
                      <a:pt x="148682" y="80493"/>
                    </a:cubicBezTo>
                    <a:cubicBezTo>
                      <a:pt x="148682" y="80493"/>
                      <a:pt x="141824" y="88654"/>
                      <a:pt x="137297" y="94757"/>
                    </a:cubicBezTo>
                    <a:cubicBezTo>
                      <a:pt x="135857" y="96712"/>
                      <a:pt x="134657" y="98427"/>
                      <a:pt x="134006" y="99627"/>
                    </a:cubicBezTo>
                    <a:cubicBezTo>
                      <a:pt x="131262" y="104599"/>
                      <a:pt x="126701" y="116395"/>
                      <a:pt x="116689" y="126510"/>
                    </a:cubicBezTo>
                    <a:cubicBezTo>
                      <a:pt x="106711" y="136626"/>
                      <a:pt x="67860" y="168824"/>
                      <a:pt x="67860" y="168824"/>
                    </a:cubicBezTo>
                    <a:lnTo>
                      <a:pt x="34565" y="140569"/>
                    </a:lnTo>
                    <a:lnTo>
                      <a:pt x="0" y="125070"/>
                    </a:lnTo>
                    <a:cubicBezTo>
                      <a:pt x="0" y="125070"/>
                      <a:pt x="19340" y="40957"/>
                      <a:pt x="27569" y="30464"/>
                    </a:cubicBezTo>
                    <a:cubicBezTo>
                      <a:pt x="28392" y="29435"/>
                      <a:pt x="29215" y="28475"/>
                      <a:pt x="30072" y="27618"/>
                    </a:cubicBezTo>
                    <a:cubicBezTo>
                      <a:pt x="37891" y="19388"/>
                      <a:pt x="47149" y="16576"/>
                      <a:pt x="51744" y="12702"/>
                    </a:cubicBezTo>
                    <a:cubicBezTo>
                      <a:pt x="53424" y="11296"/>
                      <a:pt x="71220" y="-1529"/>
                      <a:pt x="77564" y="151"/>
                    </a:cubicBezTo>
                    <a:cubicBezTo>
                      <a:pt x="86376" y="2449"/>
                      <a:pt x="91520" y="7593"/>
                      <a:pt x="93543" y="13490"/>
                    </a:cubicBezTo>
                    <a:cubicBezTo>
                      <a:pt x="93543" y="13490"/>
                      <a:pt x="110585" y="18737"/>
                      <a:pt x="117203" y="28715"/>
                    </a:cubicBezTo>
                    <a:cubicBezTo>
                      <a:pt x="117203" y="28715"/>
                      <a:pt x="133080" y="33035"/>
                      <a:pt x="137777" y="47815"/>
                    </a:cubicBezTo>
                    <a:cubicBezTo>
                      <a:pt x="137777" y="47815"/>
                      <a:pt x="153379" y="53987"/>
                      <a:pt x="154065" y="63931"/>
                    </a:cubicBezTo>
                    <a:close/>
                  </a:path>
                </a:pathLst>
              </a:custGeom>
              <a:solidFill>
                <a:srgbClr val="EFAA8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65" name="Freeform: Shape 164">
                <a:extLst>
                  <a:ext uri="{FF2B5EF4-FFF2-40B4-BE49-F238E27FC236}">
                    <a16:creationId xmlns:a16="http://schemas.microsoft.com/office/drawing/2014/main" id="{58DF01D9-11C5-9B89-3101-8B9DEE658E42}"/>
                  </a:ext>
                </a:extLst>
              </p:cNvPr>
              <p:cNvSpPr/>
              <p:nvPr/>
            </p:nvSpPr>
            <p:spPr>
              <a:xfrm>
                <a:off x="6238070" y="6423083"/>
                <a:ext cx="109625" cy="76928"/>
              </a:xfrm>
              <a:custGeom>
                <a:avLst/>
                <a:gdLst>
                  <a:gd name="connsiteX0" fmla="*/ 109625 w 109625"/>
                  <a:gd name="connsiteY0" fmla="*/ 7457 h 76928"/>
                  <a:gd name="connsiteX1" fmla="*/ 100230 w 109625"/>
                  <a:gd name="connsiteY1" fmla="*/ 74048 h 76928"/>
                  <a:gd name="connsiteX2" fmla="*/ 7441 w 109625"/>
                  <a:gd name="connsiteY2" fmla="*/ 68939 h 76928"/>
                  <a:gd name="connsiteX3" fmla="*/ 0 w 109625"/>
                  <a:gd name="connsiteY3" fmla="*/ 16 h 76928"/>
                  <a:gd name="connsiteX4" fmla="*/ 109591 w 109625"/>
                  <a:gd name="connsiteY4" fmla="*/ 7457 h 76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25" h="76928">
                    <a:moveTo>
                      <a:pt x="109625" y="7457"/>
                    </a:moveTo>
                    <a:cubicBezTo>
                      <a:pt x="109625" y="7457"/>
                      <a:pt x="101293" y="65373"/>
                      <a:pt x="100230" y="74048"/>
                    </a:cubicBezTo>
                    <a:cubicBezTo>
                      <a:pt x="99201" y="82758"/>
                      <a:pt x="7441" y="68939"/>
                      <a:pt x="7441" y="68939"/>
                    </a:cubicBezTo>
                    <a:lnTo>
                      <a:pt x="0" y="16"/>
                    </a:lnTo>
                    <a:cubicBezTo>
                      <a:pt x="0" y="16"/>
                      <a:pt x="98138" y="-704"/>
                      <a:pt x="109591" y="7457"/>
                    </a:cubicBezTo>
                    <a:close/>
                  </a:path>
                </a:pathLst>
              </a:custGeom>
              <a:solidFill>
                <a:srgbClr val="4247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66" name="Freeform: Shape 165">
                <a:extLst>
                  <a:ext uri="{FF2B5EF4-FFF2-40B4-BE49-F238E27FC236}">
                    <a16:creationId xmlns:a16="http://schemas.microsoft.com/office/drawing/2014/main" id="{16AA918F-B456-B1DB-D1E2-E4AB00DF221E}"/>
                  </a:ext>
                </a:extLst>
              </p:cNvPr>
              <p:cNvSpPr/>
              <p:nvPr/>
            </p:nvSpPr>
            <p:spPr>
              <a:xfrm>
                <a:off x="6223749" y="6485850"/>
                <a:ext cx="274765" cy="151113"/>
              </a:xfrm>
              <a:custGeom>
                <a:avLst/>
                <a:gdLst>
                  <a:gd name="connsiteX0" fmla="*/ 115545 w 274765"/>
                  <a:gd name="connsiteY0" fmla="*/ 3943 h 151113"/>
                  <a:gd name="connsiteX1" fmla="*/ 172741 w 274765"/>
                  <a:gd name="connsiteY1" fmla="*/ 54041 h 151113"/>
                  <a:gd name="connsiteX2" fmla="*/ 261655 w 274765"/>
                  <a:gd name="connsiteY2" fmla="*/ 91006 h 151113"/>
                  <a:gd name="connsiteX3" fmla="*/ 188583 w 274765"/>
                  <a:gd name="connsiteY3" fmla="*/ 150293 h 151113"/>
                  <a:gd name="connsiteX4" fmla="*/ 3006 w 274765"/>
                  <a:gd name="connsiteY4" fmla="*/ 138429 h 151113"/>
                  <a:gd name="connsiteX5" fmla="*/ 21110 w 274765"/>
                  <a:gd name="connsiteY5" fmla="*/ 0 h 151113"/>
                  <a:gd name="connsiteX6" fmla="*/ 115545 w 274765"/>
                  <a:gd name="connsiteY6" fmla="*/ 3909 h 15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765" h="151113">
                    <a:moveTo>
                      <a:pt x="115545" y="3943"/>
                    </a:moveTo>
                    <a:cubicBezTo>
                      <a:pt x="115545" y="3943"/>
                      <a:pt x="144623" y="38817"/>
                      <a:pt x="172741" y="54041"/>
                    </a:cubicBezTo>
                    <a:cubicBezTo>
                      <a:pt x="200859" y="69266"/>
                      <a:pt x="245024" y="75267"/>
                      <a:pt x="261655" y="91006"/>
                    </a:cubicBezTo>
                    <a:cubicBezTo>
                      <a:pt x="273656" y="102356"/>
                      <a:pt x="305375" y="151287"/>
                      <a:pt x="188583" y="150293"/>
                    </a:cubicBezTo>
                    <a:cubicBezTo>
                      <a:pt x="71825" y="149299"/>
                      <a:pt x="15521" y="157186"/>
                      <a:pt x="3006" y="138429"/>
                    </a:cubicBezTo>
                    <a:cubicBezTo>
                      <a:pt x="-9510" y="119672"/>
                      <a:pt x="21110" y="0"/>
                      <a:pt x="21110" y="0"/>
                    </a:cubicBezTo>
                    <a:cubicBezTo>
                      <a:pt x="21110" y="0"/>
                      <a:pt x="48783" y="9944"/>
                      <a:pt x="115545" y="3909"/>
                    </a:cubicBezTo>
                    <a:close/>
                  </a:path>
                </a:pathLst>
              </a:custGeom>
              <a:solidFill>
                <a:srgbClr val="292C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67" name="Freeform: Shape 166">
                <a:extLst>
                  <a:ext uri="{FF2B5EF4-FFF2-40B4-BE49-F238E27FC236}">
                    <a16:creationId xmlns:a16="http://schemas.microsoft.com/office/drawing/2014/main" id="{4D01E78F-8279-5496-E7F6-47EC4D776E55}"/>
                  </a:ext>
                </a:extLst>
              </p:cNvPr>
              <p:cNvSpPr/>
              <p:nvPr/>
            </p:nvSpPr>
            <p:spPr>
              <a:xfrm>
                <a:off x="6895479" y="6423083"/>
                <a:ext cx="109625" cy="76928"/>
              </a:xfrm>
              <a:custGeom>
                <a:avLst/>
                <a:gdLst>
                  <a:gd name="connsiteX0" fmla="*/ 109625 w 109625"/>
                  <a:gd name="connsiteY0" fmla="*/ 7457 h 76928"/>
                  <a:gd name="connsiteX1" fmla="*/ 100230 w 109625"/>
                  <a:gd name="connsiteY1" fmla="*/ 74048 h 76928"/>
                  <a:gd name="connsiteX2" fmla="*/ 7441 w 109625"/>
                  <a:gd name="connsiteY2" fmla="*/ 68939 h 76928"/>
                  <a:gd name="connsiteX3" fmla="*/ 0 w 109625"/>
                  <a:gd name="connsiteY3" fmla="*/ 16 h 76928"/>
                  <a:gd name="connsiteX4" fmla="*/ 109591 w 109625"/>
                  <a:gd name="connsiteY4" fmla="*/ 7457 h 76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25" h="76928">
                    <a:moveTo>
                      <a:pt x="109625" y="7457"/>
                    </a:moveTo>
                    <a:cubicBezTo>
                      <a:pt x="109625" y="7457"/>
                      <a:pt x="101292" y="65373"/>
                      <a:pt x="100230" y="74048"/>
                    </a:cubicBezTo>
                    <a:cubicBezTo>
                      <a:pt x="99201" y="82758"/>
                      <a:pt x="7441" y="68939"/>
                      <a:pt x="7441" y="68939"/>
                    </a:cubicBezTo>
                    <a:lnTo>
                      <a:pt x="0" y="16"/>
                    </a:lnTo>
                    <a:cubicBezTo>
                      <a:pt x="0" y="16"/>
                      <a:pt x="98138" y="-704"/>
                      <a:pt x="109591" y="7457"/>
                    </a:cubicBezTo>
                    <a:close/>
                  </a:path>
                </a:pathLst>
              </a:custGeom>
              <a:solidFill>
                <a:srgbClr val="42477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68" name="Freeform: Shape 167">
                <a:extLst>
                  <a:ext uri="{FF2B5EF4-FFF2-40B4-BE49-F238E27FC236}">
                    <a16:creationId xmlns:a16="http://schemas.microsoft.com/office/drawing/2014/main" id="{63689EDD-9C6F-44B3-D5EC-1B9D09B71597}"/>
                  </a:ext>
                </a:extLst>
              </p:cNvPr>
              <p:cNvSpPr/>
              <p:nvPr/>
            </p:nvSpPr>
            <p:spPr>
              <a:xfrm>
                <a:off x="6881157" y="6485884"/>
                <a:ext cx="328705" cy="150571"/>
              </a:xfrm>
              <a:custGeom>
                <a:avLst/>
                <a:gdLst>
                  <a:gd name="connsiteX0" fmla="*/ 115545 w 328705"/>
                  <a:gd name="connsiteY0" fmla="*/ 3909 h 150571"/>
                  <a:gd name="connsiteX1" fmla="*/ 172741 w 328705"/>
                  <a:gd name="connsiteY1" fmla="*/ 54007 h 150571"/>
                  <a:gd name="connsiteX2" fmla="*/ 320943 w 328705"/>
                  <a:gd name="connsiteY2" fmla="*/ 97452 h 150571"/>
                  <a:gd name="connsiteX3" fmla="*/ 188583 w 328705"/>
                  <a:gd name="connsiteY3" fmla="*/ 150293 h 150571"/>
                  <a:gd name="connsiteX4" fmla="*/ 3006 w 328705"/>
                  <a:gd name="connsiteY4" fmla="*/ 138429 h 150571"/>
                  <a:gd name="connsiteX5" fmla="*/ 21111 w 328705"/>
                  <a:gd name="connsiteY5" fmla="*/ 0 h 150571"/>
                  <a:gd name="connsiteX6" fmla="*/ 115545 w 328705"/>
                  <a:gd name="connsiteY6" fmla="*/ 3909 h 150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8705" h="150571">
                    <a:moveTo>
                      <a:pt x="115545" y="3909"/>
                    </a:moveTo>
                    <a:cubicBezTo>
                      <a:pt x="115545" y="3909"/>
                      <a:pt x="144623" y="38782"/>
                      <a:pt x="172741" y="54007"/>
                    </a:cubicBezTo>
                    <a:cubicBezTo>
                      <a:pt x="200859" y="69232"/>
                      <a:pt x="304312" y="81713"/>
                      <a:pt x="320943" y="97452"/>
                    </a:cubicBezTo>
                    <a:cubicBezTo>
                      <a:pt x="332944" y="108802"/>
                      <a:pt x="352900" y="154545"/>
                      <a:pt x="188583" y="150293"/>
                    </a:cubicBezTo>
                    <a:cubicBezTo>
                      <a:pt x="71860" y="147241"/>
                      <a:pt x="15521" y="157185"/>
                      <a:pt x="3006" y="138429"/>
                    </a:cubicBezTo>
                    <a:cubicBezTo>
                      <a:pt x="-9510" y="119672"/>
                      <a:pt x="21111" y="0"/>
                      <a:pt x="21111" y="0"/>
                    </a:cubicBezTo>
                    <a:cubicBezTo>
                      <a:pt x="21111" y="0"/>
                      <a:pt x="47171" y="10630"/>
                      <a:pt x="115545" y="3909"/>
                    </a:cubicBezTo>
                    <a:close/>
                  </a:path>
                </a:pathLst>
              </a:custGeom>
              <a:solidFill>
                <a:srgbClr val="292C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69" name="Freeform: Shape 168">
                <a:extLst>
                  <a:ext uri="{FF2B5EF4-FFF2-40B4-BE49-F238E27FC236}">
                    <a16:creationId xmlns:a16="http://schemas.microsoft.com/office/drawing/2014/main" id="{CD3A0E26-F5E0-9EF3-5D86-498E77E43258}"/>
                  </a:ext>
                </a:extLst>
              </p:cNvPr>
              <p:cNvSpPr/>
              <p:nvPr/>
            </p:nvSpPr>
            <p:spPr>
              <a:xfrm>
                <a:off x="6223737" y="4942800"/>
                <a:ext cx="410411" cy="1537906"/>
              </a:xfrm>
              <a:custGeom>
                <a:avLst/>
                <a:gdLst>
                  <a:gd name="connsiteX0" fmla="*/ 199945 w 410411"/>
                  <a:gd name="connsiteY0" fmla="*/ 0 h 1537906"/>
                  <a:gd name="connsiteX1" fmla="*/ 120152 w 410411"/>
                  <a:gd name="connsiteY1" fmla="*/ 260776 h 1537906"/>
                  <a:gd name="connsiteX2" fmla="*/ 75952 w 410411"/>
                  <a:gd name="connsiteY2" fmla="*/ 649110 h 1537906"/>
                  <a:gd name="connsiteX3" fmla="*/ 274 w 410411"/>
                  <a:gd name="connsiteY3" fmla="*/ 1211774 h 1537906"/>
                  <a:gd name="connsiteX4" fmla="*/ 9430 w 410411"/>
                  <a:gd name="connsiteY4" fmla="*/ 1535198 h 1537906"/>
                  <a:gd name="connsiteX5" fmla="*/ 127696 w 410411"/>
                  <a:gd name="connsiteY5" fmla="*/ 1537907 h 1537906"/>
                  <a:gd name="connsiteX6" fmla="*/ 252751 w 410411"/>
                  <a:gd name="connsiteY6" fmla="*/ 880259 h 1537906"/>
                  <a:gd name="connsiteX7" fmla="*/ 410348 w 410411"/>
                  <a:gd name="connsiteY7" fmla="*/ 336556 h 1537906"/>
                  <a:gd name="connsiteX8" fmla="*/ 199910 w 410411"/>
                  <a:gd name="connsiteY8" fmla="*/ 34 h 153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0411" h="1537906">
                    <a:moveTo>
                      <a:pt x="199945" y="0"/>
                    </a:moveTo>
                    <a:cubicBezTo>
                      <a:pt x="199945" y="0"/>
                      <a:pt x="113740" y="136989"/>
                      <a:pt x="120152" y="260776"/>
                    </a:cubicBezTo>
                    <a:cubicBezTo>
                      <a:pt x="126598" y="384597"/>
                      <a:pt x="88879" y="519768"/>
                      <a:pt x="75952" y="649110"/>
                    </a:cubicBezTo>
                    <a:cubicBezTo>
                      <a:pt x="61516" y="793299"/>
                      <a:pt x="2434" y="1134656"/>
                      <a:pt x="274" y="1211774"/>
                    </a:cubicBezTo>
                    <a:cubicBezTo>
                      <a:pt x="-1886" y="1288893"/>
                      <a:pt x="9430" y="1535198"/>
                      <a:pt x="9430" y="1535198"/>
                    </a:cubicBezTo>
                    <a:lnTo>
                      <a:pt x="127696" y="1537907"/>
                    </a:lnTo>
                    <a:cubicBezTo>
                      <a:pt x="127696" y="1537907"/>
                      <a:pt x="227034" y="941124"/>
                      <a:pt x="252751" y="880259"/>
                    </a:cubicBezTo>
                    <a:cubicBezTo>
                      <a:pt x="278469" y="819360"/>
                      <a:pt x="406062" y="385248"/>
                      <a:pt x="410348" y="336556"/>
                    </a:cubicBezTo>
                    <a:cubicBezTo>
                      <a:pt x="414634" y="287830"/>
                      <a:pt x="199910" y="34"/>
                      <a:pt x="199910" y="34"/>
                    </a:cubicBezTo>
                    <a:close/>
                  </a:path>
                </a:pathLst>
              </a:custGeom>
              <a:solidFill>
                <a:srgbClr val="292C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70" name="Freeform: Shape 169">
                <a:extLst>
                  <a:ext uri="{FF2B5EF4-FFF2-40B4-BE49-F238E27FC236}">
                    <a16:creationId xmlns:a16="http://schemas.microsoft.com/office/drawing/2014/main" id="{B8E6ADB3-5D55-AB0F-D3D6-B936DD80A3C2}"/>
                  </a:ext>
                </a:extLst>
              </p:cNvPr>
              <p:cNvSpPr/>
              <p:nvPr/>
            </p:nvSpPr>
            <p:spPr>
              <a:xfrm>
                <a:off x="6380305" y="4919180"/>
                <a:ext cx="640811" cy="1561526"/>
              </a:xfrm>
              <a:custGeom>
                <a:avLst/>
                <a:gdLst>
                  <a:gd name="connsiteX0" fmla="*/ 497205 w 640811"/>
                  <a:gd name="connsiteY0" fmla="*/ 42171 h 1561526"/>
                  <a:gd name="connsiteX1" fmla="*/ 570757 w 640811"/>
                  <a:gd name="connsiteY1" fmla="*/ 457285 h 1561526"/>
                  <a:gd name="connsiteX2" fmla="*/ 589343 w 640811"/>
                  <a:gd name="connsiteY2" fmla="*/ 871371 h 1561526"/>
                  <a:gd name="connsiteX3" fmla="*/ 640812 w 640811"/>
                  <a:gd name="connsiteY3" fmla="*/ 1561526 h 1561526"/>
                  <a:gd name="connsiteX4" fmla="*/ 489593 w 640811"/>
                  <a:gd name="connsiteY4" fmla="*/ 1561526 h 1561526"/>
                  <a:gd name="connsiteX5" fmla="*/ 373521 w 640811"/>
                  <a:gd name="connsiteY5" fmla="*/ 948524 h 1561526"/>
                  <a:gd name="connsiteX6" fmla="*/ 225971 w 640811"/>
                  <a:gd name="connsiteY6" fmla="*/ 390591 h 1561526"/>
                  <a:gd name="connsiteX7" fmla="*/ 0 w 640811"/>
                  <a:gd name="connsiteY7" fmla="*/ 16591 h 1561526"/>
                  <a:gd name="connsiteX8" fmla="*/ 497205 w 640811"/>
                  <a:gd name="connsiteY8" fmla="*/ 42171 h 1561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0811" h="1561526">
                    <a:moveTo>
                      <a:pt x="497205" y="42171"/>
                    </a:moveTo>
                    <a:cubicBezTo>
                      <a:pt x="497205" y="42171"/>
                      <a:pt x="562185" y="381504"/>
                      <a:pt x="570757" y="457285"/>
                    </a:cubicBezTo>
                    <a:cubicBezTo>
                      <a:pt x="579330" y="533067"/>
                      <a:pt x="585056" y="824017"/>
                      <a:pt x="589343" y="871371"/>
                    </a:cubicBezTo>
                    <a:cubicBezTo>
                      <a:pt x="593629" y="918726"/>
                      <a:pt x="629393" y="1489723"/>
                      <a:pt x="640812" y="1561526"/>
                    </a:cubicBezTo>
                    <a:lnTo>
                      <a:pt x="489593" y="1561526"/>
                    </a:lnTo>
                    <a:cubicBezTo>
                      <a:pt x="489593" y="1561526"/>
                      <a:pt x="373521" y="1145417"/>
                      <a:pt x="373521" y="948524"/>
                    </a:cubicBezTo>
                    <a:cubicBezTo>
                      <a:pt x="373521" y="751631"/>
                      <a:pt x="283853" y="520516"/>
                      <a:pt x="225971" y="390591"/>
                    </a:cubicBezTo>
                    <a:cubicBezTo>
                      <a:pt x="168090" y="260701"/>
                      <a:pt x="35593" y="257615"/>
                      <a:pt x="0" y="16591"/>
                    </a:cubicBezTo>
                    <a:cubicBezTo>
                      <a:pt x="0" y="16591"/>
                      <a:pt x="449028" y="-34296"/>
                      <a:pt x="497205" y="42171"/>
                    </a:cubicBezTo>
                    <a:close/>
                  </a:path>
                </a:pathLst>
              </a:custGeom>
              <a:solidFill>
                <a:srgbClr val="292C4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71" name="Freeform: Shape 170">
                <a:extLst>
                  <a:ext uri="{FF2B5EF4-FFF2-40B4-BE49-F238E27FC236}">
                    <a16:creationId xmlns:a16="http://schemas.microsoft.com/office/drawing/2014/main" id="{532A9063-08B6-462D-6273-4E336EFBA6EC}"/>
                  </a:ext>
                </a:extLst>
              </p:cNvPr>
              <p:cNvSpPr/>
              <p:nvPr/>
            </p:nvSpPr>
            <p:spPr>
              <a:xfrm>
                <a:off x="6495131" y="3780641"/>
                <a:ext cx="278499" cy="351887"/>
              </a:xfrm>
              <a:custGeom>
                <a:avLst/>
                <a:gdLst>
                  <a:gd name="connsiteX0" fmla="*/ 72398 w 278499"/>
                  <a:gd name="connsiteY0" fmla="*/ 10598 h 351887"/>
                  <a:gd name="connsiteX1" fmla="*/ 241481 w 278499"/>
                  <a:gd name="connsiteY1" fmla="*/ 55450 h 351887"/>
                  <a:gd name="connsiteX2" fmla="*/ 231366 w 278499"/>
                  <a:gd name="connsiteY2" fmla="*/ 341566 h 351887"/>
                  <a:gd name="connsiteX3" fmla="*/ 55561 w 278499"/>
                  <a:gd name="connsiteY3" fmla="*/ 296783 h 351887"/>
                  <a:gd name="connsiteX4" fmla="*/ 45 w 278499"/>
                  <a:gd name="connsiteY4" fmla="*/ 108736 h 351887"/>
                  <a:gd name="connsiteX5" fmla="*/ 72432 w 278499"/>
                  <a:gd name="connsiteY5" fmla="*/ 10598 h 351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499" h="351887">
                    <a:moveTo>
                      <a:pt x="72398" y="10598"/>
                    </a:moveTo>
                    <a:cubicBezTo>
                      <a:pt x="72398" y="10598"/>
                      <a:pt x="188126" y="-32607"/>
                      <a:pt x="241481" y="55450"/>
                    </a:cubicBezTo>
                    <a:cubicBezTo>
                      <a:pt x="294837" y="143541"/>
                      <a:pt x="289693" y="319894"/>
                      <a:pt x="231366" y="341566"/>
                    </a:cubicBezTo>
                    <a:cubicBezTo>
                      <a:pt x="173039" y="363237"/>
                      <a:pt x="85428" y="351921"/>
                      <a:pt x="55561" y="296783"/>
                    </a:cubicBezTo>
                    <a:cubicBezTo>
                      <a:pt x="25695" y="241679"/>
                      <a:pt x="-1257" y="161989"/>
                      <a:pt x="45" y="108736"/>
                    </a:cubicBezTo>
                    <a:cubicBezTo>
                      <a:pt x="1348" y="55484"/>
                      <a:pt x="42051" y="25960"/>
                      <a:pt x="72432" y="10598"/>
                    </a:cubicBezTo>
                    <a:close/>
                  </a:path>
                </a:pathLst>
              </a:custGeom>
              <a:solidFill>
                <a:srgbClr val="EEA8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72" name="Freeform: Shape 171">
                <a:extLst>
                  <a:ext uri="{FF2B5EF4-FFF2-40B4-BE49-F238E27FC236}">
                    <a16:creationId xmlns:a16="http://schemas.microsoft.com/office/drawing/2014/main" id="{68513583-02FB-79CD-0E45-F98B36D5E6B1}"/>
                  </a:ext>
                </a:extLst>
              </p:cNvPr>
              <p:cNvSpPr/>
              <p:nvPr/>
            </p:nvSpPr>
            <p:spPr>
              <a:xfrm>
                <a:off x="6528110" y="4016401"/>
                <a:ext cx="189283" cy="172259"/>
              </a:xfrm>
              <a:custGeom>
                <a:avLst/>
                <a:gdLst>
                  <a:gd name="connsiteX0" fmla="*/ 185838 w 189283"/>
                  <a:gd name="connsiteY0" fmla="*/ 109817 h 172259"/>
                  <a:gd name="connsiteX1" fmla="*/ 188992 w 189283"/>
                  <a:gd name="connsiteY1" fmla="*/ 156452 h 172259"/>
                  <a:gd name="connsiteX2" fmla="*/ 39076 w 189283"/>
                  <a:gd name="connsiteY2" fmla="*/ 172260 h 172259"/>
                  <a:gd name="connsiteX3" fmla="*/ 1975 w 189283"/>
                  <a:gd name="connsiteY3" fmla="*/ 17817 h 172259"/>
                  <a:gd name="connsiteX4" fmla="*/ 185872 w 189283"/>
                  <a:gd name="connsiteY4" fmla="*/ 109817 h 172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283" h="172259">
                    <a:moveTo>
                      <a:pt x="185838" y="109817"/>
                    </a:moveTo>
                    <a:cubicBezTo>
                      <a:pt x="185838" y="109817"/>
                      <a:pt x="181037" y="141055"/>
                      <a:pt x="188992" y="156452"/>
                    </a:cubicBezTo>
                    <a:cubicBezTo>
                      <a:pt x="196948" y="171848"/>
                      <a:pt x="39076" y="172260"/>
                      <a:pt x="39076" y="172260"/>
                    </a:cubicBezTo>
                    <a:cubicBezTo>
                      <a:pt x="39076" y="172260"/>
                      <a:pt x="26252" y="88558"/>
                      <a:pt x="1975" y="17817"/>
                    </a:cubicBezTo>
                    <a:cubicBezTo>
                      <a:pt x="-22337" y="-52923"/>
                      <a:pt x="185872" y="109817"/>
                      <a:pt x="185872" y="109817"/>
                    </a:cubicBezTo>
                    <a:close/>
                  </a:path>
                </a:pathLst>
              </a:custGeom>
              <a:solidFill>
                <a:srgbClr val="EEA8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73" name="Freeform: Shape 172">
                <a:extLst>
                  <a:ext uri="{FF2B5EF4-FFF2-40B4-BE49-F238E27FC236}">
                    <a16:creationId xmlns:a16="http://schemas.microsoft.com/office/drawing/2014/main" id="{A616F51F-16A8-D8E8-FDA6-1F205E4F481B}"/>
                  </a:ext>
                </a:extLst>
              </p:cNvPr>
              <p:cNvSpPr/>
              <p:nvPr/>
            </p:nvSpPr>
            <p:spPr>
              <a:xfrm>
                <a:off x="6485504" y="3767248"/>
                <a:ext cx="283169" cy="279579"/>
              </a:xfrm>
              <a:custGeom>
                <a:avLst/>
                <a:gdLst>
                  <a:gd name="connsiteX0" fmla="*/ 44545 w 283169"/>
                  <a:gd name="connsiteY0" fmla="*/ 266970 h 279579"/>
                  <a:gd name="connsiteX1" fmla="*/ 99924 w 283169"/>
                  <a:gd name="connsiteY1" fmla="*/ 277977 h 279579"/>
                  <a:gd name="connsiteX2" fmla="*/ 217230 w 283169"/>
                  <a:gd name="connsiteY2" fmla="*/ 205317 h 279579"/>
                  <a:gd name="connsiteX3" fmla="*/ 235986 w 283169"/>
                  <a:gd name="connsiteY3" fmla="*/ 187897 h 279579"/>
                  <a:gd name="connsiteX4" fmla="*/ 247611 w 283169"/>
                  <a:gd name="connsiteY4" fmla="*/ 204871 h 279579"/>
                  <a:gd name="connsiteX5" fmla="*/ 267328 w 283169"/>
                  <a:gd name="connsiteY5" fmla="*/ 206105 h 279579"/>
                  <a:gd name="connsiteX6" fmla="*/ 276483 w 283169"/>
                  <a:gd name="connsiteY6" fmla="*/ 131593 h 279579"/>
                  <a:gd name="connsiteX7" fmla="*/ 105684 w 283169"/>
                  <a:gd name="connsiteY7" fmla="*/ 10104 h 279579"/>
                  <a:gd name="connsiteX8" fmla="*/ 106 w 283169"/>
                  <a:gd name="connsiteY8" fmla="*/ 102618 h 279579"/>
                  <a:gd name="connsiteX9" fmla="*/ 44545 w 283169"/>
                  <a:gd name="connsiteY9" fmla="*/ 266936 h 279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3169" h="279579">
                    <a:moveTo>
                      <a:pt x="44545" y="266970"/>
                    </a:moveTo>
                    <a:cubicBezTo>
                      <a:pt x="44545" y="266970"/>
                      <a:pt x="55450" y="284938"/>
                      <a:pt x="99924" y="277977"/>
                    </a:cubicBezTo>
                    <a:cubicBezTo>
                      <a:pt x="144398" y="271017"/>
                      <a:pt x="198679" y="211832"/>
                      <a:pt x="217230" y="205317"/>
                    </a:cubicBezTo>
                    <a:cubicBezTo>
                      <a:pt x="235781" y="198802"/>
                      <a:pt x="235986" y="187897"/>
                      <a:pt x="235986" y="187897"/>
                    </a:cubicBezTo>
                    <a:lnTo>
                      <a:pt x="247611" y="204871"/>
                    </a:lnTo>
                    <a:lnTo>
                      <a:pt x="267328" y="206105"/>
                    </a:lnTo>
                    <a:cubicBezTo>
                      <a:pt x="267328" y="206105"/>
                      <a:pt x="249325" y="153162"/>
                      <a:pt x="276483" y="131593"/>
                    </a:cubicBezTo>
                    <a:cubicBezTo>
                      <a:pt x="303641" y="109990"/>
                      <a:pt x="248331" y="-39754"/>
                      <a:pt x="105684" y="10104"/>
                    </a:cubicBezTo>
                    <a:cubicBezTo>
                      <a:pt x="105684" y="10104"/>
                      <a:pt x="-3872" y="40313"/>
                      <a:pt x="106" y="102618"/>
                    </a:cubicBezTo>
                    <a:cubicBezTo>
                      <a:pt x="4084" y="164923"/>
                      <a:pt x="20028" y="235903"/>
                      <a:pt x="44545" y="266936"/>
                    </a:cubicBezTo>
                    <a:close/>
                  </a:path>
                </a:pathLst>
              </a:custGeom>
              <a:solidFill>
                <a:srgbClr val="D88A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74" name="Freeform: Shape 173">
                <a:extLst>
                  <a:ext uri="{FF2B5EF4-FFF2-40B4-BE49-F238E27FC236}">
                    <a16:creationId xmlns:a16="http://schemas.microsoft.com/office/drawing/2014/main" id="{8538336A-1373-BA36-3F74-C290D8F46179}"/>
                  </a:ext>
                </a:extLst>
              </p:cNvPr>
              <p:cNvSpPr/>
              <p:nvPr/>
            </p:nvSpPr>
            <p:spPr>
              <a:xfrm>
                <a:off x="6549150" y="4127740"/>
                <a:ext cx="177313" cy="47273"/>
              </a:xfrm>
              <a:custGeom>
                <a:avLst/>
                <a:gdLst>
                  <a:gd name="connsiteX0" fmla="*/ 177313 w 177313"/>
                  <a:gd name="connsiteY0" fmla="*/ 43261 h 47273"/>
                  <a:gd name="connsiteX1" fmla="*/ 163494 w 177313"/>
                  <a:gd name="connsiteY1" fmla="*/ 11028 h 47273"/>
                  <a:gd name="connsiteX2" fmla="*/ 0 w 177313"/>
                  <a:gd name="connsiteY2" fmla="*/ 1770 h 47273"/>
                  <a:gd name="connsiteX3" fmla="*/ 0 w 177313"/>
                  <a:gd name="connsiteY3" fmla="*/ 36026 h 47273"/>
                  <a:gd name="connsiteX4" fmla="*/ 177313 w 177313"/>
                  <a:gd name="connsiteY4" fmla="*/ 43261 h 47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13" h="47273">
                    <a:moveTo>
                      <a:pt x="177313" y="43261"/>
                    </a:moveTo>
                    <a:cubicBezTo>
                      <a:pt x="177313" y="43261"/>
                      <a:pt x="176799" y="13840"/>
                      <a:pt x="163494" y="11028"/>
                    </a:cubicBezTo>
                    <a:cubicBezTo>
                      <a:pt x="150156" y="8217"/>
                      <a:pt x="16390" y="-4642"/>
                      <a:pt x="0" y="1770"/>
                    </a:cubicBezTo>
                    <a:lnTo>
                      <a:pt x="0" y="36026"/>
                    </a:lnTo>
                    <a:cubicBezTo>
                      <a:pt x="0" y="36026"/>
                      <a:pt x="31512" y="55434"/>
                      <a:pt x="177313" y="43261"/>
                    </a:cubicBezTo>
                    <a:close/>
                  </a:path>
                </a:pathLst>
              </a:custGeom>
              <a:solidFill>
                <a:srgbClr val="E2D2CA"/>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75" name="Freeform: Shape 174">
                <a:extLst>
                  <a:ext uri="{FF2B5EF4-FFF2-40B4-BE49-F238E27FC236}">
                    <a16:creationId xmlns:a16="http://schemas.microsoft.com/office/drawing/2014/main" id="{A8ED41B3-9999-D797-E59F-7D0B8BC906B1}"/>
                  </a:ext>
                </a:extLst>
              </p:cNvPr>
              <p:cNvSpPr/>
              <p:nvPr/>
            </p:nvSpPr>
            <p:spPr>
              <a:xfrm>
                <a:off x="6676943" y="3909798"/>
                <a:ext cx="45083" cy="85926"/>
              </a:xfrm>
              <a:custGeom>
                <a:avLst/>
                <a:gdLst>
                  <a:gd name="connsiteX0" fmla="*/ 41599 w 45083"/>
                  <a:gd name="connsiteY0" fmla="*/ 22716 h 85926"/>
                  <a:gd name="connsiteX1" fmla="*/ 2337 w 45083"/>
                  <a:gd name="connsiteY1" fmla="*/ 14384 h 85926"/>
                  <a:gd name="connsiteX2" fmla="*/ 31964 w 45083"/>
                  <a:gd name="connsiteY2" fmla="*/ 85707 h 85926"/>
                  <a:gd name="connsiteX3" fmla="*/ 41564 w 45083"/>
                  <a:gd name="connsiteY3" fmla="*/ 22750 h 85926"/>
                </a:gdLst>
                <a:ahLst/>
                <a:cxnLst>
                  <a:cxn ang="0">
                    <a:pos x="connsiteX0" y="connsiteY0"/>
                  </a:cxn>
                  <a:cxn ang="0">
                    <a:pos x="connsiteX1" y="connsiteY1"/>
                  </a:cxn>
                  <a:cxn ang="0">
                    <a:pos x="connsiteX2" y="connsiteY2"/>
                  </a:cxn>
                  <a:cxn ang="0">
                    <a:pos x="connsiteX3" y="connsiteY3"/>
                  </a:cxn>
                </a:cxnLst>
                <a:rect l="l" t="t" r="r" b="b"/>
                <a:pathLst>
                  <a:path w="45083" h="85926">
                    <a:moveTo>
                      <a:pt x="41599" y="22716"/>
                    </a:moveTo>
                    <a:cubicBezTo>
                      <a:pt x="39096" y="12258"/>
                      <a:pt x="12521" y="-17609"/>
                      <a:pt x="2337" y="14384"/>
                    </a:cubicBezTo>
                    <a:cubicBezTo>
                      <a:pt x="-7847" y="46376"/>
                      <a:pt x="17699" y="89376"/>
                      <a:pt x="31964" y="85707"/>
                    </a:cubicBezTo>
                    <a:cubicBezTo>
                      <a:pt x="46228" y="82038"/>
                      <a:pt x="47908" y="49222"/>
                      <a:pt x="41564" y="22750"/>
                    </a:cubicBezTo>
                    <a:close/>
                  </a:path>
                </a:pathLst>
              </a:custGeom>
              <a:solidFill>
                <a:srgbClr val="EEA88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76" name="Freeform: Shape 175">
                <a:extLst>
                  <a:ext uri="{FF2B5EF4-FFF2-40B4-BE49-F238E27FC236}">
                    <a16:creationId xmlns:a16="http://schemas.microsoft.com/office/drawing/2014/main" id="{64CD4965-CC50-86F5-723B-9A7CE7994F48}"/>
                  </a:ext>
                </a:extLst>
              </p:cNvPr>
              <p:cNvSpPr/>
              <p:nvPr/>
            </p:nvSpPr>
            <p:spPr>
              <a:xfrm>
                <a:off x="6299484" y="3908307"/>
                <a:ext cx="1198959" cy="1399668"/>
              </a:xfrm>
              <a:custGeom>
                <a:avLst/>
                <a:gdLst>
                  <a:gd name="connsiteX0" fmla="*/ 648253 w 1198959"/>
                  <a:gd name="connsiteY0" fmla="*/ 307237 h 1399668"/>
                  <a:gd name="connsiteX1" fmla="*/ 426945 w 1198959"/>
                  <a:gd name="connsiteY1" fmla="*/ 262694 h 1399668"/>
                  <a:gd name="connsiteX2" fmla="*/ 249631 w 1198959"/>
                  <a:gd name="connsiteY2" fmla="*/ 255459 h 1399668"/>
                  <a:gd name="connsiteX3" fmla="*/ 22803 w 1198959"/>
                  <a:gd name="connsiteY3" fmla="*/ 320233 h 1399668"/>
                  <a:gd name="connsiteX4" fmla="*/ 0 w 1198959"/>
                  <a:gd name="connsiteY4" fmla="*/ 502758 h 1399668"/>
                  <a:gd name="connsiteX5" fmla="*/ 53150 w 1198959"/>
                  <a:gd name="connsiteY5" fmla="*/ 614852 h 1399668"/>
                  <a:gd name="connsiteX6" fmla="*/ 90217 w 1198959"/>
                  <a:gd name="connsiteY6" fmla="*/ 935669 h 1399668"/>
                  <a:gd name="connsiteX7" fmla="*/ 26918 w 1198959"/>
                  <a:gd name="connsiteY7" fmla="*/ 1360797 h 1399668"/>
                  <a:gd name="connsiteX8" fmla="*/ 218907 w 1198959"/>
                  <a:gd name="connsiteY8" fmla="*/ 1395018 h 1399668"/>
                  <a:gd name="connsiteX9" fmla="*/ 644172 w 1198959"/>
                  <a:gd name="connsiteY9" fmla="*/ 1375919 h 1399668"/>
                  <a:gd name="connsiteX10" fmla="*/ 582930 w 1198959"/>
                  <a:gd name="connsiteY10" fmla="*/ 816889 h 1399668"/>
                  <a:gd name="connsiteX11" fmla="*/ 597126 w 1198959"/>
                  <a:gd name="connsiteY11" fmla="*/ 556971 h 1399668"/>
                  <a:gd name="connsiteX12" fmla="*/ 937317 w 1198959"/>
                  <a:gd name="connsiteY12" fmla="*/ 362066 h 1399668"/>
                  <a:gd name="connsiteX13" fmla="*/ 1052326 w 1198959"/>
                  <a:gd name="connsiteY13" fmla="*/ 247160 h 1399668"/>
                  <a:gd name="connsiteX14" fmla="*/ 1198402 w 1198959"/>
                  <a:gd name="connsiteY14" fmla="*/ 63332 h 1399668"/>
                  <a:gd name="connsiteX15" fmla="*/ 1104961 w 1198959"/>
                  <a:gd name="connsiteY15" fmla="*/ 33 h 1399668"/>
                  <a:gd name="connsiteX16" fmla="*/ 957719 w 1198959"/>
                  <a:gd name="connsiteY16" fmla="*/ 175220 h 1399668"/>
                  <a:gd name="connsiteX17" fmla="*/ 866680 w 1198959"/>
                  <a:gd name="connsiteY17" fmla="*/ 247709 h 1399668"/>
                  <a:gd name="connsiteX18" fmla="*/ 648253 w 1198959"/>
                  <a:gd name="connsiteY18" fmla="*/ 307202 h 139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98959" h="1399668">
                    <a:moveTo>
                      <a:pt x="648253" y="307237"/>
                    </a:moveTo>
                    <a:cubicBezTo>
                      <a:pt x="556527" y="295132"/>
                      <a:pt x="426945" y="262694"/>
                      <a:pt x="426945" y="262694"/>
                    </a:cubicBezTo>
                    <a:lnTo>
                      <a:pt x="249631" y="255459"/>
                    </a:lnTo>
                    <a:cubicBezTo>
                      <a:pt x="249631" y="255459"/>
                      <a:pt x="86891" y="291292"/>
                      <a:pt x="22803" y="320233"/>
                    </a:cubicBezTo>
                    <a:cubicBezTo>
                      <a:pt x="16734" y="322976"/>
                      <a:pt x="16699" y="465416"/>
                      <a:pt x="0" y="502758"/>
                    </a:cubicBezTo>
                    <a:lnTo>
                      <a:pt x="53150" y="614852"/>
                    </a:lnTo>
                    <a:cubicBezTo>
                      <a:pt x="53150" y="614852"/>
                      <a:pt x="83839" y="836914"/>
                      <a:pt x="90217" y="935669"/>
                    </a:cubicBezTo>
                    <a:cubicBezTo>
                      <a:pt x="93132" y="981001"/>
                      <a:pt x="26918" y="1360797"/>
                      <a:pt x="26918" y="1360797"/>
                    </a:cubicBezTo>
                    <a:cubicBezTo>
                      <a:pt x="26918" y="1360797"/>
                      <a:pt x="97898" y="1381679"/>
                      <a:pt x="218907" y="1395018"/>
                    </a:cubicBezTo>
                    <a:cubicBezTo>
                      <a:pt x="339917" y="1408357"/>
                      <a:pt x="642286" y="1390183"/>
                      <a:pt x="644172" y="1375919"/>
                    </a:cubicBezTo>
                    <a:cubicBezTo>
                      <a:pt x="646092" y="1361620"/>
                      <a:pt x="585605" y="843703"/>
                      <a:pt x="582930" y="816889"/>
                    </a:cubicBezTo>
                    <a:cubicBezTo>
                      <a:pt x="578815" y="775741"/>
                      <a:pt x="597126" y="556971"/>
                      <a:pt x="597126" y="556971"/>
                    </a:cubicBezTo>
                    <a:cubicBezTo>
                      <a:pt x="625073" y="535299"/>
                      <a:pt x="870383" y="421422"/>
                      <a:pt x="937317" y="362066"/>
                    </a:cubicBezTo>
                    <a:cubicBezTo>
                      <a:pt x="955216" y="346190"/>
                      <a:pt x="1030826" y="272569"/>
                      <a:pt x="1052326" y="247160"/>
                    </a:cubicBezTo>
                    <a:cubicBezTo>
                      <a:pt x="1128415" y="157183"/>
                      <a:pt x="1190823" y="79997"/>
                      <a:pt x="1198402" y="63332"/>
                    </a:cubicBezTo>
                    <a:cubicBezTo>
                      <a:pt x="1207008" y="53868"/>
                      <a:pt x="1113259" y="2776"/>
                      <a:pt x="1104961" y="33"/>
                    </a:cubicBezTo>
                    <a:cubicBezTo>
                      <a:pt x="1097726" y="-2402"/>
                      <a:pt x="997325" y="132358"/>
                      <a:pt x="957719" y="175220"/>
                    </a:cubicBezTo>
                    <a:cubicBezTo>
                      <a:pt x="940060" y="194354"/>
                      <a:pt x="866680" y="247709"/>
                      <a:pt x="866680" y="247709"/>
                    </a:cubicBezTo>
                    <a:cubicBezTo>
                      <a:pt x="866680" y="247709"/>
                      <a:pt x="705620" y="310494"/>
                      <a:pt x="648253" y="307202"/>
                    </a:cubicBezTo>
                    <a:close/>
                  </a:path>
                </a:pathLst>
              </a:custGeom>
              <a:solidFill>
                <a:srgbClr val="323657"/>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77" name="Freeform: Shape 176">
                <a:extLst>
                  <a:ext uri="{FF2B5EF4-FFF2-40B4-BE49-F238E27FC236}">
                    <a16:creationId xmlns:a16="http://schemas.microsoft.com/office/drawing/2014/main" id="{3B165994-5E65-733D-4A0E-C6F64E9D41BF}"/>
                  </a:ext>
                </a:extLst>
              </p:cNvPr>
              <p:cNvSpPr/>
              <p:nvPr/>
            </p:nvSpPr>
            <p:spPr>
              <a:xfrm>
                <a:off x="6467637" y="3801629"/>
                <a:ext cx="66939" cy="232588"/>
              </a:xfrm>
              <a:custGeom>
                <a:avLst/>
                <a:gdLst>
                  <a:gd name="connsiteX0" fmla="*/ 66940 w 66939"/>
                  <a:gd name="connsiteY0" fmla="*/ 0 h 232588"/>
                  <a:gd name="connsiteX1" fmla="*/ 62413 w 66939"/>
                  <a:gd name="connsiteY1" fmla="*/ 232589 h 232588"/>
                  <a:gd name="connsiteX2" fmla="*/ 66940 w 66939"/>
                  <a:gd name="connsiteY2" fmla="*/ 0 h 232588"/>
                </a:gdLst>
                <a:ahLst/>
                <a:cxnLst>
                  <a:cxn ang="0">
                    <a:pos x="connsiteX0" y="connsiteY0"/>
                  </a:cxn>
                  <a:cxn ang="0">
                    <a:pos x="connsiteX1" y="connsiteY1"/>
                  </a:cxn>
                  <a:cxn ang="0">
                    <a:pos x="connsiteX2" y="connsiteY2"/>
                  </a:cxn>
                </a:cxnLst>
                <a:rect l="l" t="t" r="r" b="b"/>
                <a:pathLst>
                  <a:path w="66939" h="232588">
                    <a:moveTo>
                      <a:pt x="66940" y="0"/>
                    </a:moveTo>
                    <a:cubicBezTo>
                      <a:pt x="66940" y="0"/>
                      <a:pt x="-80610" y="11556"/>
                      <a:pt x="62413" y="232589"/>
                    </a:cubicBezTo>
                    <a:lnTo>
                      <a:pt x="66940" y="0"/>
                    </a:lnTo>
                    <a:close/>
                  </a:path>
                </a:pathLst>
              </a:custGeom>
              <a:solidFill>
                <a:srgbClr val="D88A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178" name="Freeform: Shape 177">
                <a:extLst>
                  <a:ext uri="{FF2B5EF4-FFF2-40B4-BE49-F238E27FC236}">
                    <a16:creationId xmlns:a16="http://schemas.microsoft.com/office/drawing/2014/main" id="{CE45E086-9910-DA02-4DF2-19125C14721B}"/>
                  </a:ext>
                </a:extLst>
              </p:cNvPr>
              <p:cNvSpPr/>
              <p:nvPr/>
            </p:nvSpPr>
            <p:spPr>
              <a:xfrm>
                <a:off x="7523842" y="3780883"/>
                <a:ext cx="22254" cy="18482"/>
              </a:xfrm>
              <a:custGeom>
                <a:avLst/>
                <a:gdLst>
                  <a:gd name="connsiteX0" fmla="*/ 10150 w 22254"/>
                  <a:gd name="connsiteY0" fmla="*/ 18482 h 18482"/>
                  <a:gd name="connsiteX1" fmla="*/ 22254 w 22254"/>
                  <a:gd name="connsiteY1" fmla="*/ 0 h 18482"/>
                  <a:gd name="connsiteX2" fmla="*/ 0 w 22254"/>
                  <a:gd name="connsiteY2" fmla="*/ 2915 h 18482"/>
                  <a:gd name="connsiteX3" fmla="*/ 10150 w 22254"/>
                  <a:gd name="connsiteY3" fmla="*/ 18482 h 18482"/>
                </a:gdLst>
                <a:ahLst/>
                <a:cxnLst>
                  <a:cxn ang="0">
                    <a:pos x="connsiteX0" y="connsiteY0"/>
                  </a:cxn>
                  <a:cxn ang="0">
                    <a:pos x="connsiteX1" y="connsiteY1"/>
                  </a:cxn>
                  <a:cxn ang="0">
                    <a:pos x="connsiteX2" y="connsiteY2"/>
                  </a:cxn>
                  <a:cxn ang="0">
                    <a:pos x="connsiteX3" y="connsiteY3"/>
                  </a:cxn>
                </a:cxnLst>
                <a:rect l="l" t="t" r="r" b="b"/>
                <a:pathLst>
                  <a:path w="22254" h="18482">
                    <a:moveTo>
                      <a:pt x="10150" y="18482"/>
                    </a:moveTo>
                    <a:lnTo>
                      <a:pt x="22254" y="0"/>
                    </a:lnTo>
                    <a:lnTo>
                      <a:pt x="0" y="2915"/>
                    </a:lnTo>
                    <a:lnTo>
                      <a:pt x="10150" y="18482"/>
                    </a:lnTo>
                    <a:close/>
                  </a:path>
                </a:pathLst>
              </a:custGeom>
              <a:solidFill>
                <a:srgbClr val="DFE1E8"/>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grpSp>
      </p:grpSp>
      <p:grpSp>
        <p:nvGrpSpPr>
          <p:cNvPr id="210" name="Group 209">
            <a:extLst>
              <a:ext uri="{FF2B5EF4-FFF2-40B4-BE49-F238E27FC236}">
                <a16:creationId xmlns:a16="http://schemas.microsoft.com/office/drawing/2014/main" id="{30D71C9E-DE74-9C1A-1D90-C3AA47A96A0D}"/>
              </a:ext>
            </a:extLst>
          </p:cNvPr>
          <p:cNvGrpSpPr/>
          <p:nvPr/>
        </p:nvGrpSpPr>
        <p:grpSpPr>
          <a:xfrm>
            <a:off x="395394" y="5476431"/>
            <a:ext cx="2952089" cy="532771"/>
            <a:chOff x="768943" y="4876539"/>
            <a:chExt cx="2952089" cy="532771"/>
          </a:xfrm>
        </p:grpSpPr>
        <p:sp>
          <p:nvSpPr>
            <p:cNvPr id="204" name="Rectangle: Rounded Corners 203">
              <a:extLst>
                <a:ext uri="{FF2B5EF4-FFF2-40B4-BE49-F238E27FC236}">
                  <a16:creationId xmlns:a16="http://schemas.microsoft.com/office/drawing/2014/main" id="{238B1939-2865-A852-8842-4CA394569835}"/>
                </a:ext>
              </a:extLst>
            </p:cNvPr>
            <p:cNvSpPr/>
            <p:nvPr/>
          </p:nvSpPr>
          <p:spPr>
            <a:xfrm>
              <a:off x="768943" y="4876539"/>
              <a:ext cx="2952089" cy="532771"/>
            </a:xfrm>
            <a:prstGeom prst="roundRect">
              <a:avLst>
                <a:gd name="adj" fmla="val 50000"/>
              </a:avLst>
            </a:prstGeom>
            <a:gradFill flip="none" rotWithShape="1">
              <a:gsLst>
                <a:gs pos="0">
                  <a:srgbClr val="4BA8E0"/>
                </a:gs>
                <a:gs pos="50000">
                  <a:srgbClr val="5A76B6"/>
                </a:gs>
                <a:gs pos="100000">
                  <a:srgbClr val="5E5FA9"/>
                </a:gs>
              </a:gsLst>
              <a:lin ang="0" scaled="1"/>
              <a:tileRect/>
            </a:gradFill>
            <a:ln w="19050" cap="flat" cmpd="sng" algn="ctr">
              <a:solidFill>
                <a:schemeClr val="bg1"/>
              </a:solidFill>
              <a:prstDash val="solid"/>
              <a:miter lim="800000"/>
            </a:ln>
            <a:effectLst/>
          </p:spPr>
          <p:txBody>
            <a:bodyPr wrap="none" lIns="45720" rIns="45720" rtlCol="0" anchor="b">
              <a:noAutofit/>
            </a:bodyPr>
            <a:lstStyle/>
            <a:p>
              <a:pPr marL="3175"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5" name="Text Placeholder 12">
              <a:extLst>
                <a:ext uri="{FF2B5EF4-FFF2-40B4-BE49-F238E27FC236}">
                  <a16:creationId xmlns:a16="http://schemas.microsoft.com/office/drawing/2014/main" id="{24BF7D34-415D-D3DD-28BB-CBAA45B64DFC}"/>
                </a:ext>
              </a:extLst>
            </p:cNvPr>
            <p:cNvSpPr txBox="1">
              <a:spLocks/>
            </p:cNvSpPr>
            <p:nvPr/>
          </p:nvSpPr>
          <p:spPr>
            <a:xfrm>
              <a:off x="768943" y="4958259"/>
              <a:ext cx="2952089" cy="369332"/>
            </a:xfrm>
            <a:prstGeom prst="rect">
              <a:avLst/>
            </a:prstGeom>
          </p:spPr>
          <p:txBody>
            <a:bodyPr>
              <a:noAutofit/>
            </a:bodyPr>
            <a:lstStyle>
              <a:lvl1pPr marL="190500" indent="-187325" algn="l" defTabSz="914400" rtl="0" eaLnBrk="1" latinLnBrk="0" hangingPunct="1">
                <a:spcBef>
                  <a:spcPts val="600"/>
                </a:spcBef>
                <a:buClr>
                  <a:schemeClr val="bg2">
                    <a:lumMod val="50000"/>
                  </a:schemeClr>
                </a:buClr>
                <a:buFont typeface="Arial" panose="020B0604020202020204" pitchFamily="34" charset="0"/>
                <a:buChar char="•"/>
                <a:defRPr sz="1800" kern="1200">
                  <a:solidFill>
                    <a:schemeClr val="tx1"/>
                  </a:solidFill>
                  <a:latin typeface="+mn-lt"/>
                  <a:ea typeface="+mn-ea"/>
                  <a:cs typeface="Tahoma" pitchFamily="34" charset="0"/>
                </a:defRPr>
              </a:lvl1pPr>
              <a:lvl2pPr marL="439738" indent="-250825" algn="l" defTabSz="914400" rtl="0" eaLnBrk="1" latinLnBrk="0" hangingPunct="1">
                <a:spcBef>
                  <a:spcPts val="600"/>
                </a:spcBef>
                <a:buClr>
                  <a:schemeClr val="bg2">
                    <a:lumMod val="50000"/>
                  </a:schemeClr>
                </a:buClr>
                <a:buFont typeface="Courier New" pitchFamily="49" charset="0"/>
                <a:buChar char="­"/>
                <a:defRPr sz="1600" kern="1200">
                  <a:solidFill>
                    <a:schemeClr val="accent1"/>
                  </a:solidFill>
                  <a:latin typeface="+mn-lt"/>
                  <a:ea typeface="+mn-ea"/>
                  <a:cs typeface="Tahoma" pitchFamily="34" charset="0"/>
                </a:defRPr>
              </a:lvl2pPr>
              <a:lvl3pPr marL="652463" indent="-217488" algn="l" defTabSz="914400" rtl="0" eaLnBrk="1" latinLnBrk="0" hangingPunct="1">
                <a:spcBef>
                  <a:spcPts val="600"/>
                </a:spcBef>
                <a:buClr>
                  <a:schemeClr val="bg2">
                    <a:lumMod val="50000"/>
                  </a:schemeClr>
                </a:buClr>
                <a:buFont typeface="Arial" panose="020B0604020202020204" pitchFamily="34" charset="0"/>
                <a:buChar char="•"/>
                <a:defRPr sz="1400" kern="1200">
                  <a:solidFill>
                    <a:schemeClr val="bg2">
                      <a:lumMod val="50000"/>
                    </a:schemeClr>
                  </a:solidFill>
                  <a:latin typeface="+mn-lt"/>
                  <a:ea typeface="+mn-ea"/>
                  <a:cs typeface="Tahoma" pitchFamily="34" charset="0"/>
                </a:defRPr>
              </a:lvl3pPr>
              <a:lvl4pPr marL="833438" indent="-173038" algn="l" defTabSz="914400" rtl="0" eaLnBrk="1" latinLnBrk="0" hangingPunct="1">
                <a:spcBef>
                  <a:spcPts val="600"/>
                </a:spcBef>
                <a:buClr>
                  <a:schemeClr val="bg2">
                    <a:lumMod val="50000"/>
                  </a:schemeClr>
                </a:buClr>
                <a:buFont typeface="Arial" pitchFamily="34" charset="0"/>
                <a:buChar char="–"/>
                <a:defRPr sz="1200" kern="1200">
                  <a:solidFill>
                    <a:schemeClr val="bg2">
                      <a:lumMod val="50000"/>
                    </a:schemeClr>
                  </a:solidFill>
                  <a:latin typeface="+mn-lt"/>
                  <a:ea typeface="+mn-ea"/>
                  <a:cs typeface="Tahoma" pitchFamily="34" charset="0"/>
                </a:defRPr>
              </a:lvl4pPr>
              <a:lvl5pPr marL="1004888" indent="-169863" algn="l" defTabSz="914400" rtl="0" eaLnBrk="1" latinLnBrk="0" hangingPunct="1">
                <a:spcBef>
                  <a:spcPts val="600"/>
                </a:spcBef>
                <a:buClr>
                  <a:schemeClr val="bg2">
                    <a:lumMod val="50000"/>
                  </a:schemeClr>
                </a:buClr>
                <a:buFont typeface="Arial" panose="020B0604020202020204" pitchFamily="34" charset="0"/>
                <a:buChar char="•"/>
                <a:defRPr sz="1000" kern="1200">
                  <a:solidFill>
                    <a:schemeClr val="bg2">
                      <a:lumMod val="50000"/>
                    </a:schemeClr>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marR="0" lvl="0" indent="0" algn="ctr" defTabSz="914400" rtl="0" eaLnBrk="1" fontAlgn="auto" latinLnBrk="0" hangingPunct="1">
                <a:lnSpc>
                  <a:spcPct val="100000"/>
                </a:lnSpc>
                <a:spcBef>
                  <a:spcPts val="600"/>
                </a:spcBef>
                <a:spcAft>
                  <a:spcPts val="0"/>
                </a:spcAft>
                <a:buClr>
                  <a:srgbClr val="E7E6E6">
                    <a:lumMod val="50000"/>
                  </a:srgbClr>
                </a:buClr>
                <a:buSzTx/>
                <a:buFont typeface="Arial" panose="020B0604020202020204" pitchFamily="34" charset="0"/>
                <a:buNone/>
                <a:tabLst/>
                <a:defRPr/>
              </a:pPr>
              <a:r>
                <a:rPr lang="en-US" b="1">
                  <a:solidFill>
                    <a:srgbClr val="FFFFFF"/>
                  </a:solidFill>
                  <a:latin typeface="Calibri" panose="020F0502020204030204"/>
                  <a:cs typeface="Tahoma"/>
                </a:rPr>
                <a:t>July 23</a:t>
              </a:r>
              <a:r>
                <a:rPr kumimoji="0" lang="en-US" sz="1800" b="1" i="0" u="none" strike="noStrike" kern="1200" cap="none" spc="0" normalizeH="0" baseline="0" noProof="0">
                  <a:ln>
                    <a:noFill/>
                  </a:ln>
                  <a:solidFill>
                    <a:srgbClr val="FFFFFF"/>
                  </a:solidFill>
                  <a:effectLst/>
                  <a:uLnTx/>
                  <a:uFillTx/>
                  <a:latin typeface="Calibri" panose="020F0502020204030204"/>
                  <a:ea typeface="+mn-ea"/>
                  <a:cs typeface="Tahoma"/>
                </a:rPr>
                <a:t>, 2024</a:t>
              </a:r>
            </a:p>
          </p:txBody>
        </p:sp>
      </p:grpSp>
      <p:sp>
        <p:nvSpPr>
          <p:cNvPr id="206" name="TextBox 205">
            <a:extLst>
              <a:ext uri="{FF2B5EF4-FFF2-40B4-BE49-F238E27FC236}">
                <a16:creationId xmlns:a16="http://schemas.microsoft.com/office/drawing/2014/main" id="{BBD9F4DF-D625-3B0D-4771-D885F8FEA3EA}"/>
              </a:ext>
            </a:extLst>
          </p:cNvPr>
          <p:cNvSpPr txBox="1"/>
          <p:nvPr/>
        </p:nvSpPr>
        <p:spPr>
          <a:xfrm>
            <a:off x="395394" y="6461285"/>
            <a:ext cx="548073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E7E6E6">
                    <a:lumMod val="50000"/>
                  </a:srgbClr>
                </a:solidFill>
                <a:effectLst/>
                <a:uLnTx/>
                <a:uFillTx/>
                <a:latin typeface="Calibri" panose="020F0502020204030204"/>
                <a:ea typeface="+mn-ea"/>
                <a:cs typeface="+mn-cs"/>
              </a:rPr>
              <a:t>This presentation is provided to you by Trinity, LLC. The presentation is meant to enhance discussions between your organization and Trinity, LLC. The substance of this presentation is confidential and may be legally privileged.  This presentation is intended only for those in attendance.</a:t>
            </a:r>
          </a:p>
        </p:txBody>
      </p:sp>
      <p:sp>
        <p:nvSpPr>
          <p:cNvPr id="214" name="Title 8">
            <a:extLst>
              <a:ext uri="{FF2B5EF4-FFF2-40B4-BE49-F238E27FC236}">
                <a16:creationId xmlns:a16="http://schemas.microsoft.com/office/drawing/2014/main" id="{0E8247D5-9862-862A-72DA-7EBC6566429D}"/>
              </a:ext>
            </a:extLst>
          </p:cNvPr>
          <p:cNvSpPr txBox="1">
            <a:spLocks/>
          </p:cNvSpPr>
          <p:nvPr/>
        </p:nvSpPr>
        <p:spPr>
          <a:xfrm>
            <a:off x="395394" y="3892062"/>
            <a:ext cx="4938397" cy="1155550"/>
          </a:xfrm>
          <a:prstGeom prst="rect">
            <a:avLst/>
          </a:prstGeom>
        </p:spPr>
        <p:txBody>
          <a:bodyPr vert="horz" anchor="ctr"/>
          <a:lstStyle>
            <a:lvl1pPr algn="l" defTabSz="914400" rtl="0" eaLnBrk="1" latinLnBrk="0" hangingPunct="1">
              <a:spcBef>
                <a:spcPct val="0"/>
              </a:spcBef>
              <a:buNone/>
              <a:defRPr sz="2600" b="0" kern="1200" spc="120" baseline="0">
                <a:solidFill>
                  <a:schemeClr val="tx1"/>
                </a:solidFill>
                <a:latin typeface="+mn-lt"/>
                <a:ea typeface="+mj-ea"/>
                <a:cs typeface="Tahoma" pitchFamily="34" charset="0"/>
              </a:defRPr>
            </a:lvl1pPr>
          </a:lstStyle>
          <a:p>
            <a:pPr marL="3175" marR="0" lvl="0" indent="0" algn="l" defTabSz="914400" rtl="0" eaLnBrk="1" fontAlgn="auto" latinLnBrk="0" hangingPunct="1">
              <a:lnSpc>
                <a:spcPct val="100000"/>
              </a:lnSpc>
              <a:spcBef>
                <a:spcPts val="600"/>
              </a:spcBef>
              <a:spcAft>
                <a:spcPts val="0"/>
              </a:spcAft>
              <a:buClr>
                <a:srgbClr val="E7E6E6">
                  <a:lumMod val="50000"/>
                </a:srgbClr>
              </a:buClr>
              <a:buSzTx/>
              <a:buFont typeface="Arial" panose="020B0604020202020204" pitchFamily="34" charset="0"/>
              <a:buNone/>
              <a:tabLst/>
              <a:defRPr/>
            </a:pPr>
            <a:r>
              <a:rPr kumimoji="0" lang="en-US" sz="4000" b="0" i="0" u="none" strike="noStrike" kern="1200" cap="none" spc="0" normalizeH="0" baseline="0" noProof="0">
                <a:ln>
                  <a:noFill/>
                </a:ln>
                <a:solidFill>
                  <a:srgbClr val="304659"/>
                </a:solidFill>
                <a:effectLst/>
                <a:uLnTx/>
                <a:uFillTx/>
                <a:latin typeface="Calibri" panose="020F0502020204030204"/>
                <a:ea typeface="+mn-ea"/>
                <a:cs typeface="Tahoma" pitchFamily="34" charset="0"/>
              </a:rPr>
              <a:t>UPLIZNA Feedback Analysis (June 2024)</a:t>
            </a:r>
          </a:p>
        </p:txBody>
      </p:sp>
      <p:sp>
        <p:nvSpPr>
          <p:cNvPr id="215" name="Subtitle 10">
            <a:extLst>
              <a:ext uri="{FF2B5EF4-FFF2-40B4-BE49-F238E27FC236}">
                <a16:creationId xmlns:a16="http://schemas.microsoft.com/office/drawing/2014/main" id="{026C740F-EC47-E491-F3CD-D91019D204D0}"/>
              </a:ext>
            </a:extLst>
          </p:cNvPr>
          <p:cNvSpPr txBox="1">
            <a:spLocks/>
          </p:cNvSpPr>
          <p:nvPr/>
        </p:nvSpPr>
        <p:spPr>
          <a:xfrm>
            <a:off x="395394" y="4807785"/>
            <a:ext cx="8165592" cy="335280"/>
          </a:xfrm>
          <a:prstGeom prst="rect">
            <a:avLst/>
          </a:prstGeom>
        </p:spPr>
        <p:txBody>
          <a:bodyPr anchor="ctr"/>
          <a:lstStyle>
            <a:lvl1pPr marL="190500" indent="-187325" algn="l" defTabSz="914400" rtl="0" eaLnBrk="1" latinLnBrk="0" hangingPunct="1">
              <a:spcBef>
                <a:spcPts val="600"/>
              </a:spcBef>
              <a:buClr>
                <a:schemeClr val="bg2">
                  <a:lumMod val="50000"/>
                </a:schemeClr>
              </a:buClr>
              <a:buFont typeface="Arial" panose="020B0604020202020204" pitchFamily="34" charset="0"/>
              <a:buChar char="•"/>
              <a:defRPr sz="1800" kern="1200">
                <a:solidFill>
                  <a:schemeClr val="tx1"/>
                </a:solidFill>
                <a:latin typeface="+mn-lt"/>
                <a:ea typeface="+mn-ea"/>
                <a:cs typeface="Tahoma" pitchFamily="34" charset="0"/>
              </a:defRPr>
            </a:lvl1pPr>
            <a:lvl2pPr marL="439738" indent="-250825" algn="l" defTabSz="914400" rtl="0" eaLnBrk="1" latinLnBrk="0" hangingPunct="1">
              <a:spcBef>
                <a:spcPts val="600"/>
              </a:spcBef>
              <a:buClr>
                <a:schemeClr val="bg2">
                  <a:lumMod val="50000"/>
                </a:schemeClr>
              </a:buClr>
              <a:buFont typeface="Courier New" pitchFamily="49" charset="0"/>
              <a:buChar char="­"/>
              <a:defRPr sz="1600" kern="1200">
                <a:solidFill>
                  <a:schemeClr val="accent1"/>
                </a:solidFill>
                <a:latin typeface="+mn-lt"/>
                <a:ea typeface="+mn-ea"/>
                <a:cs typeface="Tahoma" pitchFamily="34" charset="0"/>
              </a:defRPr>
            </a:lvl2pPr>
            <a:lvl3pPr marL="652463" indent="-217488" algn="l" defTabSz="914400" rtl="0" eaLnBrk="1" latinLnBrk="0" hangingPunct="1">
              <a:spcBef>
                <a:spcPts val="600"/>
              </a:spcBef>
              <a:buClr>
                <a:schemeClr val="bg2">
                  <a:lumMod val="50000"/>
                </a:schemeClr>
              </a:buClr>
              <a:buFont typeface="Arial" panose="020B0604020202020204" pitchFamily="34" charset="0"/>
              <a:buChar char="•"/>
              <a:defRPr sz="1400" kern="1200">
                <a:solidFill>
                  <a:schemeClr val="bg2">
                    <a:lumMod val="50000"/>
                  </a:schemeClr>
                </a:solidFill>
                <a:latin typeface="+mn-lt"/>
                <a:ea typeface="+mn-ea"/>
                <a:cs typeface="Tahoma" pitchFamily="34" charset="0"/>
              </a:defRPr>
            </a:lvl3pPr>
            <a:lvl4pPr marL="833438" indent="-173038" algn="l" defTabSz="914400" rtl="0" eaLnBrk="1" latinLnBrk="0" hangingPunct="1">
              <a:spcBef>
                <a:spcPts val="600"/>
              </a:spcBef>
              <a:buClr>
                <a:schemeClr val="bg2">
                  <a:lumMod val="50000"/>
                </a:schemeClr>
              </a:buClr>
              <a:buFont typeface="Arial" pitchFamily="34" charset="0"/>
              <a:buChar char="–"/>
              <a:defRPr sz="1200" kern="1200">
                <a:solidFill>
                  <a:schemeClr val="bg2">
                    <a:lumMod val="50000"/>
                  </a:schemeClr>
                </a:solidFill>
                <a:latin typeface="+mn-lt"/>
                <a:ea typeface="+mn-ea"/>
                <a:cs typeface="Tahoma" pitchFamily="34" charset="0"/>
              </a:defRPr>
            </a:lvl4pPr>
            <a:lvl5pPr marL="1004888" indent="-169863" algn="l" defTabSz="914400" rtl="0" eaLnBrk="1" latinLnBrk="0" hangingPunct="1">
              <a:spcBef>
                <a:spcPts val="600"/>
              </a:spcBef>
              <a:buClr>
                <a:schemeClr val="bg2">
                  <a:lumMod val="50000"/>
                </a:schemeClr>
              </a:buClr>
              <a:buFont typeface="Arial" panose="020B0604020202020204" pitchFamily="34" charset="0"/>
              <a:buChar char="•"/>
              <a:defRPr sz="1000" kern="1200">
                <a:solidFill>
                  <a:schemeClr val="bg2">
                    <a:lumMod val="50000"/>
                  </a:schemeClr>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marR="0" lvl="0" indent="0" algn="l" defTabSz="914400" rtl="0" eaLnBrk="1" fontAlgn="auto" latinLnBrk="0" hangingPunct="1">
              <a:lnSpc>
                <a:spcPct val="100000"/>
              </a:lnSpc>
              <a:spcBef>
                <a:spcPts val="600"/>
              </a:spcBef>
              <a:spcAft>
                <a:spcPts val="0"/>
              </a:spcAft>
              <a:buClr>
                <a:srgbClr val="E7E6E6">
                  <a:lumMod val="50000"/>
                </a:srgbClr>
              </a:buClr>
              <a:buSzTx/>
              <a:buFont typeface="Arial" panose="020B0604020202020204" pitchFamily="34" charset="0"/>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Tahoma" pitchFamily="34" charset="0"/>
            </a:endParaRPr>
          </a:p>
        </p:txBody>
      </p:sp>
      <p:pic>
        <p:nvPicPr>
          <p:cNvPr id="216" name="Graphic 215">
            <a:extLst>
              <a:ext uri="{FF2B5EF4-FFF2-40B4-BE49-F238E27FC236}">
                <a16:creationId xmlns:a16="http://schemas.microsoft.com/office/drawing/2014/main" id="{E3C34B58-8AF8-8897-A083-5FED3DE6F25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5394" y="2607275"/>
            <a:ext cx="3952053" cy="951420"/>
          </a:xfrm>
          <a:prstGeom prst="rect">
            <a:avLst/>
          </a:prstGeom>
        </p:spPr>
      </p:pic>
      <p:grpSp>
        <p:nvGrpSpPr>
          <p:cNvPr id="228" name="Graphic 218">
            <a:extLst>
              <a:ext uri="{FF2B5EF4-FFF2-40B4-BE49-F238E27FC236}">
                <a16:creationId xmlns:a16="http://schemas.microsoft.com/office/drawing/2014/main" id="{483B30ED-E2C3-55B6-B085-12FE677F6FD1}"/>
              </a:ext>
            </a:extLst>
          </p:cNvPr>
          <p:cNvGrpSpPr/>
          <p:nvPr/>
        </p:nvGrpSpPr>
        <p:grpSpPr>
          <a:xfrm>
            <a:off x="11098742" y="1147575"/>
            <a:ext cx="767341" cy="767341"/>
            <a:chOff x="8796571" y="9966883"/>
            <a:chExt cx="767341" cy="767341"/>
          </a:xfrm>
          <a:solidFill>
            <a:schemeClr val="accent4"/>
          </a:solidFill>
        </p:grpSpPr>
        <p:sp>
          <p:nvSpPr>
            <p:cNvPr id="229" name="Freeform: Shape 228">
              <a:extLst>
                <a:ext uri="{FF2B5EF4-FFF2-40B4-BE49-F238E27FC236}">
                  <a16:creationId xmlns:a16="http://schemas.microsoft.com/office/drawing/2014/main" id="{C9153D4E-AF9C-7A38-5BAC-E06857744D7A}"/>
                </a:ext>
              </a:extLst>
            </p:cNvPr>
            <p:cNvSpPr/>
            <p:nvPr/>
          </p:nvSpPr>
          <p:spPr>
            <a:xfrm>
              <a:off x="8997479" y="10244086"/>
              <a:ext cx="378168" cy="220893"/>
            </a:xfrm>
            <a:custGeom>
              <a:avLst/>
              <a:gdLst>
                <a:gd name="connsiteX0" fmla="*/ 111132 w 378168"/>
                <a:gd name="connsiteY0" fmla="*/ 220894 h 220893"/>
                <a:gd name="connsiteX1" fmla="*/ 4455 w 378168"/>
                <a:gd name="connsiteY1" fmla="*/ 46220 h 220893"/>
                <a:gd name="connsiteX2" fmla="*/ 14536 w 378168"/>
                <a:gd name="connsiteY2" fmla="*/ 4455 h 220893"/>
                <a:gd name="connsiteX3" fmla="*/ 56302 w 378168"/>
                <a:gd name="connsiteY3" fmla="*/ 14536 h 220893"/>
                <a:gd name="connsiteX4" fmla="*/ 131740 w 378168"/>
                <a:gd name="connsiteY4" fmla="*/ 138049 h 220893"/>
                <a:gd name="connsiteX5" fmla="*/ 332302 w 378168"/>
                <a:gd name="connsiteY5" fmla="*/ 19337 h 220893"/>
                <a:gd name="connsiteX6" fmla="*/ 373930 w 378168"/>
                <a:gd name="connsiteY6" fmla="*/ 30001 h 220893"/>
                <a:gd name="connsiteX7" fmla="*/ 363266 w 378168"/>
                <a:gd name="connsiteY7" fmla="*/ 71629 h 220893"/>
                <a:gd name="connsiteX8" fmla="*/ 111132 w 378168"/>
                <a:gd name="connsiteY8" fmla="*/ 220859 h 220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168" h="220893">
                  <a:moveTo>
                    <a:pt x="111132" y="220894"/>
                  </a:moveTo>
                  <a:lnTo>
                    <a:pt x="4455" y="46220"/>
                  </a:lnTo>
                  <a:cubicBezTo>
                    <a:pt x="-4289" y="31887"/>
                    <a:pt x="238" y="13199"/>
                    <a:pt x="14536" y="4455"/>
                  </a:cubicBezTo>
                  <a:cubicBezTo>
                    <a:pt x="28870" y="-4289"/>
                    <a:pt x="47558" y="238"/>
                    <a:pt x="56302" y="14536"/>
                  </a:cubicBezTo>
                  <a:lnTo>
                    <a:pt x="131740" y="138049"/>
                  </a:lnTo>
                  <a:lnTo>
                    <a:pt x="332302" y="19337"/>
                  </a:lnTo>
                  <a:cubicBezTo>
                    <a:pt x="346738" y="10799"/>
                    <a:pt x="365392" y="15565"/>
                    <a:pt x="373930" y="30001"/>
                  </a:cubicBezTo>
                  <a:cubicBezTo>
                    <a:pt x="382468" y="44437"/>
                    <a:pt x="377702" y="63091"/>
                    <a:pt x="363266" y="71629"/>
                  </a:cubicBezTo>
                  <a:lnTo>
                    <a:pt x="111132" y="220859"/>
                  </a:ln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230" name="Freeform: Shape 229">
              <a:extLst>
                <a:ext uri="{FF2B5EF4-FFF2-40B4-BE49-F238E27FC236}">
                  <a16:creationId xmlns:a16="http://schemas.microsoft.com/office/drawing/2014/main" id="{B6CF976D-6484-2220-6B11-2B45470243B8}"/>
                </a:ext>
              </a:extLst>
            </p:cNvPr>
            <p:cNvSpPr/>
            <p:nvPr/>
          </p:nvSpPr>
          <p:spPr>
            <a:xfrm>
              <a:off x="8796571" y="9966883"/>
              <a:ext cx="767341" cy="767341"/>
            </a:xfrm>
            <a:custGeom>
              <a:avLst/>
              <a:gdLst>
                <a:gd name="connsiteX0" fmla="*/ 383670 w 767341"/>
                <a:gd name="connsiteY0" fmla="*/ 767342 h 767341"/>
                <a:gd name="connsiteX1" fmla="*/ 0 w 767341"/>
                <a:gd name="connsiteY1" fmla="*/ 383671 h 767341"/>
                <a:gd name="connsiteX2" fmla="*/ 383670 w 767341"/>
                <a:gd name="connsiteY2" fmla="*/ 0 h 767341"/>
                <a:gd name="connsiteX3" fmla="*/ 767342 w 767341"/>
                <a:gd name="connsiteY3" fmla="*/ 383671 h 767341"/>
                <a:gd name="connsiteX4" fmla="*/ 383670 w 767341"/>
                <a:gd name="connsiteY4" fmla="*/ 767342 h 767341"/>
                <a:gd name="connsiteX5" fmla="*/ 383670 w 767341"/>
                <a:gd name="connsiteY5" fmla="*/ 54830 h 767341"/>
                <a:gd name="connsiteX6" fmla="*/ 54830 w 767341"/>
                <a:gd name="connsiteY6" fmla="*/ 383671 h 767341"/>
                <a:gd name="connsiteX7" fmla="*/ 383670 w 767341"/>
                <a:gd name="connsiteY7" fmla="*/ 712512 h 767341"/>
                <a:gd name="connsiteX8" fmla="*/ 712512 w 767341"/>
                <a:gd name="connsiteY8" fmla="*/ 383671 h 767341"/>
                <a:gd name="connsiteX9" fmla="*/ 383670 w 767341"/>
                <a:gd name="connsiteY9" fmla="*/ 54830 h 767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7341" h="767341">
                  <a:moveTo>
                    <a:pt x="383670" y="767342"/>
                  </a:moveTo>
                  <a:cubicBezTo>
                    <a:pt x="172101" y="767342"/>
                    <a:pt x="0" y="595240"/>
                    <a:pt x="0" y="383671"/>
                  </a:cubicBezTo>
                  <a:cubicBezTo>
                    <a:pt x="0" y="172102"/>
                    <a:pt x="172101" y="0"/>
                    <a:pt x="383670" y="0"/>
                  </a:cubicBezTo>
                  <a:cubicBezTo>
                    <a:pt x="595240" y="0"/>
                    <a:pt x="767342" y="172102"/>
                    <a:pt x="767342" y="383671"/>
                  </a:cubicBezTo>
                  <a:cubicBezTo>
                    <a:pt x="767342" y="595240"/>
                    <a:pt x="595240" y="767342"/>
                    <a:pt x="383670" y="767342"/>
                  </a:cubicBezTo>
                  <a:close/>
                  <a:moveTo>
                    <a:pt x="383670" y="54830"/>
                  </a:moveTo>
                  <a:cubicBezTo>
                    <a:pt x="202345" y="54830"/>
                    <a:pt x="54830" y="202345"/>
                    <a:pt x="54830" y="383671"/>
                  </a:cubicBezTo>
                  <a:cubicBezTo>
                    <a:pt x="54830" y="564996"/>
                    <a:pt x="202345" y="712512"/>
                    <a:pt x="383670" y="712512"/>
                  </a:cubicBezTo>
                  <a:cubicBezTo>
                    <a:pt x="564996" y="712512"/>
                    <a:pt x="712512" y="564996"/>
                    <a:pt x="712512" y="383671"/>
                  </a:cubicBezTo>
                  <a:cubicBezTo>
                    <a:pt x="712512" y="202345"/>
                    <a:pt x="564996" y="54830"/>
                    <a:pt x="383670" y="54830"/>
                  </a:cubicBez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grpSp>
      <p:grpSp>
        <p:nvGrpSpPr>
          <p:cNvPr id="231" name="Graphic 218">
            <a:extLst>
              <a:ext uri="{FF2B5EF4-FFF2-40B4-BE49-F238E27FC236}">
                <a16:creationId xmlns:a16="http://schemas.microsoft.com/office/drawing/2014/main" id="{ABF5B590-F255-7BE4-0FEC-D1525C1B21C1}"/>
              </a:ext>
            </a:extLst>
          </p:cNvPr>
          <p:cNvGrpSpPr/>
          <p:nvPr/>
        </p:nvGrpSpPr>
        <p:grpSpPr>
          <a:xfrm>
            <a:off x="10029752" y="773609"/>
            <a:ext cx="474196" cy="474162"/>
            <a:chOff x="7727581" y="9592917"/>
            <a:chExt cx="474196" cy="474162"/>
          </a:xfrm>
          <a:solidFill>
            <a:schemeClr val="accent4"/>
          </a:solidFill>
        </p:grpSpPr>
        <p:sp>
          <p:nvSpPr>
            <p:cNvPr id="232" name="Freeform: Shape 231">
              <a:extLst>
                <a:ext uri="{FF2B5EF4-FFF2-40B4-BE49-F238E27FC236}">
                  <a16:creationId xmlns:a16="http://schemas.microsoft.com/office/drawing/2014/main" id="{FF1A4DE4-69F3-AC5A-BF23-8BB1B99FD254}"/>
                </a:ext>
              </a:extLst>
            </p:cNvPr>
            <p:cNvSpPr/>
            <p:nvPr/>
          </p:nvSpPr>
          <p:spPr>
            <a:xfrm>
              <a:off x="7851729" y="9764179"/>
              <a:ext cx="233751" cy="136524"/>
            </a:xfrm>
            <a:custGeom>
              <a:avLst/>
              <a:gdLst>
                <a:gd name="connsiteX0" fmla="*/ 68699 w 233751"/>
                <a:gd name="connsiteY0" fmla="*/ 136524 h 136524"/>
                <a:gd name="connsiteX1" fmla="*/ 2759 w 233751"/>
                <a:gd name="connsiteY1" fmla="*/ 28579 h 136524"/>
                <a:gd name="connsiteX2" fmla="*/ 8999 w 233751"/>
                <a:gd name="connsiteY2" fmla="*/ 2759 h 136524"/>
                <a:gd name="connsiteX3" fmla="*/ 34820 w 233751"/>
                <a:gd name="connsiteY3" fmla="*/ 9000 h 136524"/>
                <a:gd name="connsiteX4" fmla="*/ 81455 w 233751"/>
                <a:gd name="connsiteY4" fmla="*/ 85329 h 136524"/>
                <a:gd name="connsiteX5" fmla="*/ 205413 w 233751"/>
                <a:gd name="connsiteY5" fmla="*/ 11983 h 136524"/>
                <a:gd name="connsiteX6" fmla="*/ 231130 w 233751"/>
                <a:gd name="connsiteY6" fmla="*/ 18567 h 136524"/>
                <a:gd name="connsiteX7" fmla="*/ 224547 w 233751"/>
                <a:gd name="connsiteY7" fmla="*/ 44284 h 136524"/>
                <a:gd name="connsiteX8" fmla="*/ 68733 w 233751"/>
                <a:gd name="connsiteY8" fmla="*/ 136490 h 136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751" h="136524">
                  <a:moveTo>
                    <a:pt x="68699" y="136524"/>
                  </a:moveTo>
                  <a:lnTo>
                    <a:pt x="2759" y="28579"/>
                  </a:lnTo>
                  <a:cubicBezTo>
                    <a:pt x="-2659" y="19732"/>
                    <a:pt x="153" y="8177"/>
                    <a:pt x="8999" y="2759"/>
                  </a:cubicBezTo>
                  <a:cubicBezTo>
                    <a:pt x="17846" y="-2659"/>
                    <a:pt x="29403" y="153"/>
                    <a:pt x="34820" y="9000"/>
                  </a:cubicBezTo>
                  <a:lnTo>
                    <a:pt x="81455" y="85329"/>
                  </a:lnTo>
                  <a:lnTo>
                    <a:pt x="205413" y="11983"/>
                  </a:lnTo>
                  <a:cubicBezTo>
                    <a:pt x="214328" y="6702"/>
                    <a:pt x="225850" y="9651"/>
                    <a:pt x="231130" y="18567"/>
                  </a:cubicBezTo>
                  <a:cubicBezTo>
                    <a:pt x="236411" y="27482"/>
                    <a:pt x="233462" y="39004"/>
                    <a:pt x="224547" y="44284"/>
                  </a:cubicBezTo>
                  <a:lnTo>
                    <a:pt x="68733" y="136490"/>
                  </a:ln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233" name="Freeform: Shape 232">
              <a:extLst>
                <a:ext uri="{FF2B5EF4-FFF2-40B4-BE49-F238E27FC236}">
                  <a16:creationId xmlns:a16="http://schemas.microsoft.com/office/drawing/2014/main" id="{8FAB0C00-B0B6-2DF1-3D25-8C56050A4866}"/>
                </a:ext>
              </a:extLst>
            </p:cNvPr>
            <p:cNvSpPr/>
            <p:nvPr/>
          </p:nvSpPr>
          <p:spPr>
            <a:xfrm>
              <a:off x="7727581" y="9592917"/>
              <a:ext cx="474196" cy="474162"/>
            </a:xfrm>
            <a:custGeom>
              <a:avLst/>
              <a:gdLst>
                <a:gd name="connsiteX0" fmla="*/ 237115 w 474196"/>
                <a:gd name="connsiteY0" fmla="*/ 474162 h 474162"/>
                <a:gd name="connsiteX1" fmla="*/ 0 w 474196"/>
                <a:gd name="connsiteY1" fmla="*/ 237081 h 474162"/>
                <a:gd name="connsiteX2" fmla="*/ 237115 w 474196"/>
                <a:gd name="connsiteY2" fmla="*/ 0 h 474162"/>
                <a:gd name="connsiteX3" fmla="*/ 474197 w 474196"/>
                <a:gd name="connsiteY3" fmla="*/ 237081 h 474162"/>
                <a:gd name="connsiteX4" fmla="*/ 237115 w 474196"/>
                <a:gd name="connsiteY4" fmla="*/ 474162 h 474162"/>
                <a:gd name="connsiteX5" fmla="*/ 237115 w 474196"/>
                <a:gd name="connsiteY5" fmla="*/ 33844 h 474162"/>
                <a:gd name="connsiteX6" fmla="*/ 33878 w 474196"/>
                <a:gd name="connsiteY6" fmla="*/ 237081 h 474162"/>
                <a:gd name="connsiteX7" fmla="*/ 237115 w 474196"/>
                <a:gd name="connsiteY7" fmla="*/ 440318 h 474162"/>
                <a:gd name="connsiteX8" fmla="*/ 440352 w 474196"/>
                <a:gd name="connsiteY8" fmla="*/ 237081 h 474162"/>
                <a:gd name="connsiteX9" fmla="*/ 237115 w 474196"/>
                <a:gd name="connsiteY9" fmla="*/ 33844 h 474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4196" h="474162">
                  <a:moveTo>
                    <a:pt x="237115" y="474162"/>
                  </a:moveTo>
                  <a:cubicBezTo>
                    <a:pt x="106368" y="474162"/>
                    <a:pt x="0" y="367794"/>
                    <a:pt x="0" y="237081"/>
                  </a:cubicBezTo>
                  <a:cubicBezTo>
                    <a:pt x="0" y="106368"/>
                    <a:pt x="106368" y="0"/>
                    <a:pt x="237115" y="0"/>
                  </a:cubicBezTo>
                  <a:cubicBezTo>
                    <a:pt x="367863" y="0"/>
                    <a:pt x="474197" y="106368"/>
                    <a:pt x="474197" y="237081"/>
                  </a:cubicBezTo>
                  <a:cubicBezTo>
                    <a:pt x="474197" y="367794"/>
                    <a:pt x="367829" y="474162"/>
                    <a:pt x="237115" y="474162"/>
                  </a:cubicBezTo>
                  <a:close/>
                  <a:moveTo>
                    <a:pt x="237115" y="33844"/>
                  </a:moveTo>
                  <a:cubicBezTo>
                    <a:pt x="125056" y="33844"/>
                    <a:pt x="33878" y="125021"/>
                    <a:pt x="33878" y="237081"/>
                  </a:cubicBezTo>
                  <a:cubicBezTo>
                    <a:pt x="33878" y="349141"/>
                    <a:pt x="125056" y="440318"/>
                    <a:pt x="237115" y="440318"/>
                  </a:cubicBezTo>
                  <a:cubicBezTo>
                    <a:pt x="349175" y="440318"/>
                    <a:pt x="440352" y="349141"/>
                    <a:pt x="440352" y="237081"/>
                  </a:cubicBezTo>
                  <a:cubicBezTo>
                    <a:pt x="440352" y="125021"/>
                    <a:pt x="349175" y="33844"/>
                    <a:pt x="237115" y="33844"/>
                  </a:cubicBez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grpSp>
      <p:grpSp>
        <p:nvGrpSpPr>
          <p:cNvPr id="234" name="Graphic 218">
            <a:extLst>
              <a:ext uri="{FF2B5EF4-FFF2-40B4-BE49-F238E27FC236}">
                <a16:creationId xmlns:a16="http://schemas.microsoft.com/office/drawing/2014/main" id="{98D29A9B-8718-0854-EA71-8C73B2DE18AF}"/>
              </a:ext>
            </a:extLst>
          </p:cNvPr>
          <p:cNvGrpSpPr/>
          <p:nvPr/>
        </p:nvGrpSpPr>
        <p:grpSpPr>
          <a:xfrm>
            <a:off x="8707563" y="210773"/>
            <a:ext cx="727428" cy="727428"/>
            <a:chOff x="6405392" y="9030081"/>
            <a:chExt cx="727428" cy="727428"/>
          </a:xfrm>
          <a:solidFill>
            <a:schemeClr val="accent4"/>
          </a:solidFill>
        </p:grpSpPr>
        <p:sp>
          <p:nvSpPr>
            <p:cNvPr id="235" name="Freeform: Shape 234">
              <a:extLst>
                <a:ext uri="{FF2B5EF4-FFF2-40B4-BE49-F238E27FC236}">
                  <a16:creationId xmlns:a16="http://schemas.microsoft.com/office/drawing/2014/main" id="{159FF431-7314-5444-329B-6654B65FBADD}"/>
                </a:ext>
              </a:extLst>
            </p:cNvPr>
            <p:cNvSpPr/>
            <p:nvPr/>
          </p:nvSpPr>
          <p:spPr>
            <a:xfrm>
              <a:off x="6595861" y="9292832"/>
              <a:ext cx="358551" cy="209421"/>
            </a:xfrm>
            <a:custGeom>
              <a:avLst/>
              <a:gdLst>
                <a:gd name="connsiteX0" fmla="*/ 105351 w 358551"/>
                <a:gd name="connsiteY0" fmla="*/ 209422 h 209421"/>
                <a:gd name="connsiteX1" fmla="*/ 4230 w 358551"/>
                <a:gd name="connsiteY1" fmla="*/ 43835 h 209421"/>
                <a:gd name="connsiteX2" fmla="*/ 13797 w 358551"/>
                <a:gd name="connsiteY2" fmla="*/ 4230 h 209421"/>
                <a:gd name="connsiteX3" fmla="*/ 53402 w 358551"/>
                <a:gd name="connsiteY3" fmla="*/ 13797 h 209421"/>
                <a:gd name="connsiteX4" fmla="*/ 124931 w 358551"/>
                <a:gd name="connsiteY4" fmla="*/ 130897 h 209421"/>
                <a:gd name="connsiteX5" fmla="*/ 315069 w 358551"/>
                <a:gd name="connsiteY5" fmla="*/ 18358 h 209421"/>
                <a:gd name="connsiteX6" fmla="*/ 354537 w 358551"/>
                <a:gd name="connsiteY6" fmla="*/ 28473 h 209421"/>
                <a:gd name="connsiteX7" fmla="*/ 344421 w 358551"/>
                <a:gd name="connsiteY7" fmla="*/ 67941 h 209421"/>
                <a:gd name="connsiteX8" fmla="*/ 105386 w 358551"/>
                <a:gd name="connsiteY8" fmla="*/ 209422 h 209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551" h="209421">
                  <a:moveTo>
                    <a:pt x="105351" y="209422"/>
                  </a:moveTo>
                  <a:lnTo>
                    <a:pt x="4230" y="43835"/>
                  </a:lnTo>
                  <a:cubicBezTo>
                    <a:pt x="-4068" y="30256"/>
                    <a:pt x="218" y="12528"/>
                    <a:pt x="13797" y="4230"/>
                  </a:cubicBezTo>
                  <a:cubicBezTo>
                    <a:pt x="27376" y="-4068"/>
                    <a:pt x="45104" y="218"/>
                    <a:pt x="53402" y="13797"/>
                  </a:cubicBezTo>
                  <a:lnTo>
                    <a:pt x="124931" y="130897"/>
                  </a:lnTo>
                  <a:lnTo>
                    <a:pt x="315069" y="18358"/>
                  </a:lnTo>
                  <a:cubicBezTo>
                    <a:pt x="328751" y="10265"/>
                    <a:pt x="346445" y="14792"/>
                    <a:pt x="354537" y="28473"/>
                  </a:cubicBezTo>
                  <a:cubicBezTo>
                    <a:pt x="362629" y="42155"/>
                    <a:pt x="358103" y="59849"/>
                    <a:pt x="344421" y="67941"/>
                  </a:cubicBezTo>
                  <a:lnTo>
                    <a:pt x="105386" y="209422"/>
                  </a:ln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236" name="Freeform: Shape 235">
              <a:extLst>
                <a:ext uri="{FF2B5EF4-FFF2-40B4-BE49-F238E27FC236}">
                  <a16:creationId xmlns:a16="http://schemas.microsoft.com/office/drawing/2014/main" id="{97AD6455-F27B-81A1-AEB1-4ED640A02678}"/>
                </a:ext>
              </a:extLst>
            </p:cNvPr>
            <p:cNvSpPr/>
            <p:nvPr/>
          </p:nvSpPr>
          <p:spPr>
            <a:xfrm>
              <a:off x="6405392" y="9030081"/>
              <a:ext cx="727428" cy="727428"/>
            </a:xfrm>
            <a:custGeom>
              <a:avLst/>
              <a:gdLst>
                <a:gd name="connsiteX0" fmla="*/ 363714 w 727428"/>
                <a:gd name="connsiteY0" fmla="*/ 727428 h 727428"/>
                <a:gd name="connsiteX1" fmla="*/ 0 w 727428"/>
                <a:gd name="connsiteY1" fmla="*/ 363714 h 727428"/>
                <a:gd name="connsiteX2" fmla="*/ 363714 w 727428"/>
                <a:gd name="connsiteY2" fmla="*/ 0 h 727428"/>
                <a:gd name="connsiteX3" fmla="*/ 727429 w 727428"/>
                <a:gd name="connsiteY3" fmla="*/ 363714 h 727428"/>
                <a:gd name="connsiteX4" fmla="*/ 363714 w 727428"/>
                <a:gd name="connsiteY4" fmla="*/ 727428 h 727428"/>
                <a:gd name="connsiteX5" fmla="*/ 363714 w 727428"/>
                <a:gd name="connsiteY5" fmla="*/ 51984 h 727428"/>
                <a:gd name="connsiteX6" fmla="*/ 51949 w 727428"/>
                <a:gd name="connsiteY6" fmla="*/ 363748 h 727428"/>
                <a:gd name="connsiteX7" fmla="*/ 363714 w 727428"/>
                <a:gd name="connsiteY7" fmla="*/ 675479 h 727428"/>
                <a:gd name="connsiteX8" fmla="*/ 675479 w 727428"/>
                <a:gd name="connsiteY8" fmla="*/ 363748 h 727428"/>
                <a:gd name="connsiteX9" fmla="*/ 363714 w 727428"/>
                <a:gd name="connsiteY9" fmla="*/ 51984 h 727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7428" h="727428">
                  <a:moveTo>
                    <a:pt x="363714" y="727428"/>
                  </a:moveTo>
                  <a:cubicBezTo>
                    <a:pt x="163152" y="727428"/>
                    <a:pt x="0" y="564276"/>
                    <a:pt x="0" y="363714"/>
                  </a:cubicBezTo>
                  <a:cubicBezTo>
                    <a:pt x="0" y="163152"/>
                    <a:pt x="163152" y="0"/>
                    <a:pt x="363714" y="0"/>
                  </a:cubicBezTo>
                  <a:cubicBezTo>
                    <a:pt x="564276" y="0"/>
                    <a:pt x="727429" y="163152"/>
                    <a:pt x="727429" y="363714"/>
                  </a:cubicBezTo>
                  <a:cubicBezTo>
                    <a:pt x="727429" y="564276"/>
                    <a:pt x="564276" y="727428"/>
                    <a:pt x="363714" y="727428"/>
                  </a:cubicBezTo>
                  <a:close/>
                  <a:moveTo>
                    <a:pt x="363714" y="51984"/>
                  </a:moveTo>
                  <a:cubicBezTo>
                    <a:pt x="191818" y="51984"/>
                    <a:pt x="51949" y="191818"/>
                    <a:pt x="51949" y="363748"/>
                  </a:cubicBezTo>
                  <a:cubicBezTo>
                    <a:pt x="51949" y="535678"/>
                    <a:pt x="191818" y="675479"/>
                    <a:pt x="363714" y="675479"/>
                  </a:cubicBezTo>
                  <a:cubicBezTo>
                    <a:pt x="535610" y="675479"/>
                    <a:pt x="675479" y="535610"/>
                    <a:pt x="675479" y="363748"/>
                  </a:cubicBezTo>
                  <a:cubicBezTo>
                    <a:pt x="675479" y="191887"/>
                    <a:pt x="535644" y="51984"/>
                    <a:pt x="363714" y="51984"/>
                  </a:cubicBez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grpSp>
      <p:grpSp>
        <p:nvGrpSpPr>
          <p:cNvPr id="237" name="Graphic 218">
            <a:extLst>
              <a:ext uri="{FF2B5EF4-FFF2-40B4-BE49-F238E27FC236}">
                <a16:creationId xmlns:a16="http://schemas.microsoft.com/office/drawing/2014/main" id="{1F88E695-83B7-02B5-85DE-47986D01EEE6}"/>
              </a:ext>
            </a:extLst>
          </p:cNvPr>
          <p:cNvGrpSpPr/>
          <p:nvPr/>
        </p:nvGrpSpPr>
        <p:grpSpPr>
          <a:xfrm>
            <a:off x="7738219" y="767848"/>
            <a:ext cx="480676" cy="480677"/>
            <a:chOff x="5436048" y="9587156"/>
            <a:chExt cx="480676" cy="480677"/>
          </a:xfrm>
          <a:solidFill>
            <a:schemeClr val="accent4"/>
          </a:solidFill>
        </p:grpSpPr>
        <p:sp>
          <p:nvSpPr>
            <p:cNvPr id="238" name="Freeform: Shape 237">
              <a:extLst>
                <a:ext uri="{FF2B5EF4-FFF2-40B4-BE49-F238E27FC236}">
                  <a16:creationId xmlns:a16="http://schemas.microsoft.com/office/drawing/2014/main" id="{9B39F1B8-7FFF-4EAC-F895-A62126511D82}"/>
                </a:ext>
              </a:extLst>
            </p:cNvPr>
            <p:cNvSpPr/>
            <p:nvPr/>
          </p:nvSpPr>
          <p:spPr>
            <a:xfrm>
              <a:off x="5561876" y="9760783"/>
              <a:ext cx="236873" cy="138377"/>
            </a:xfrm>
            <a:custGeom>
              <a:avLst/>
              <a:gdLst>
                <a:gd name="connsiteX0" fmla="*/ 69626 w 236873"/>
                <a:gd name="connsiteY0" fmla="*/ 138377 h 138377"/>
                <a:gd name="connsiteX1" fmla="*/ 2795 w 236873"/>
                <a:gd name="connsiteY1" fmla="*/ 28958 h 138377"/>
                <a:gd name="connsiteX2" fmla="*/ 9104 w 236873"/>
                <a:gd name="connsiteY2" fmla="*/ 2795 h 138377"/>
                <a:gd name="connsiteX3" fmla="*/ 35267 w 236873"/>
                <a:gd name="connsiteY3" fmla="*/ 9104 h 138377"/>
                <a:gd name="connsiteX4" fmla="*/ 82519 w 236873"/>
                <a:gd name="connsiteY4" fmla="*/ 86462 h 138377"/>
                <a:gd name="connsiteX5" fmla="*/ 208157 w 236873"/>
                <a:gd name="connsiteY5" fmla="*/ 12122 h 138377"/>
                <a:gd name="connsiteX6" fmla="*/ 234218 w 236873"/>
                <a:gd name="connsiteY6" fmla="*/ 18808 h 138377"/>
                <a:gd name="connsiteX7" fmla="*/ 227531 w 236873"/>
                <a:gd name="connsiteY7" fmla="*/ 44903 h 138377"/>
                <a:gd name="connsiteX8" fmla="*/ 69591 w 236873"/>
                <a:gd name="connsiteY8" fmla="*/ 138377 h 13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873" h="138377">
                  <a:moveTo>
                    <a:pt x="69626" y="138377"/>
                  </a:moveTo>
                  <a:lnTo>
                    <a:pt x="2795" y="28958"/>
                  </a:lnTo>
                  <a:cubicBezTo>
                    <a:pt x="-2692" y="19974"/>
                    <a:pt x="154" y="8281"/>
                    <a:pt x="9104" y="2795"/>
                  </a:cubicBezTo>
                  <a:cubicBezTo>
                    <a:pt x="18088" y="-2692"/>
                    <a:pt x="29781" y="154"/>
                    <a:pt x="35267" y="9104"/>
                  </a:cubicBezTo>
                  <a:lnTo>
                    <a:pt x="82519" y="86462"/>
                  </a:lnTo>
                  <a:lnTo>
                    <a:pt x="208157" y="12122"/>
                  </a:lnTo>
                  <a:cubicBezTo>
                    <a:pt x="217210" y="6772"/>
                    <a:pt x="228868" y="9755"/>
                    <a:pt x="234218" y="18808"/>
                  </a:cubicBezTo>
                  <a:cubicBezTo>
                    <a:pt x="239567" y="27861"/>
                    <a:pt x="236584" y="39519"/>
                    <a:pt x="227531" y="44903"/>
                  </a:cubicBezTo>
                  <a:lnTo>
                    <a:pt x="69591" y="138377"/>
                  </a:ln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239" name="Freeform: Shape 238">
              <a:extLst>
                <a:ext uri="{FF2B5EF4-FFF2-40B4-BE49-F238E27FC236}">
                  <a16:creationId xmlns:a16="http://schemas.microsoft.com/office/drawing/2014/main" id="{FCC2088D-6890-DDB9-FD8E-4196A2E26C72}"/>
                </a:ext>
              </a:extLst>
            </p:cNvPr>
            <p:cNvSpPr/>
            <p:nvPr/>
          </p:nvSpPr>
          <p:spPr>
            <a:xfrm>
              <a:off x="5436048" y="9587156"/>
              <a:ext cx="480676" cy="480677"/>
            </a:xfrm>
            <a:custGeom>
              <a:avLst/>
              <a:gdLst>
                <a:gd name="connsiteX0" fmla="*/ 240339 w 480676"/>
                <a:gd name="connsiteY0" fmla="*/ 480677 h 480677"/>
                <a:gd name="connsiteX1" fmla="*/ 0 w 480676"/>
                <a:gd name="connsiteY1" fmla="*/ 240339 h 480677"/>
                <a:gd name="connsiteX2" fmla="*/ 240339 w 480676"/>
                <a:gd name="connsiteY2" fmla="*/ 0 h 480677"/>
                <a:gd name="connsiteX3" fmla="*/ 480677 w 480676"/>
                <a:gd name="connsiteY3" fmla="*/ 240339 h 480677"/>
                <a:gd name="connsiteX4" fmla="*/ 240339 w 480676"/>
                <a:gd name="connsiteY4" fmla="*/ 480677 h 480677"/>
                <a:gd name="connsiteX5" fmla="*/ 240339 w 480676"/>
                <a:gd name="connsiteY5" fmla="*/ 34359 h 480677"/>
                <a:gd name="connsiteX6" fmla="*/ 34324 w 480676"/>
                <a:gd name="connsiteY6" fmla="*/ 240339 h 480677"/>
                <a:gd name="connsiteX7" fmla="*/ 240339 w 480676"/>
                <a:gd name="connsiteY7" fmla="*/ 446353 h 480677"/>
                <a:gd name="connsiteX8" fmla="*/ 446353 w 480676"/>
                <a:gd name="connsiteY8" fmla="*/ 240339 h 480677"/>
                <a:gd name="connsiteX9" fmla="*/ 240339 w 480676"/>
                <a:gd name="connsiteY9" fmla="*/ 34359 h 480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0676" h="480677">
                  <a:moveTo>
                    <a:pt x="240339" y="480677"/>
                  </a:moveTo>
                  <a:cubicBezTo>
                    <a:pt x="107808" y="480677"/>
                    <a:pt x="0" y="372869"/>
                    <a:pt x="0" y="240339"/>
                  </a:cubicBezTo>
                  <a:cubicBezTo>
                    <a:pt x="0" y="107808"/>
                    <a:pt x="107808" y="0"/>
                    <a:pt x="240339" y="0"/>
                  </a:cubicBezTo>
                  <a:cubicBezTo>
                    <a:pt x="372869" y="0"/>
                    <a:pt x="480677" y="107808"/>
                    <a:pt x="480677" y="240339"/>
                  </a:cubicBezTo>
                  <a:cubicBezTo>
                    <a:pt x="480677" y="372869"/>
                    <a:pt x="372869" y="480677"/>
                    <a:pt x="240339" y="480677"/>
                  </a:cubicBezTo>
                  <a:close/>
                  <a:moveTo>
                    <a:pt x="240339" y="34359"/>
                  </a:moveTo>
                  <a:cubicBezTo>
                    <a:pt x="126770" y="34359"/>
                    <a:pt x="34324" y="126770"/>
                    <a:pt x="34324" y="240339"/>
                  </a:cubicBezTo>
                  <a:cubicBezTo>
                    <a:pt x="34324" y="353907"/>
                    <a:pt x="126736" y="446353"/>
                    <a:pt x="240339" y="446353"/>
                  </a:cubicBezTo>
                  <a:cubicBezTo>
                    <a:pt x="353941" y="446353"/>
                    <a:pt x="446353" y="353941"/>
                    <a:pt x="446353" y="240339"/>
                  </a:cubicBezTo>
                  <a:cubicBezTo>
                    <a:pt x="446353" y="126736"/>
                    <a:pt x="353941" y="34359"/>
                    <a:pt x="240339" y="34359"/>
                  </a:cubicBez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grpSp>
      <p:grpSp>
        <p:nvGrpSpPr>
          <p:cNvPr id="240" name="Graphic 218">
            <a:extLst>
              <a:ext uri="{FF2B5EF4-FFF2-40B4-BE49-F238E27FC236}">
                <a16:creationId xmlns:a16="http://schemas.microsoft.com/office/drawing/2014/main" id="{BF9C6CD2-3BBE-38FF-E517-2F06ED512FF2}"/>
              </a:ext>
            </a:extLst>
          </p:cNvPr>
          <p:cNvGrpSpPr/>
          <p:nvPr/>
        </p:nvGrpSpPr>
        <p:grpSpPr>
          <a:xfrm>
            <a:off x="6750153" y="163727"/>
            <a:ext cx="601720" cy="601720"/>
            <a:chOff x="4447982" y="8983035"/>
            <a:chExt cx="601720" cy="601720"/>
          </a:xfrm>
          <a:solidFill>
            <a:schemeClr val="accent4"/>
          </a:solidFill>
        </p:grpSpPr>
        <p:sp>
          <p:nvSpPr>
            <p:cNvPr id="241" name="Freeform: Shape 240">
              <a:extLst>
                <a:ext uri="{FF2B5EF4-FFF2-40B4-BE49-F238E27FC236}">
                  <a16:creationId xmlns:a16="http://schemas.microsoft.com/office/drawing/2014/main" id="{5F40545C-4CFB-0F10-6AC3-48201DA06A09}"/>
                </a:ext>
              </a:extLst>
            </p:cNvPr>
            <p:cNvSpPr/>
            <p:nvPr/>
          </p:nvSpPr>
          <p:spPr>
            <a:xfrm>
              <a:off x="4605510" y="9200399"/>
              <a:ext cx="296546" cy="173233"/>
            </a:xfrm>
            <a:custGeom>
              <a:avLst/>
              <a:gdLst>
                <a:gd name="connsiteX0" fmla="*/ 87166 w 296546"/>
                <a:gd name="connsiteY0" fmla="*/ 173199 h 173233"/>
                <a:gd name="connsiteX1" fmla="*/ 3498 w 296546"/>
                <a:gd name="connsiteY1" fmla="*/ 36245 h 173233"/>
                <a:gd name="connsiteX2" fmla="*/ 11419 w 296546"/>
                <a:gd name="connsiteY2" fmla="*/ 3498 h 173233"/>
                <a:gd name="connsiteX3" fmla="*/ 44166 w 296546"/>
                <a:gd name="connsiteY3" fmla="*/ 11419 h 173233"/>
                <a:gd name="connsiteX4" fmla="*/ 103316 w 296546"/>
                <a:gd name="connsiteY4" fmla="*/ 108288 h 173233"/>
                <a:gd name="connsiteX5" fmla="*/ 260570 w 296546"/>
                <a:gd name="connsiteY5" fmla="*/ 15191 h 173233"/>
                <a:gd name="connsiteX6" fmla="*/ 293214 w 296546"/>
                <a:gd name="connsiteY6" fmla="*/ 23558 h 173233"/>
                <a:gd name="connsiteX7" fmla="*/ 284848 w 296546"/>
                <a:gd name="connsiteY7" fmla="*/ 56202 h 173233"/>
                <a:gd name="connsiteX8" fmla="*/ 87131 w 296546"/>
                <a:gd name="connsiteY8" fmla="*/ 173233 h 173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6546" h="173233">
                  <a:moveTo>
                    <a:pt x="87166" y="173199"/>
                  </a:moveTo>
                  <a:lnTo>
                    <a:pt x="3498" y="36245"/>
                  </a:lnTo>
                  <a:cubicBezTo>
                    <a:pt x="-3360" y="24998"/>
                    <a:pt x="172" y="10356"/>
                    <a:pt x="11419" y="3498"/>
                  </a:cubicBezTo>
                  <a:cubicBezTo>
                    <a:pt x="22666" y="-3360"/>
                    <a:pt x="37308" y="172"/>
                    <a:pt x="44166" y="11419"/>
                  </a:cubicBezTo>
                  <a:lnTo>
                    <a:pt x="103316" y="108288"/>
                  </a:lnTo>
                  <a:lnTo>
                    <a:pt x="260570" y="15191"/>
                  </a:lnTo>
                  <a:cubicBezTo>
                    <a:pt x="271886" y="8470"/>
                    <a:pt x="286528" y="12242"/>
                    <a:pt x="293214" y="23558"/>
                  </a:cubicBezTo>
                  <a:cubicBezTo>
                    <a:pt x="299935" y="34873"/>
                    <a:pt x="296163" y="49481"/>
                    <a:pt x="284848" y="56202"/>
                  </a:cubicBezTo>
                  <a:lnTo>
                    <a:pt x="87131" y="173233"/>
                  </a:ln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242" name="Freeform: Shape 241">
              <a:extLst>
                <a:ext uri="{FF2B5EF4-FFF2-40B4-BE49-F238E27FC236}">
                  <a16:creationId xmlns:a16="http://schemas.microsoft.com/office/drawing/2014/main" id="{96493990-0252-0FE7-DD2B-A411B81439E7}"/>
                </a:ext>
              </a:extLst>
            </p:cNvPr>
            <p:cNvSpPr/>
            <p:nvPr/>
          </p:nvSpPr>
          <p:spPr>
            <a:xfrm>
              <a:off x="4447982" y="8983035"/>
              <a:ext cx="601720" cy="601720"/>
            </a:xfrm>
            <a:custGeom>
              <a:avLst/>
              <a:gdLst>
                <a:gd name="connsiteX0" fmla="*/ 300860 w 601720"/>
                <a:gd name="connsiteY0" fmla="*/ 601721 h 601720"/>
                <a:gd name="connsiteX1" fmla="*/ 0 w 601720"/>
                <a:gd name="connsiteY1" fmla="*/ 300860 h 601720"/>
                <a:gd name="connsiteX2" fmla="*/ 300860 w 601720"/>
                <a:gd name="connsiteY2" fmla="*/ 0 h 601720"/>
                <a:gd name="connsiteX3" fmla="*/ 601721 w 601720"/>
                <a:gd name="connsiteY3" fmla="*/ 300860 h 601720"/>
                <a:gd name="connsiteX4" fmla="*/ 300860 w 601720"/>
                <a:gd name="connsiteY4" fmla="*/ 601721 h 601720"/>
                <a:gd name="connsiteX5" fmla="*/ 300860 w 601720"/>
                <a:gd name="connsiteY5" fmla="*/ 43000 h 601720"/>
                <a:gd name="connsiteX6" fmla="*/ 43000 w 601720"/>
                <a:gd name="connsiteY6" fmla="*/ 300860 h 601720"/>
                <a:gd name="connsiteX7" fmla="*/ 300860 w 601720"/>
                <a:gd name="connsiteY7" fmla="*/ 558721 h 601720"/>
                <a:gd name="connsiteX8" fmla="*/ 558722 w 601720"/>
                <a:gd name="connsiteY8" fmla="*/ 300860 h 601720"/>
                <a:gd name="connsiteX9" fmla="*/ 300860 w 601720"/>
                <a:gd name="connsiteY9" fmla="*/ 43000 h 60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720" h="601720">
                  <a:moveTo>
                    <a:pt x="300860" y="601721"/>
                  </a:moveTo>
                  <a:cubicBezTo>
                    <a:pt x="134965" y="601721"/>
                    <a:pt x="0" y="466756"/>
                    <a:pt x="0" y="300860"/>
                  </a:cubicBezTo>
                  <a:cubicBezTo>
                    <a:pt x="0" y="134965"/>
                    <a:pt x="134965" y="0"/>
                    <a:pt x="300860" y="0"/>
                  </a:cubicBezTo>
                  <a:cubicBezTo>
                    <a:pt x="466755" y="0"/>
                    <a:pt x="601721" y="134965"/>
                    <a:pt x="601721" y="300860"/>
                  </a:cubicBezTo>
                  <a:cubicBezTo>
                    <a:pt x="601721" y="466756"/>
                    <a:pt x="466755" y="601721"/>
                    <a:pt x="300860" y="601721"/>
                  </a:cubicBezTo>
                  <a:close/>
                  <a:moveTo>
                    <a:pt x="300860" y="43000"/>
                  </a:moveTo>
                  <a:cubicBezTo>
                    <a:pt x="158660" y="43000"/>
                    <a:pt x="43000" y="158694"/>
                    <a:pt x="43000" y="300860"/>
                  </a:cubicBezTo>
                  <a:cubicBezTo>
                    <a:pt x="43000" y="443027"/>
                    <a:pt x="158694" y="558721"/>
                    <a:pt x="300860" y="558721"/>
                  </a:cubicBezTo>
                  <a:cubicBezTo>
                    <a:pt x="443027" y="558721"/>
                    <a:pt x="558722" y="443027"/>
                    <a:pt x="558722" y="300860"/>
                  </a:cubicBezTo>
                  <a:cubicBezTo>
                    <a:pt x="558722" y="158694"/>
                    <a:pt x="443027" y="43000"/>
                    <a:pt x="300860" y="43000"/>
                  </a:cubicBez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grpSp>
      <p:grpSp>
        <p:nvGrpSpPr>
          <p:cNvPr id="243" name="Graphic 218">
            <a:extLst>
              <a:ext uri="{FF2B5EF4-FFF2-40B4-BE49-F238E27FC236}">
                <a16:creationId xmlns:a16="http://schemas.microsoft.com/office/drawing/2014/main" id="{B79C510B-FAB1-1F27-A428-52E0B255C585}"/>
              </a:ext>
            </a:extLst>
          </p:cNvPr>
          <p:cNvGrpSpPr/>
          <p:nvPr/>
        </p:nvGrpSpPr>
        <p:grpSpPr>
          <a:xfrm>
            <a:off x="5657913" y="802207"/>
            <a:ext cx="667077" cy="667077"/>
            <a:chOff x="3355742" y="9621515"/>
            <a:chExt cx="667077" cy="667077"/>
          </a:xfrm>
          <a:solidFill>
            <a:schemeClr val="accent4"/>
          </a:solidFill>
        </p:grpSpPr>
        <p:sp>
          <p:nvSpPr>
            <p:cNvPr id="244" name="Freeform: Shape 243">
              <a:extLst>
                <a:ext uri="{FF2B5EF4-FFF2-40B4-BE49-F238E27FC236}">
                  <a16:creationId xmlns:a16="http://schemas.microsoft.com/office/drawing/2014/main" id="{AE9A2FA7-1164-1A59-B22E-833C41BAE8D1}"/>
                </a:ext>
              </a:extLst>
            </p:cNvPr>
            <p:cNvSpPr/>
            <p:nvPr/>
          </p:nvSpPr>
          <p:spPr>
            <a:xfrm>
              <a:off x="3530379" y="9862467"/>
              <a:ext cx="328793" cy="192061"/>
            </a:xfrm>
            <a:custGeom>
              <a:avLst/>
              <a:gdLst>
                <a:gd name="connsiteX0" fmla="*/ 96632 w 328793"/>
                <a:gd name="connsiteY0" fmla="*/ 192027 h 192061"/>
                <a:gd name="connsiteX1" fmla="*/ 3878 w 328793"/>
                <a:gd name="connsiteY1" fmla="*/ 40191 h 192061"/>
                <a:gd name="connsiteX2" fmla="*/ 12656 w 328793"/>
                <a:gd name="connsiteY2" fmla="*/ 3878 h 192061"/>
                <a:gd name="connsiteX3" fmla="*/ 48969 w 328793"/>
                <a:gd name="connsiteY3" fmla="*/ 12656 h 192061"/>
                <a:gd name="connsiteX4" fmla="*/ 114566 w 328793"/>
                <a:gd name="connsiteY4" fmla="*/ 120052 h 192061"/>
                <a:gd name="connsiteX5" fmla="*/ 288931 w 328793"/>
                <a:gd name="connsiteY5" fmla="*/ 16874 h 192061"/>
                <a:gd name="connsiteX6" fmla="*/ 325106 w 328793"/>
                <a:gd name="connsiteY6" fmla="*/ 26166 h 192061"/>
                <a:gd name="connsiteX7" fmla="*/ 315814 w 328793"/>
                <a:gd name="connsiteY7" fmla="*/ 62342 h 192061"/>
                <a:gd name="connsiteX8" fmla="*/ 96598 w 328793"/>
                <a:gd name="connsiteY8" fmla="*/ 192061 h 19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8793" h="192061">
                  <a:moveTo>
                    <a:pt x="96632" y="192027"/>
                  </a:moveTo>
                  <a:lnTo>
                    <a:pt x="3878" y="40191"/>
                  </a:lnTo>
                  <a:cubicBezTo>
                    <a:pt x="-3734" y="27744"/>
                    <a:pt x="209" y="11490"/>
                    <a:pt x="12656" y="3878"/>
                  </a:cubicBezTo>
                  <a:cubicBezTo>
                    <a:pt x="25103" y="-3735"/>
                    <a:pt x="41357" y="209"/>
                    <a:pt x="48969" y="12656"/>
                  </a:cubicBezTo>
                  <a:lnTo>
                    <a:pt x="114566" y="120052"/>
                  </a:lnTo>
                  <a:lnTo>
                    <a:pt x="288931" y="16874"/>
                  </a:lnTo>
                  <a:cubicBezTo>
                    <a:pt x="301481" y="9433"/>
                    <a:pt x="317700" y="13582"/>
                    <a:pt x="325106" y="26166"/>
                  </a:cubicBezTo>
                  <a:cubicBezTo>
                    <a:pt x="332547" y="38717"/>
                    <a:pt x="328364" y="54936"/>
                    <a:pt x="315814" y="62342"/>
                  </a:cubicBezTo>
                  <a:lnTo>
                    <a:pt x="96598" y="192061"/>
                  </a:ln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245" name="Freeform: Shape 244">
              <a:extLst>
                <a:ext uri="{FF2B5EF4-FFF2-40B4-BE49-F238E27FC236}">
                  <a16:creationId xmlns:a16="http://schemas.microsoft.com/office/drawing/2014/main" id="{10FAB01F-B5C7-0365-A3AA-66C1D5FDE456}"/>
                </a:ext>
              </a:extLst>
            </p:cNvPr>
            <p:cNvSpPr/>
            <p:nvPr/>
          </p:nvSpPr>
          <p:spPr>
            <a:xfrm>
              <a:off x="3355742" y="9621515"/>
              <a:ext cx="667077" cy="667077"/>
            </a:xfrm>
            <a:custGeom>
              <a:avLst/>
              <a:gdLst>
                <a:gd name="connsiteX0" fmla="*/ 333539 w 667077"/>
                <a:gd name="connsiteY0" fmla="*/ 667078 h 667077"/>
                <a:gd name="connsiteX1" fmla="*/ 0 w 667077"/>
                <a:gd name="connsiteY1" fmla="*/ 333539 h 667077"/>
                <a:gd name="connsiteX2" fmla="*/ 333539 w 667077"/>
                <a:gd name="connsiteY2" fmla="*/ 0 h 667077"/>
                <a:gd name="connsiteX3" fmla="*/ 667078 w 667077"/>
                <a:gd name="connsiteY3" fmla="*/ 333539 h 667077"/>
                <a:gd name="connsiteX4" fmla="*/ 333539 w 667077"/>
                <a:gd name="connsiteY4" fmla="*/ 667078 h 667077"/>
                <a:gd name="connsiteX5" fmla="*/ 333539 w 667077"/>
                <a:gd name="connsiteY5" fmla="*/ 47663 h 667077"/>
                <a:gd name="connsiteX6" fmla="*/ 47663 w 667077"/>
                <a:gd name="connsiteY6" fmla="*/ 333573 h 667077"/>
                <a:gd name="connsiteX7" fmla="*/ 333539 w 667077"/>
                <a:gd name="connsiteY7" fmla="*/ 619449 h 667077"/>
                <a:gd name="connsiteX8" fmla="*/ 619449 w 667077"/>
                <a:gd name="connsiteY8" fmla="*/ 333573 h 667077"/>
                <a:gd name="connsiteX9" fmla="*/ 333539 w 667077"/>
                <a:gd name="connsiteY9" fmla="*/ 47663 h 66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7077" h="667077">
                  <a:moveTo>
                    <a:pt x="333539" y="667078"/>
                  </a:moveTo>
                  <a:cubicBezTo>
                    <a:pt x="149642" y="667078"/>
                    <a:pt x="0" y="517436"/>
                    <a:pt x="0" y="333539"/>
                  </a:cubicBezTo>
                  <a:cubicBezTo>
                    <a:pt x="0" y="149642"/>
                    <a:pt x="149607" y="0"/>
                    <a:pt x="333539" y="0"/>
                  </a:cubicBezTo>
                  <a:cubicBezTo>
                    <a:pt x="517471" y="0"/>
                    <a:pt x="667078" y="149642"/>
                    <a:pt x="667078" y="333539"/>
                  </a:cubicBezTo>
                  <a:cubicBezTo>
                    <a:pt x="667078" y="517436"/>
                    <a:pt x="517436" y="667078"/>
                    <a:pt x="333539" y="667078"/>
                  </a:cubicBezTo>
                  <a:close/>
                  <a:moveTo>
                    <a:pt x="333539" y="47663"/>
                  </a:moveTo>
                  <a:cubicBezTo>
                    <a:pt x="175908" y="47663"/>
                    <a:pt x="47663" y="175908"/>
                    <a:pt x="47663" y="333573"/>
                  </a:cubicBezTo>
                  <a:cubicBezTo>
                    <a:pt x="47663" y="491239"/>
                    <a:pt x="175908" y="619449"/>
                    <a:pt x="333539" y="619449"/>
                  </a:cubicBezTo>
                  <a:cubicBezTo>
                    <a:pt x="491170" y="619449"/>
                    <a:pt x="619449" y="491204"/>
                    <a:pt x="619449" y="333573"/>
                  </a:cubicBezTo>
                  <a:cubicBezTo>
                    <a:pt x="619449" y="175942"/>
                    <a:pt x="491204" y="47663"/>
                    <a:pt x="333539" y="47663"/>
                  </a:cubicBez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grpSp>
      <p:grpSp>
        <p:nvGrpSpPr>
          <p:cNvPr id="246" name="Graphic 218">
            <a:extLst>
              <a:ext uri="{FF2B5EF4-FFF2-40B4-BE49-F238E27FC236}">
                <a16:creationId xmlns:a16="http://schemas.microsoft.com/office/drawing/2014/main" id="{D5657C0A-3206-1B7B-4B69-706CFA2D422E}"/>
              </a:ext>
            </a:extLst>
          </p:cNvPr>
          <p:cNvGrpSpPr/>
          <p:nvPr/>
        </p:nvGrpSpPr>
        <p:grpSpPr>
          <a:xfrm>
            <a:off x="10863307" y="364632"/>
            <a:ext cx="379316" cy="379315"/>
            <a:chOff x="8561136" y="9183940"/>
            <a:chExt cx="379316" cy="379315"/>
          </a:xfrm>
          <a:solidFill>
            <a:schemeClr val="accent4"/>
          </a:solidFill>
        </p:grpSpPr>
        <p:sp>
          <p:nvSpPr>
            <p:cNvPr id="247" name="Freeform: Shape 246">
              <a:extLst>
                <a:ext uri="{FF2B5EF4-FFF2-40B4-BE49-F238E27FC236}">
                  <a16:creationId xmlns:a16="http://schemas.microsoft.com/office/drawing/2014/main" id="{BECF7B19-5A46-8FB5-F28F-919042407755}"/>
                </a:ext>
              </a:extLst>
            </p:cNvPr>
            <p:cNvSpPr/>
            <p:nvPr/>
          </p:nvSpPr>
          <p:spPr>
            <a:xfrm>
              <a:off x="8660431" y="9320954"/>
              <a:ext cx="186922" cy="109188"/>
            </a:xfrm>
            <a:custGeom>
              <a:avLst/>
              <a:gdLst>
                <a:gd name="connsiteX0" fmla="*/ 54942 w 186922"/>
                <a:gd name="connsiteY0" fmla="*/ 109188 h 109188"/>
                <a:gd name="connsiteX1" fmla="*/ 2204 w 186922"/>
                <a:gd name="connsiteY1" fmla="*/ 22846 h 109188"/>
                <a:gd name="connsiteX2" fmla="*/ 7176 w 186922"/>
                <a:gd name="connsiteY2" fmla="*/ 2204 h 109188"/>
                <a:gd name="connsiteX3" fmla="*/ 27818 w 186922"/>
                <a:gd name="connsiteY3" fmla="*/ 7176 h 109188"/>
                <a:gd name="connsiteX4" fmla="*/ 65126 w 186922"/>
                <a:gd name="connsiteY4" fmla="*/ 68246 h 109188"/>
                <a:gd name="connsiteX5" fmla="*/ 164258 w 186922"/>
                <a:gd name="connsiteY5" fmla="*/ 9576 h 109188"/>
                <a:gd name="connsiteX6" fmla="*/ 184832 w 186922"/>
                <a:gd name="connsiteY6" fmla="*/ 14857 h 109188"/>
                <a:gd name="connsiteX7" fmla="*/ 179551 w 186922"/>
                <a:gd name="connsiteY7" fmla="*/ 35431 h 109188"/>
                <a:gd name="connsiteX8" fmla="*/ 54908 w 186922"/>
                <a:gd name="connsiteY8" fmla="*/ 109188 h 109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922" h="109188">
                  <a:moveTo>
                    <a:pt x="54942" y="109188"/>
                  </a:moveTo>
                  <a:lnTo>
                    <a:pt x="2204" y="22846"/>
                  </a:lnTo>
                  <a:cubicBezTo>
                    <a:pt x="-2117" y="15748"/>
                    <a:pt x="112" y="6524"/>
                    <a:pt x="7176" y="2204"/>
                  </a:cubicBezTo>
                  <a:cubicBezTo>
                    <a:pt x="14239" y="-2117"/>
                    <a:pt x="23498" y="112"/>
                    <a:pt x="27818" y="7176"/>
                  </a:cubicBezTo>
                  <a:lnTo>
                    <a:pt x="65126" y="68246"/>
                  </a:lnTo>
                  <a:lnTo>
                    <a:pt x="164258" y="9576"/>
                  </a:lnTo>
                  <a:cubicBezTo>
                    <a:pt x="171391" y="5358"/>
                    <a:pt x="180615" y="7724"/>
                    <a:pt x="184832" y="14857"/>
                  </a:cubicBezTo>
                  <a:cubicBezTo>
                    <a:pt x="189050" y="21989"/>
                    <a:pt x="186684" y="31213"/>
                    <a:pt x="179551" y="35431"/>
                  </a:cubicBezTo>
                  <a:lnTo>
                    <a:pt x="54908" y="109188"/>
                  </a:ln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248" name="Freeform: Shape 247">
              <a:extLst>
                <a:ext uri="{FF2B5EF4-FFF2-40B4-BE49-F238E27FC236}">
                  <a16:creationId xmlns:a16="http://schemas.microsoft.com/office/drawing/2014/main" id="{BBBA85E8-5172-2E9A-DC39-396C420627E9}"/>
                </a:ext>
              </a:extLst>
            </p:cNvPr>
            <p:cNvSpPr/>
            <p:nvPr/>
          </p:nvSpPr>
          <p:spPr>
            <a:xfrm>
              <a:off x="8561136" y="9183940"/>
              <a:ext cx="379316" cy="379315"/>
            </a:xfrm>
            <a:custGeom>
              <a:avLst/>
              <a:gdLst>
                <a:gd name="connsiteX0" fmla="*/ 189658 w 379316"/>
                <a:gd name="connsiteY0" fmla="*/ 379316 h 379315"/>
                <a:gd name="connsiteX1" fmla="*/ 0 w 379316"/>
                <a:gd name="connsiteY1" fmla="*/ 189658 h 379315"/>
                <a:gd name="connsiteX2" fmla="*/ 189658 w 379316"/>
                <a:gd name="connsiteY2" fmla="*/ 0 h 379315"/>
                <a:gd name="connsiteX3" fmla="*/ 379316 w 379316"/>
                <a:gd name="connsiteY3" fmla="*/ 189658 h 379315"/>
                <a:gd name="connsiteX4" fmla="*/ 189658 w 379316"/>
                <a:gd name="connsiteY4" fmla="*/ 379316 h 379315"/>
                <a:gd name="connsiteX5" fmla="*/ 189658 w 379316"/>
                <a:gd name="connsiteY5" fmla="*/ 27089 h 379315"/>
                <a:gd name="connsiteX6" fmla="*/ 27090 w 379316"/>
                <a:gd name="connsiteY6" fmla="*/ 189658 h 379315"/>
                <a:gd name="connsiteX7" fmla="*/ 189658 w 379316"/>
                <a:gd name="connsiteY7" fmla="*/ 352227 h 379315"/>
                <a:gd name="connsiteX8" fmla="*/ 352228 w 379316"/>
                <a:gd name="connsiteY8" fmla="*/ 189658 h 379315"/>
                <a:gd name="connsiteX9" fmla="*/ 189658 w 379316"/>
                <a:gd name="connsiteY9" fmla="*/ 27089 h 379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9316" h="379315">
                  <a:moveTo>
                    <a:pt x="189658" y="379316"/>
                  </a:moveTo>
                  <a:cubicBezTo>
                    <a:pt x="85074" y="379316"/>
                    <a:pt x="0" y="294242"/>
                    <a:pt x="0" y="189658"/>
                  </a:cubicBezTo>
                  <a:cubicBezTo>
                    <a:pt x="0" y="85073"/>
                    <a:pt x="85074" y="0"/>
                    <a:pt x="189658" y="0"/>
                  </a:cubicBezTo>
                  <a:cubicBezTo>
                    <a:pt x="294243" y="0"/>
                    <a:pt x="379316" y="85073"/>
                    <a:pt x="379316" y="189658"/>
                  </a:cubicBezTo>
                  <a:cubicBezTo>
                    <a:pt x="379316" y="294242"/>
                    <a:pt x="294243" y="379316"/>
                    <a:pt x="189658" y="379316"/>
                  </a:cubicBezTo>
                  <a:close/>
                  <a:moveTo>
                    <a:pt x="189658" y="27089"/>
                  </a:moveTo>
                  <a:cubicBezTo>
                    <a:pt x="100025" y="27089"/>
                    <a:pt x="27090" y="100024"/>
                    <a:pt x="27090" y="189658"/>
                  </a:cubicBezTo>
                  <a:cubicBezTo>
                    <a:pt x="27090" y="279292"/>
                    <a:pt x="100025" y="352227"/>
                    <a:pt x="189658" y="352227"/>
                  </a:cubicBezTo>
                  <a:cubicBezTo>
                    <a:pt x="279293" y="352227"/>
                    <a:pt x="352228" y="279292"/>
                    <a:pt x="352228" y="189658"/>
                  </a:cubicBezTo>
                  <a:cubicBezTo>
                    <a:pt x="352228" y="100024"/>
                    <a:pt x="279293" y="27089"/>
                    <a:pt x="189658" y="27089"/>
                  </a:cubicBez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grpSp>
      <p:grpSp>
        <p:nvGrpSpPr>
          <p:cNvPr id="416" name="Graphic 218">
            <a:extLst>
              <a:ext uri="{FF2B5EF4-FFF2-40B4-BE49-F238E27FC236}">
                <a16:creationId xmlns:a16="http://schemas.microsoft.com/office/drawing/2014/main" id="{4A34F5A6-195F-40E6-B4DA-D789B5FFF344}"/>
              </a:ext>
            </a:extLst>
          </p:cNvPr>
          <p:cNvGrpSpPr/>
          <p:nvPr/>
        </p:nvGrpSpPr>
        <p:grpSpPr>
          <a:xfrm>
            <a:off x="4772893" y="1147575"/>
            <a:ext cx="767341" cy="767341"/>
            <a:chOff x="8796571" y="9966883"/>
            <a:chExt cx="767341" cy="767341"/>
          </a:xfrm>
          <a:solidFill>
            <a:schemeClr val="accent4"/>
          </a:solidFill>
        </p:grpSpPr>
        <p:sp>
          <p:nvSpPr>
            <p:cNvPr id="417" name="Freeform: Shape 416">
              <a:extLst>
                <a:ext uri="{FF2B5EF4-FFF2-40B4-BE49-F238E27FC236}">
                  <a16:creationId xmlns:a16="http://schemas.microsoft.com/office/drawing/2014/main" id="{DD12910C-BCCC-DCED-513B-94F6967EAA1A}"/>
                </a:ext>
              </a:extLst>
            </p:cNvPr>
            <p:cNvSpPr/>
            <p:nvPr/>
          </p:nvSpPr>
          <p:spPr>
            <a:xfrm>
              <a:off x="8997479" y="10244086"/>
              <a:ext cx="378168" cy="220893"/>
            </a:xfrm>
            <a:custGeom>
              <a:avLst/>
              <a:gdLst>
                <a:gd name="connsiteX0" fmla="*/ 111132 w 378168"/>
                <a:gd name="connsiteY0" fmla="*/ 220894 h 220893"/>
                <a:gd name="connsiteX1" fmla="*/ 4455 w 378168"/>
                <a:gd name="connsiteY1" fmla="*/ 46220 h 220893"/>
                <a:gd name="connsiteX2" fmla="*/ 14536 w 378168"/>
                <a:gd name="connsiteY2" fmla="*/ 4455 h 220893"/>
                <a:gd name="connsiteX3" fmla="*/ 56302 w 378168"/>
                <a:gd name="connsiteY3" fmla="*/ 14536 h 220893"/>
                <a:gd name="connsiteX4" fmla="*/ 131740 w 378168"/>
                <a:gd name="connsiteY4" fmla="*/ 138049 h 220893"/>
                <a:gd name="connsiteX5" fmla="*/ 332302 w 378168"/>
                <a:gd name="connsiteY5" fmla="*/ 19337 h 220893"/>
                <a:gd name="connsiteX6" fmla="*/ 373930 w 378168"/>
                <a:gd name="connsiteY6" fmla="*/ 30001 h 220893"/>
                <a:gd name="connsiteX7" fmla="*/ 363266 w 378168"/>
                <a:gd name="connsiteY7" fmla="*/ 71629 h 220893"/>
                <a:gd name="connsiteX8" fmla="*/ 111132 w 378168"/>
                <a:gd name="connsiteY8" fmla="*/ 220859 h 220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168" h="220893">
                  <a:moveTo>
                    <a:pt x="111132" y="220894"/>
                  </a:moveTo>
                  <a:lnTo>
                    <a:pt x="4455" y="46220"/>
                  </a:lnTo>
                  <a:cubicBezTo>
                    <a:pt x="-4289" y="31887"/>
                    <a:pt x="238" y="13199"/>
                    <a:pt x="14536" y="4455"/>
                  </a:cubicBezTo>
                  <a:cubicBezTo>
                    <a:pt x="28870" y="-4289"/>
                    <a:pt x="47558" y="238"/>
                    <a:pt x="56302" y="14536"/>
                  </a:cubicBezTo>
                  <a:lnTo>
                    <a:pt x="131740" y="138049"/>
                  </a:lnTo>
                  <a:lnTo>
                    <a:pt x="332302" y="19337"/>
                  </a:lnTo>
                  <a:cubicBezTo>
                    <a:pt x="346738" y="10799"/>
                    <a:pt x="365392" y="15565"/>
                    <a:pt x="373930" y="30001"/>
                  </a:cubicBezTo>
                  <a:cubicBezTo>
                    <a:pt x="382468" y="44437"/>
                    <a:pt x="377702" y="63091"/>
                    <a:pt x="363266" y="71629"/>
                  </a:cubicBezTo>
                  <a:lnTo>
                    <a:pt x="111132" y="220859"/>
                  </a:ln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418" name="Freeform: Shape 417">
              <a:extLst>
                <a:ext uri="{FF2B5EF4-FFF2-40B4-BE49-F238E27FC236}">
                  <a16:creationId xmlns:a16="http://schemas.microsoft.com/office/drawing/2014/main" id="{EC16A564-403A-A6F6-EA3D-0E5571C2A447}"/>
                </a:ext>
              </a:extLst>
            </p:cNvPr>
            <p:cNvSpPr/>
            <p:nvPr/>
          </p:nvSpPr>
          <p:spPr>
            <a:xfrm>
              <a:off x="8796571" y="9966883"/>
              <a:ext cx="767341" cy="767341"/>
            </a:xfrm>
            <a:custGeom>
              <a:avLst/>
              <a:gdLst>
                <a:gd name="connsiteX0" fmla="*/ 383670 w 767341"/>
                <a:gd name="connsiteY0" fmla="*/ 767342 h 767341"/>
                <a:gd name="connsiteX1" fmla="*/ 0 w 767341"/>
                <a:gd name="connsiteY1" fmla="*/ 383671 h 767341"/>
                <a:gd name="connsiteX2" fmla="*/ 383670 w 767341"/>
                <a:gd name="connsiteY2" fmla="*/ 0 h 767341"/>
                <a:gd name="connsiteX3" fmla="*/ 767342 w 767341"/>
                <a:gd name="connsiteY3" fmla="*/ 383671 h 767341"/>
                <a:gd name="connsiteX4" fmla="*/ 383670 w 767341"/>
                <a:gd name="connsiteY4" fmla="*/ 767342 h 767341"/>
                <a:gd name="connsiteX5" fmla="*/ 383670 w 767341"/>
                <a:gd name="connsiteY5" fmla="*/ 54830 h 767341"/>
                <a:gd name="connsiteX6" fmla="*/ 54830 w 767341"/>
                <a:gd name="connsiteY6" fmla="*/ 383671 h 767341"/>
                <a:gd name="connsiteX7" fmla="*/ 383670 w 767341"/>
                <a:gd name="connsiteY7" fmla="*/ 712512 h 767341"/>
                <a:gd name="connsiteX8" fmla="*/ 712512 w 767341"/>
                <a:gd name="connsiteY8" fmla="*/ 383671 h 767341"/>
                <a:gd name="connsiteX9" fmla="*/ 383670 w 767341"/>
                <a:gd name="connsiteY9" fmla="*/ 54830 h 767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7341" h="767341">
                  <a:moveTo>
                    <a:pt x="383670" y="767342"/>
                  </a:moveTo>
                  <a:cubicBezTo>
                    <a:pt x="172101" y="767342"/>
                    <a:pt x="0" y="595240"/>
                    <a:pt x="0" y="383671"/>
                  </a:cubicBezTo>
                  <a:cubicBezTo>
                    <a:pt x="0" y="172102"/>
                    <a:pt x="172101" y="0"/>
                    <a:pt x="383670" y="0"/>
                  </a:cubicBezTo>
                  <a:cubicBezTo>
                    <a:pt x="595240" y="0"/>
                    <a:pt x="767342" y="172102"/>
                    <a:pt x="767342" y="383671"/>
                  </a:cubicBezTo>
                  <a:cubicBezTo>
                    <a:pt x="767342" y="595240"/>
                    <a:pt x="595240" y="767342"/>
                    <a:pt x="383670" y="767342"/>
                  </a:cubicBezTo>
                  <a:close/>
                  <a:moveTo>
                    <a:pt x="383670" y="54830"/>
                  </a:moveTo>
                  <a:cubicBezTo>
                    <a:pt x="202345" y="54830"/>
                    <a:pt x="54830" y="202345"/>
                    <a:pt x="54830" y="383671"/>
                  </a:cubicBezTo>
                  <a:cubicBezTo>
                    <a:pt x="54830" y="564996"/>
                    <a:pt x="202345" y="712512"/>
                    <a:pt x="383670" y="712512"/>
                  </a:cubicBezTo>
                  <a:cubicBezTo>
                    <a:pt x="564996" y="712512"/>
                    <a:pt x="712512" y="564996"/>
                    <a:pt x="712512" y="383671"/>
                  </a:cubicBezTo>
                  <a:cubicBezTo>
                    <a:pt x="712512" y="202345"/>
                    <a:pt x="564996" y="54830"/>
                    <a:pt x="383670" y="54830"/>
                  </a:cubicBez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grpSp>
      <p:grpSp>
        <p:nvGrpSpPr>
          <p:cNvPr id="419" name="Graphic 218">
            <a:extLst>
              <a:ext uri="{FF2B5EF4-FFF2-40B4-BE49-F238E27FC236}">
                <a16:creationId xmlns:a16="http://schemas.microsoft.com/office/drawing/2014/main" id="{145ED8FF-D255-AFA4-5222-44AC5C9F788A}"/>
              </a:ext>
            </a:extLst>
          </p:cNvPr>
          <p:cNvGrpSpPr/>
          <p:nvPr/>
        </p:nvGrpSpPr>
        <p:grpSpPr>
          <a:xfrm>
            <a:off x="3703903" y="773609"/>
            <a:ext cx="474196" cy="474162"/>
            <a:chOff x="7727581" y="9592917"/>
            <a:chExt cx="474196" cy="474162"/>
          </a:xfrm>
          <a:solidFill>
            <a:schemeClr val="accent4"/>
          </a:solidFill>
        </p:grpSpPr>
        <p:sp>
          <p:nvSpPr>
            <p:cNvPr id="420" name="Freeform: Shape 419">
              <a:extLst>
                <a:ext uri="{FF2B5EF4-FFF2-40B4-BE49-F238E27FC236}">
                  <a16:creationId xmlns:a16="http://schemas.microsoft.com/office/drawing/2014/main" id="{3D48BF13-E65C-93AE-A0F6-A40D4E7148D4}"/>
                </a:ext>
              </a:extLst>
            </p:cNvPr>
            <p:cNvSpPr/>
            <p:nvPr/>
          </p:nvSpPr>
          <p:spPr>
            <a:xfrm>
              <a:off x="7851729" y="9764179"/>
              <a:ext cx="233751" cy="136524"/>
            </a:xfrm>
            <a:custGeom>
              <a:avLst/>
              <a:gdLst>
                <a:gd name="connsiteX0" fmla="*/ 68699 w 233751"/>
                <a:gd name="connsiteY0" fmla="*/ 136524 h 136524"/>
                <a:gd name="connsiteX1" fmla="*/ 2759 w 233751"/>
                <a:gd name="connsiteY1" fmla="*/ 28579 h 136524"/>
                <a:gd name="connsiteX2" fmla="*/ 8999 w 233751"/>
                <a:gd name="connsiteY2" fmla="*/ 2759 h 136524"/>
                <a:gd name="connsiteX3" fmla="*/ 34820 w 233751"/>
                <a:gd name="connsiteY3" fmla="*/ 9000 h 136524"/>
                <a:gd name="connsiteX4" fmla="*/ 81455 w 233751"/>
                <a:gd name="connsiteY4" fmla="*/ 85329 h 136524"/>
                <a:gd name="connsiteX5" fmla="*/ 205413 w 233751"/>
                <a:gd name="connsiteY5" fmla="*/ 11983 h 136524"/>
                <a:gd name="connsiteX6" fmla="*/ 231130 w 233751"/>
                <a:gd name="connsiteY6" fmla="*/ 18567 h 136524"/>
                <a:gd name="connsiteX7" fmla="*/ 224547 w 233751"/>
                <a:gd name="connsiteY7" fmla="*/ 44284 h 136524"/>
                <a:gd name="connsiteX8" fmla="*/ 68733 w 233751"/>
                <a:gd name="connsiteY8" fmla="*/ 136490 h 136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751" h="136524">
                  <a:moveTo>
                    <a:pt x="68699" y="136524"/>
                  </a:moveTo>
                  <a:lnTo>
                    <a:pt x="2759" y="28579"/>
                  </a:lnTo>
                  <a:cubicBezTo>
                    <a:pt x="-2659" y="19732"/>
                    <a:pt x="153" y="8177"/>
                    <a:pt x="8999" y="2759"/>
                  </a:cubicBezTo>
                  <a:cubicBezTo>
                    <a:pt x="17846" y="-2659"/>
                    <a:pt x="29403" y="153"/>
                    <a:pt x="34820" y="9000"/>
                  </a:cubicBezTo>
                  <a:lnTo>
                    <a:pt x="81455" y="85329"/>
                  </a:lnTo>
                  <a:lnTo>
                    <a:pt x="205413" y="11983"/>
                  </a:lnTo>
                  <a:cubicBezTo>
                    <a:pt x="214328" y="6702"/>
                    <a:pt x="225850" y="9651"/>
                    <a:pt x="231130" y="18567"/>
                  </a:cubicBezTo>
                  <a:cubicBezTo>
                    <a:pt x="236411" y="27482"/>
                    <a:pt x="233462" y="39004"/>
                    <a:pt x="224547" y="44284"/>
                  </a:cubicBezTo>
                  <a:lnTo>
                    <a:pt x="68733" y="136490"/>
                  </a:ln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421" name="Freeform: Shape 420">
              <a:extLst>
                <a:ext uri="{FF2B5EF4-FFF2-40B4-BE49-F238E27FC236}">
                  <a16:creationId xmlns:a16="http://schemas.microsoft.com/office/drawing/2014/main" id="{4F371CB0-EA76-B15C-2277-6E0E24307095}"/>
                </a:ext>
              </a:extLst>
            </p:cNvPr>
            <p:cNvSpPr/>
            <p:nvPr/>
          </p:nvSpPr>
          <p:spPr>
            <a:xfrm>
              <a:off x="7727581" y="9592917"/>
              <a:ext cx="474196" cy="474162"/>
            </a:xfrm>
            <a:custGeom>
              <a:avLst/>
              <a:gdLst>
                <a:gd name="connsiteX0" fmla="*/ 237115 w 474196"/>
                <a:gd name="connsiteY0" fmla="*/ 474162 h 474162"/>
                <a:gd name="connsiteX1" fmla="*/ 0 w 474196"/>
                <a:gd name="connsiteY1" fmla="*/ 237081 h 474162"/>
                <a:gd name="connsiteX2" fmla="*/ 237115 w 474196"/>
                <a:gd name="connsiteY2" fmla="*/ 0 h 474162"/>
                <a:gd name="connsiteX3" fmla="*/ 474197 w 474196"/>
                <a:gd name="connsiteY3" fmla="*/ 237081 h 474162"/>
                <a:gd name="connsiteX4" fmla="*/ 237115 w 474196"/>
                <a:gd name="connsiteY4" fmla="*/ 474162 h 474162"/>
                <a:gd name="connsiteX5" fmla="*/ 237115 w 474196"/>
                <a:gd name="connsiteY5" fmla="*/ 33844 h 474162"/>
                <a:gd name="connsiteX6" fmla="*/ 33878 w 474196"/>
                <a:gd name="connsiteY6" fmla="*/ 237081 h 474162"/>
                <a:gd name="connsiteX7" fmla="*/ 237115 w 474196"/>
                <a:gd name="connsiteY7" fmla="*/ 440318 h 474162"/>
                <a:gd name="connsiteX8" fmla="*/ 440352 w 474196"/>
                <a:gd name="connsiteY8" fmla="*/ 237081 h 474162"/>
                <a:gd name="connsiteX9" fmla="*/ 237115 w 474196"/>
                <a:gd name="connsiteY9" fmla="*/ 33844 h 474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4196" h="474162">
                  <a:moveTo>
                    <a:pt x="237115" y="474162"/>
                  </a:moveTo>
                  <a:cubicBezTo>
                    <a:pt x="106368" y="474162"/>
                    <a:pt x="0" y="367794"/>
                    <a:pt x="0" y="237081"/>
                  </a:cubicBezTo>
                  <a:cubicBezTo>
                    <a:pt x="0" y="106368"/>
                    <a:pt x="106368" y="0"/>
                    <a:pt x="237115" y="0"/>
                  </a:cubicBezTo>
                  <a:cubicBezTo>
                    <a:pt x="367863" y="0"/>
                    <a:pt x="474197" y="106368"/>
                    <a:pt x="474197" y="237081"/>
                  </a:cubicBezTo>
                  <a:cubicBezTo>
                    <a:pt x="474197" y="367794"/>
                    <a:pt x="367829" y="474162"/>
                    <a:pt x="237115" y="474162"/>
                  </a:cubicBezTo>
                  <a:close/>
                  <a:moveTo>
                    <a:pt x="237115" y="33844"/>
                  </a:moveTo>
                  <a:cubicBezTo>
                    <a:pt x="125056" y="33844"/>
                    <a:pt x="33878" y="125021"/>
                    <a:pt x="33878" y="237081"/>
                  </a:cubicBezTo>
                  <a:cubicBezTo>
                    <a:pt x="33878" y="349141"/>
                    <a:pt x="125056" y="440318"/>
                    <a:pt x="237115" y="440318"/>
                  </a:cubicBezTo>
                  <a:cubicBezTo>
                    <a:pt x="349175" y="440318"/>
                    <a:pt x="440352" y="349141"/>
                    <a:pt x="440352" y="237081"/>
                  </a:cubicBezTo>
                  <a:cubicBezTo>
                    <a:pt x="440352" y="125021"/>
                    <a:pt x="349175" y="33844"/>
                    <a:pt x="237115" y="33844"/>
                  </a:cubicBez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grpSp>
      <p:grpSp>
        <p:nvGrpSpPr>
          <p:cNvPr id="422" name="Graphic 218">
            <a:extLst>
              <a:ext uri="{FF2B5EF4-FFF2-40B4-BE49-F238E27FC236}">
                <a16:creationId xmlns:a16="http://schemas.microsoft.com/office/drawing/2014/main" id="{C80A36BD-06ED-90A1-8194-7FCB9084BBB4}"/>
              </a:ext>
            </a:extLst>
          </p:cNvPr>
          <p:cNvGrpSpPr/>
          <p:nvPr/>
        </p:nvGrpSpPr>
        <p:grpSpPr>
          <a:xfrm>
            <a:off x="4537458" y="364632"/>
            <a:ext cx="379316" cy="379315"/>
            <a:chOff x="8561136" y="9183940"/>
            <a:chExt cx="379316" cy="379315"/>
          </a:xfrm>
          <a:solidFill>
            <a:schemeClr val="accent4"/>
          </a:solidFill>
        </p:grpSpPr>
        <p:sp>
          <p:nvSpPr>
            <p:cNvPr id="423" name="Freeform: Shape 422">
              <a:extLst>
                <a:ext uri="{FF2B5EF4-FFF2-40B4-BE49-F238E27FC236}">
                  <a16:creationId xmlns:a16="http://schemas.microsoft.com/office/drawing/2014/main" id="{F969DB16-F9E5-847B-3A6F-BDCCE1EE76D9}"/>
                </a:ext>
              </a:extLst>
            </p:cNvPr>
            <p:cNvSpPr/>
            <p:nvPr/>
          </p:nvSpPr>
          <p:spPr>
            <a:xfrm>
              <a:off x="8660431" y="9320954"/>
              <a:ext cx="186922" cy="109188"/>
            </a:xfrm>
            <a:custGeom>
              <a:avLst/>
              <a:gdLst>
                <a:gd name="connsiteX0" fmla="*/ 54942 w 186922"/>
                <a:gd name="connsiteY0" fmla="*/ 109188 h 109188"/>
                <a:gd name="connsiteX1" fmla="*/ 2204 w 186922"/>
                <a:gd name="connsiteY1" fmla="*/ 22846 h 109188"/>
                <a:gd name="connsiteX2" fmla="*/ 7176 w 186922"/>
                <a:gd name="connsiteY2" fmla="*/ 2204 h 109188"/>
                <a:gd name="connsiteX3" fmla="*/ 27818 w 186922"/>
                <a:gd name="connsiteY3" fmla="*/ 7176 h 109188"/>
                <a:gd name="connsiteX4" fmla="*/ 65126 w 186922"/>
                <a:gd name="connsiteY4" fmla="*/ 68246 h 109188"/>
                <a:gd name="connsiteX5" fmla="*/ 164258 w 186922"/>
                <a:gd name="connsiteY5" fmla="*/ 9576 h 109188"/>
                <a:gd name="connsiteX6" fmla="*/ 184832 w 186922"/>
                <a:gd name="connsiteY6" fmla="*/ 14857 h 109188"/>
                <a:gd name="connsiteX7" fmla="*/ 179551 w 186922"/>
                <a:gd name="connsiteY7" fmla="*/ 35431 h 109188"/>
                <a:gd name="connsiteX8" fmla="*/ 54908 w 186922"/>
                <a:gd name="connsiteY8" fmla="*/ 109188 h 109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922" h="109188">
                  <a:moveTo>
                    <a:pt x="54942" y="109188"/>
                  </a:moveTo>
                  <a:lnTo>
                    <a:pt x="2204" y="22846"/>
                  </a:lnTo>
                  <a:cubicBezTo>
                    <a:pt x="-2117" y="15748"/>
                    <a:pt x="112" y="6524"/>
                    <a:pt x="7176" y="2204"/>
                  </a:cubicBezTo>
                  <a:cubicBezTo>
                    <a:pt x="14239" y="-2117"/>
                    <a:pt x="23498" y="112"/>
                    <a:pt x="27818" y="7176"/>
                  </a:cubicBezTo>
                  <a:lnTo>
                    <a:pt x="65126" y="68246"/>
                  </a:lnTo>
                  <a:lnTo>
                    <a:pt x="164258" y="9576"/>
                  </a:lnTo>
                  <a:cubicBezTo>
                    <a:pt x="171391" y="5358"/>
                    <a:pt x="180615" y="7724"/>
                    <a:pt x="184832" y="14857"/>
                  </a:cubicBezTo>
                  <a:cubicBezTo>
                    <a:pt x="189050" y="21989"/>
                    <a:pt x="186684" y="31213"/>
                    <a:pt x="179551" y="35431"/>
                  </a:cubicBezTo>
                  <a:lnTo>
                    <a:pt x="54908" y="109188"/>
                  </a:ln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424" name="Freeform: Shape 423">
              <a:extLst>
                <a:ext uri="{FF2B5EF4-FFF2-40B4-BE49-F238E27FC236}">
                  <a16:creationId xmlns:a16="http://schemas.microsoft.com/office/drawing/2014/main" id="{460887BF-3653-93C4-0FCB-D89696F67C71}"/>
                </a:ext>
              </a:extLst>
            </p:cNvPr>
            <p:cNvSpPr/>
            <p:nvPr/>
          </p:nvSpPr>
          <p:spPr>
            <a:xfrm>
              <a:off x="8561136" y="9183940"/>
              <a:ext cx="379316" cy="379315"/>
            </a:xfrm>
            <a:custGeom>
              <a:avLst/>
              <a:gdLst>
                <a:gd name="connsiteX0" fmla="*/ 189658 w 379316"/>
                <a:gd name="connsiteY0" fmla="*/ 379316 h 379315"/>
                <a:gd name="connsiteX1" fmla="*/ 0 w 379316"/>
                <a:gd name="connsiteY1" fmla="*/ 189658 h 379315"/>
                <a:gd name="connsiteX2" fmla="*/ 189658 w 379316"/>
                <a:gd name="connsiteY2" fmla="*/ 0 h 379315"/>
                <a:gd name="connsiteX3" fmla="*/ 379316 w 379316"/>
                <a:gd name="connsiteY3" fmla="*/ 189658 h 379315"/>
                <a:gd name="connsiteX4" fmla="*/ 189658 w 379316"/>
                <a:gd name="connsiteY4" fmla="*/ 379316 h 379315"/>
                <a:gd name="connsiteX5" fmla="*/ 189658 w 379316"/>
                <a:gd name="connsiteY5" fmla="*/ 27089 h 379315"/>
                <a:gd name="connsiteX6" fmla="*/ 27090 w 379316"/>
                <a:gd name="connsiteY6" fmla="*/ 189658 h 379315"/>
                <a:gd name="connsiteX7" fmla="*/ 189658 w 379316"/>
                <a:gd name="connsiteY7" fmla="*/ 352227 h 379315"/>
                <a:gd name="connsiteX8" fmla="*/ 352228 w 379316"/>
                <a:gd name="connsiteY8" fmla="*/ 189658 h 379315"/>
                <a:gd name="connsiteX9" fmla="*/ 189658 w 379316"/>
                <a:gd name="connsiteY9" fmla="*/ 27089 h 379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9316" h="379315">
                  <a:moveTo>
                    <a:pt x="189658" y="379316"/>
                  </a:moveTo>
                  <a:cubicBezTo>
                    <a:pt x="85074" y="379316"/>
                    <a:pt x="0" y="294242"/>
                    <a:pt x="0" y="189658"/>
                  </a:cubicBezTo>
                  <a:cubicBezTo>
                    <a:pt x="0" y="85073"/>
                    <a:pt x="85074" y="0"/>
                    <a:pt x="189658" y="0"/>
                  </a:cubicBezTo>
                  <a:cubicBezTo>
                    <a:pt x="294243" y="0"/>
                    <a:pt x="379316" y="85073"/>
                    <a:pt x="379316" y="189658"/>
                  </a:cubicBezTo>
                  <a:cubicBezTo>
                    <a:pt x="379316" y="294242"/>
                    <a:pt x="294243" y="379316"/>
                    <a:pt x="189658" y="379316"/>
                  </a:cubicBezTo>
                  <a:close/>
                  <a:moveTo>
                    <a:pt x="189658" y="27089"/>
                  </a:moveTo>
                  <a:cubicBezTo>
                    <a:pt x="100025" y="27089"/>
                    <a:pt x="27090" y="100024"/>
                    <a:pt x="27090" y="189658"/>
                  </a:cubicBezTo>
                  <a:cubicBezTo>
                    <a:pt x="27090" y="279292"/>
                    <a:pt x="100025" y="352227"/>
                    <a:pt x="189658" y="352227"/>
                  </a:cubicBezTo>
                  <a:cubicBezTo>
                    <a:pt x="279293" y="352227"/>
                    <a:pt x="352228" y="279292"/>
                    <a:pt x="352228" y="189658"/>
                  </a:cubicBezTo>
                  <a:cubicBezTo>
                    <a:pt x="352228" y="100024"/>
                    <a:pt x="279293" y="27089"/>
                    <a:pt x="189658" y="27089"/>
                  </a:cubicBez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grpSp>
      <p:grpSp>
        <p:nvGrpSpPr>
          <p:cNvPr id="425" name="Graphic 218">
            <a:extLst>
              <a:ext uri="{FF2B5EF4-FFF2-40B4-BE49-F238E27FC236}">
                <a16:creationId xmlns:a16="http://schemas.microsoft.com/office/drawing/2014/main" id="{E9BCB296-EFCC-1918-8A7B-0ADB70D00F7D}"/>
              </a:ext>
            </a:extLst>
          </p:cNvPr>
          <p:cNvGrpSpPr/>
          <p:nvPr/>
        </p:nvGrpSpPr>
        <p:grpSpPr>
          <a:xfrm>
            <a:off x="2784931" y="163727"/>
            <a:ext cx="601720" cy="601720"/>
            <a:chOff x="4447982" y="8983035"/>
            <a:chExt cx="601720" cy="601720"/>
          </a:xfrm>
          <a:solidFill>
            <a:schemeClr val="accent4"/>
          </a:solidFill>
        </p:grpSpPr>
        <p:sp>
          <p:nvSpPr>
            <p:cNvPr id="426" name="Freeform: Shape 425">
              <a:extLst>
                <a:ext uri="{FF2B5EF4-FFF2-40B4-BE49-F238E27FC236}">
                  <a16:creationId xmlns:a16="http://schemas.microsoft.com/office/drawing/2014/main" id="{BF095B55-9AA8-2E80-DC8D-EE01EB8460D8}"/>
                </a:ext>
              </a:extLst>
            </p:cNvPr>
            <p:cNvSpPr/>
            <p:nvPr/>
          </p:nvSpPr>
          <p:spPr>
            <a:xfrm>
              <a:off x="4605510" y="9200399"/>
              <a:ext cx="296546" cy="173233"/>
            </a:xfrm>
            <a:custGeom>
              <a:avLst/>
              <a:gdLst>
                <a:gd name="connsiteX0" fmla="*/ 87166 w 296546"/>
                <a:gd name="connsiteY0" fmla="*/ 173199 h 173233"/>
                <a:gd name="connsiteX1" fmla="*/ 3498 w 296546"/>
                <a:gd name="connsiteY1" fmla="*/ 36245 h 173233"/>
                <a:gd name="connsiteX2" fmla="*/ 11419 w 296546"/>
                <a:gd name="connsiteY2" fmla="*/ 3498 h 173233"/>
                <a:gd name="connsiteX3" fmla="*/ 44166 w 296546"/>
                <a:gd name="connsiteY3" fmla="*/ 11419 h 173233"/>
                <a:gd name="connsiteX4" fmla="*/ 103316 w 296546"/>
                <a:gd name="connsiteY4" fmla="*/ 108288 h 173233"/>
                <a:gd name="connsiteX5" fmla="*/ 260570 w 296546"/>
                <a:gd name="connsiteY5" fmla="*/ 15191 h 173233"/>
                <a:gd name="connsiteX6" fmla="*/ 293214 w 296546"/>
                <a:gd name="connsiteY6" fmla="*/ 23558 h 173233"/>
                <a:gd name="connsiteX7" fmla="*/ 284848 w 296546"/>
                <a:gd name="connsiteY7" fmla="*/ 56202 h 173233"/>
                <a:gd name="connsiteX8" fmla="*/ 87131 w 296546"/>
                <a:gd name="connsiteY8" fmla="*/ 173233 h 173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6546" h="173233">
                  <a:moveTo>
                    <a:pt x="87166" y="173199"/>
                  </a:moveTo>
                  <a:lnTo>
                    <a:pt x="3498" y="36245"/>
                  </a:lnTo>
                  <a:cubicBezTo>
                    <a:pt x="-3360" y="24998"/>
                    <a:pt x="172" y="10356"/>
                    <a:pt x="11419" y="3498"/>
                  </a:cubicBezTo>
                  <a:cubicBezTo>
                    <a:pt x="22666" y="-3360"/>
                    <a:pt x="37308" y="172"/>
                    <a:pt x="44166" y="11419"/>
                  </a:cubicBezTo>
                  <a:lnTo>
                    <a:pt x="103316" y="108288"/>
                  </a:lnTo>
                  <a:lnTo>
                    <a:pt x="260570" y="15191"/>
                  </a:lnTo>
                  <a:cubicBezTo>
                    <a:pt x="271886" y="8470"/>
                    <a:pt x="286528" y="12242"/>
                    <a:pt x="293214" y="23558"/>
                  </a:cubicBezTo>
                  <a:cubicBezTo>
                    <a:pt x="299935" y="34873"/>
                    <a:pt x="296163" y="49481"/>
                    <a:pt x="284848" y="56202"/>
                  </a:cubicBezTo>
                  <a:lnTo>
                    <a:pt x="87131" y="173233"/>
                  </a:ln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427" name="Freeform: Shape 426">
              <a:extLst>
                <a:ext uri="{FF2B5EF4-FFF2-40B4-BE49-F238E27FC236}">
                  <a16:creationId xmlns:a16="http://schemas.microsoft.com/office/drawing/2014/main" id="{BAABBB49-B0CD-4FCC-99FB-D4D0715DF200}"/>
                </a:ext>
              </a:extLst>
            </p:cNvPr>
            <p:cNvSpPr/>
            <p:nvPr/>
          </p:nvSpPr>
          <p:spPr>
            <a:xfrm>
              <a:off x="4447982" y="8983035"/>
              <a:ext cx="601720" cy="601720"/>
            </a:xfrm>
            <a:custGeom>
              <a:avLst/>
              <a:gdLst>
                <a:gd name="connsiteX0" fmla="*/ 300860 w 601720"/>
                <a:gd name="connsiteY0" fmla="*/ 601721 h 601720"/>
                <a:gd name="connsiteX1" fmla="*/ 0 w 601720"/>
                <a:gd name="connsiteY1" fmla="*/ 300860 h 601720"/>
                <a:gd name="connsiteX2" fmla="*/ 300860 w 601720"/>
                <a:gd name="connsiteY2" fmla="*/ 0 h 601720"/>
                <a:gd name="connsiteX3" fmla="*/ 601721 w 601720"/>
                <a:gd name="connsiteY3" fmla="*/ 300860 h 601720"/>
                <a:gd name="connsiteX4" fmla="*/ 300860 w 601720"/>
                <a:gd name="connsiteY4" fmla="*/ 601721 h 601720"/>
                <a:gd name="connsiteX5" fmla="*/ 300860 w 601720"/>
                <a:gd name="connsiteY5" fmla="*/ 43000 h 601720"/>
                <a:gd name="connsiteX6" fmla="*/ 43000 w 601720"/>
                <a:gd name="connsiteY6" fmla="*/ 300860 h 601720"/>
                <a:gd name="connsiteX7" fmla="*/ 300860 w 601720"/>
                <a:gd name="connsiteY7" fmla="*/ 558721 h 601720"/>
                <a:gd name="connsiteX8" fmla="*/ 558722 w 601720"/>
                <a:gd name="connsiteY8" fmla="*/ 300860 h 601720"/>
                <a:gd name="connsiteX9" fmla="*/ 300860 w 601720"/>
                <a:gd name="connsiteY9" fmla="*/ 43000 h 60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720" h="601720">
                  <a:moveTo>
                    <a:pt x="300860" y="601721"/>
                  </a:moveTo>
                  <a:cubicBezTo>
                    <a:pt x="134965" y="601721"/>
                    <a:pt x="0" y="466756"/>
                    <a:pt x="0" y="300860"/>
                  </a:cubicBezTo>
                  <a:cubicBezTo>
                    <a:pt x="0" y="134965"/>
                    <a:pt x="134965" y="0"/>
                    <a:pt x="300860" y="0"/>
                  </a:cubicBezTo>
                  <a:cubicBezTo>
                    <a:pt x="466755" y="0"/>
                    <a:pt x="601721" y="134965"/>
                    <a:pt x="601721" y="300860"/>
                  </a:cubicBezTo>
                  <a:cubicBezTo>
                    <a:pt x="601721" y="466756"/>
                    <a:pt x="466755" y="601721"/>
                    <a:pt x="300860" y="601721"/>
                  </a:cubicBezTo>
                  <a:close/>
                  <a:moveTo>
                    <a:pt x="300860" y="43000"/>
                  </a:moveTo>
                  <a:cubicBezTo>
                    <a:pt x="158660" y="43000"/>
                    <a:pt x="43000" y="158694"/>
                    <a:pt x="43000" y="300860"/>
                  </a:cubicBezTo>
                  <a:cubicBezTo>
                    <a:pt x="43000" y="443027"/>
                    <a:pt x="158694" y="558721"/>
                    <a:pt x="300860" y="558721"/>
                  </a:cubicBezTo>
                  <a:cubicBezTo>
                    <a:pt x="443027" y="558721"/>
                    <a:pt x="558722" y="443027"/>
                    <a:pt x="558722" y="300860"/>
                  </a:cubicBezTo>
                  <a:cubicBezTo>
                    <a:pt x="558722" y="158694"/>
                    <a:pt x="443027" y="43000"/>
                    <a:pt x="300860" y="43000"/>
                  </a:cubicBez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grpSp>
      <p:grpSp>
        <p:nvGrpSpPr>
          <p:cNvPr id="428" name="Graphic 218">
            <a:extLst>
              <a:ext uri="{FF2B5EF4-FFF2-40B4-BE49-F238E27FC236}">
                <a16:creationId xmlns:a16="http://schemas.microsoft.com/office/drawing/2014/main" id="{D5105748-5D89-409B-0725-AA42DBE6F7EA}"/>
              </a:ext>
            </a:extLst>
          </p:cNvPr>
          <p:cNvGrpSpPr/>
          <p:nvPr/>
        </p:nvGrpSpPr>
        <p:grpSpPr>
          <a:xfrm>
            <a:off x="3847365" y="1711512"/>
            <a:ext cx="480676" cy="480677"/>
            <a:chOff x="5436048" y="9587156"/>
            <a:chExt cx="480676" cy="480677"/>
          </a:xfrm>
          <a:solidFill>
            <a:schemeClr val="accent4"/>
          </a:solidFill>
        </p:grpSpPr>
        <p:sp>
          <p:nvSpPr>
            <p:cNvPr id="429" name="Freeform: Shape 428">
              <a:extLst>
                <a:ext uri="{FF2B5EF4-FFF2-40B4-BE49-F238E27FC236}">
                  <a16:creationId xmlns:a16="http://schemas.microsoft.com/office/drawing/2014/main" id="{2087DB42-7006-C170-43B5-AF3449327BCC}"/>
                </a:ext>
              </a:extLst>
            </p:cNvPr>
            <p:cNvSpPr/>
            <p:nvPr/>
          </p:nvSpPr>
          <p:spPr>
            <a:xfrm>
              <a:off x="5561876" y="9760783"/>
              <a:ext cx="236873" cy="138377"/>
            </a:xfrm>
            <a:custGeom>
              <a:avLst/>
              <a:gdLst>
                <a:gd name="connsiteX0" fmla="*/ 69626 w 236873"/>
                <a:gd name="connsiteY0" fmla="*/ 138377 h 138377"/>
                <a:gd name="connsiteX1" fmla="*/ 2795 w 236873"/>
                <a:gd name="connsiteY1" fmla="*/ 28958 h 138377"/>
                <a:gd name="connsiteX2" fmla="*/ 9104 w 236873"/>
                <a:gd name="connsiteY2" fmla="*/ 2795 h 138377"/>
                <a:gd name="connsiteX3" fmla="*/ 35267 w 236873"/>
                <a:gd name="connsiteY3" fmla="*/ 9104 h 138377"/>
                <a:gd name="connsiteX4" fmla="*/ 82519 w 236873"/>
                <a:gd name="connsiteY4" fmla="*/ 86462 h 138377"/>
                <a:gd name="connsiteX5" fmla="*/ 208157 w 236873"/>
                <a:gd name="connsiteY5" fmla="*/ 12122 h 138377"/>
                <a:gd name="connsiteX6" fmla="*/ 234218 w 236873"/>
                <a:gd name="connsiteY6" fmla="*/ 18808 h 138377"/>
                <a:gd name="connsiteX7" fmla="*/ 227531 w 236873"/>
                <a:gd name="connsiteY7" fmla="*/ 44903 h 138377"/>
                <a:gd name="connsiteX8" fmla="*/ 69591 w 236873"/>
                <a:gd name="connsiteY8" fmla="*/ 138377 h 13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873" h="138377">
                  <a:moveTo>
                    <a:pt x="69626" y="138377"/>
                  </a:moveTo>
                  <a:lnTo>
                    <a:pt x="2795" y="28958"/>
                  </a:lnTo>
                  <a:cubicBezTo>
                    <a:pt x="-2692" y="19974"/>
                    <a:pt x="154" y="8281"/>
                    <a:pt x="9104" y="2795"/>
                  </a:cubicBezTo>
                  <a:cubicBezTo>
                    <a:pt x="18088" y="-2692"/>
                    <a:pt x="29781" y="154"/>
                    <a:pt x="35267" y="9104"/>
                  </a:cubicBezTo>
                  <a:lnTo>
                    <a:pt x="82519" y="86462"/>
                  </a:lnTo>
                  <a:lnTo>
                    <a:pt x="208157" y="12122"/>
                  </a:lnTo>
                  <a:cubicBezTo>
                    <a:pt x="217210" y="6772"/>
                    <a:pt x="228868" y="9755"/>
                    <a:pt x="234218" y="18808"/>
                  </a:cubicBezTo>
                  <a:cubicBezTo>
                    <a:pt x="239567" y="27861"/>
                    <a:pt x="236584" y="39519"/>
                    <a:pt x="227531" y="44903"/>
                  </a:cubicBezTo>
                  <a:lnTo>
                    <a:pt x="69591" y="138377"/>
                  </a:ln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430" name="Freeform: Shape 429">
              <a:extLst>
                <a:ext uri="{FF2B5EF4-FFF2-40B4-BE49-F238E27FC236}">
                  <a16:creationId xmlns:a16="http://schemas.microsoft.com/office/drawing/2014/main" id="{1CF4E5C2-44E2-9F9B-7FB9-72797F908D1F}"/>
                </a:ext>
              </a:extLst>
            </p:cNvPr>
            <p:cNvSpPr/>
            <p:nvPr/>
          </p:nvSpPr>
          <p:spPr>
            <a:xfrm>
              <a:off x="5436048" y="9587156"/>
              <a:ext cx="480676" cy="480677"/>
            </a:xfrm>
            <a:custGeom>
              <a:avLst/>
              <a:gdLst>
                <a:gd name="connsiteX0" fmla="*/ 240339 w 480676"/>
                <a:gd name="connsiteY0" fmla="*/ 480677 h 480677"/>
                <a:gd name="connsiteX1" fmla="*/ 0 w 480676"/>
                <a:gd name="connsiteY1" fmla="*/ 240339 h 480677"/>
                <a:gd name="connsiteX2" fmla="*/ 240339 w 480676"/>
                <a:gd name="connsiteY2" fmla="*/ 0 h 480677"/>
                <a:gd name="connsiteX3" fmla="*/ 480677 w 480676"/>
                <a:gd name="connsiteY3" fmla="*/ 240339 h 480677"/>
                <a:gd name="connsiteX4" fmla="*/ 240339 w 480676"/>
                <a:gd name="connsiteY4" fmla="*/ 480677 h 480677"/>
                <a:gd name="connsiteX5" fmla="*/ 240339 w 480676"/>
                <a:gd name="connsiteY5" fmla="*/ 34359 h 480677"/>
                <a:gd name="connsiteX6" fmla="*/ 34324 w 480676"/>
                <a:gd name="connsiteY6" fmla="*/ 240339 h 480677"/>
                <a:gd name="connsiteX7" fmla="*/ 240339 w 480676"/>
                <a:gd name="connsiteY7" fmla="*/ 446353 h 480677"/>
                <a:gd name="connsiteX8" fmla="*/ 446353 w 480676"/>
                <a:gd name="connsiteY8" fmla="*/ 240339 h 480677"/>
                <a:gd name="connsiteX9" fmla="*/ 240339 w 480676"/>
                <a:gd name="connsiteY9" fmla="*/ 34359 h 480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0676" h="480677">
                  <a:moveTo>
                    <a:pt x="240339" y="480677"/>
                  </a:moveTo>
                  <a:cubicBezTo>
                    <a:pt x="107808" y="480677"/>
                    <a:pt x="0" y="372869"/>
                    <a:pt x="0" y="240339"/>
                  </a:cubicBezTo>
                  <a:cubicBezTo>
                    <a:pt x="0" y="107808"/>
                    <a:pt x="107808" y="0"/>
                    <a:pt x="240339" y="0"/>
                  </a:cubicBezTo>
                  <a:cubicBezTo>
                    <a:pt x="372869" y="0"/>
                    <a:pt x="480677" y="107808"/>
                    <a:pt x="480677" y="240339"/>
                  </a:cubicBezTo>
                  <a:cubicBezTo>
                    <a:pt x="480677" y="372869"/>
                    <a:pt x="372869" y="480677"/>
                    <a:pt x="240339" y="480677"/>
                  </a:cubicBezTo>
                  <a:close/>
                  <a:moveTo>
                    <a:pt x="240339" y="34359"/>
                  </a:moveTo>
                  <a:cubicBezTo>
                    <a:pt x="126770" y="34359"/>
                    <a:pt x="34324" y="126770"/>
                    <a:pt x="34324" y="240339"/>
                  </a:cubicBezTo>
                  <a:cubicBezTo>
                    <a:pt x="34324" y="353907"/>
                    <a:pt x="126736" y="446353"/>
                    <a:pt x="240339" y="446353"/>
                  </a:cubicBezTo>
                  <a:cubicBezTo>
                    <a:pt x="353941" y="446353"/>
                    <a:pt x="446353" y="353941"/>
                    <a:pt x="446353" y="240339"/>
                  </a:cubicBezTo>
                  <a:cubicBezTo>
                    <a:pt x="446353" y="126736"/>
                    <a:pt x="353941" y="34359"/>
                    <a:pt x="240339" y="34359"/>
                  </a:cubicBez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grpSp>
      <p:grpSp>
        <p:nvGrpSpPr>
          <p:cNvPr id="431" name="Graphic 218">
            <a:extLst>
              <a:ext uri="{FF2B5EF4-FFF2-40B4-BE49-F238E27FC236}">
                <a16:creationId xmlns:a16="http://schemas.microsoft.com/office/drawing/2014/main" id="{080C914C-AEA0-7765-5330-6D3CD04EA375}"/>
              </a:ext>
            </a:extLst>
          </p:cNvPr>
          <p:cNvGrpSpPr/>
          <p:nvPr/>
        </p:nvGrpSpPr>
        <p:grpSpPr>
          <a:xfrm>
            <a:off x="2859299" y="1107391"/>
            <a:ext cx="601720" cy="601720"/>
            <a:chOff x="4447982" y="8983035"/>
            <a:chExt cx="601720" cy="601720"/>
          </a:xfrm>
          <a:solidFill>
            <a:schemeClr val="accent4"/>
          </a:solidFill>
        </p:grpSpPr>
        <p:sp>
          <p:nvSpPr>
            <p:cNvPr id="432" name="Freeform: Shape 431">
              <a:extLst>
                <a:ext uri="{FF2B5EF4-FFF2-40B4-BE49-F238E27FC236}">
                  <a16:creationId xmlns:a16="http://schemas.microsoft.com/office/drawing/2014/main" id="{F926E36C-0EFF-6AF1-AF8C-659750C3DFD6}"/>
                </a:ext>
              </a:extLst>
            </p:cNvPr>
            <p:cNvSpPr/>
            <p:nvPr/>
          </p:nvSpPr>
          <p:spPr>
            <a:xfrm>
              <a:off x="4605510" y="9200399"/>
              <a:ext cx="296546" cy="173233"/>
            </a:xfrm>
            <a:custGeom>
              <a:avLst/>
              <a:gdLst>
                <a:gd name="connsiteX0" fmla="*/ 87166 w 296546"/>
                <a:gd name="connsiteY0" fmla="*/ 173199 h 173233"/>
                <a:gd name="connsiteX1" fmla="*/ 3498 w 296546"/>
                <a:gd name="connsiteY1" fmla="*/ 36245 h 173233"/>
                <a:gd name="connsiteX2" fmla="*/ 11419 w 296546"/>
                <a:gd name="connsiteY2" fmla="*/ 3498 h 173233"/>
                <a:gd name="connsiteX3" fmla="*/ 44166 w 296546"/>
                <a:gd name="connsiteY3" fmla="*/ 11419 h 173233"/>
                <a:gd name="connsiteX4" fmla="*/ 103316 w 296546"/>
                <a:gd name="connsiteY4" fmla="*/ 108288 h 173233"/>
                <a:gd name="connsiteX5" fmla="*/ 260570 w 296546"/>
                <a:gd name="connsiteY5" fmla="*/ 15191 h 173233"/>
                <a:gd name="connsiteX6" fmla="*/ 293214 w 296546"/>
                <a:gd name="connsiteY6" fmla="*/ 23558 h 173233"/>
                <a:gd name="connsiteX7" fmla="*/ 284848 w 296546"/>
                <a:gd name="connsiteY7" fmla="*/ 56202 h 173233"/>
                <a:gd name="connsiteX8" fmla="*/ 87131 w 296546"/>
                <a:gd name="connsiteY8" fmla="*/ 173233 h 173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6546" h="173233">
                  <a:moveTo>
                    <a:pt x="87166" y="173199"/>
                  </a:moveTo>
                  <a:lnTo>
                    <a:pt x="3498" y="36245"/>
                  </a:lnTo>
                  <a:cubicBezTo>
                    <a:pt x="-3360" y="24998"/>
                    <a:pt x="172" y="10356"/>
                    <a:pt x="11419" y="3498"/>
                  </a:cubicBezTo>
                  <a:cubicBezTo>
                    <a:pt x="22666" y="-3360"/>
                    <a:pt x="37308" y="172"/>
                    <a:pt x="44166" y="11419"/>
                  </a:cubicBezTo>
                  <a:lnTo>
                    <a:pt x="103316" y="108288"/>
                  </a:lnTo>
                  <a:lnTo>
                    <a:pt x="260570" y="15191"/>
                  </a:lnTo>
                  <a:cubicBezTo>
                    <a:pt x="271886" y="8470"/>
                    <a:pt x="286528" y="12242"/>
                    <a:pt x="293214" y="23558"/>
                  </a:cubicBezTo>
                  <a:cubicBezTo>
                    <a:pt x="299935" y="34873"/>
                    <a:pt x="296163" y="49481"/>
                    <a:pt x="284848" y="56202"/>
                  </a:cubicBezTo>
                  <a:lnTo>
                    <a:pt x="87131" y="173233"/>
                  </a:ln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433" name="Freeform: Shape 432">
              <a:extLst>
                <a:ext uri="{FF2B5EF4-FFF2-40B4-BE49-F238E27FC236}">
                  <a16:creationId xmlns:a16="http://schemas.microsoft.com/office/drawing/2014/main" id="{1DA485A1-27B3-5CB4-03BD-59D64B432740}"/>
                </a:ext>
              </a:extLst>
            </p:cNvPr>
            <p:cNvSpPr/>
            <p:nvPr/>
          </p:nvSpPr>
          <p:spPr>
            <a:xfrm>
              <a:off x="4447982" y="8983035"/>
              <a:ext cx="601720" cy="601720"/>
            </a:xfrm>
            <a:custGeom>
              <a:avLst/>
              <a:gdLst>
                <a:gd name="connsiteX0" fmla="*/ 300860 w 601720"/>
                <a:gd name="connsiteY0" fmla="*/ 601721 h 601720"/>
                <a:gd name="connsiteX1" fmla="*/ 0 w 601720"/>
                <a:gd name="connsiteY1" fmla="*/ 300860 h 601720"/>
                <a:gd name="connsiteX2" fmla="*/ 300860 w 601720"/>
                <a:gd name="connsiteY2" fmla="*/ 0 h 601720"/>
                <a:gd name="connsiteX3" fmla="*/ 601721 w 601720"/>
                <a:gd name="connsiteY3" fmla="*/ 300860 h 601720"/>
                <a:gd name="connsiteX4" fmla="*/ 300860 w 601720"/>
                <a:gd name="connsiteY4" fmla="*/ 601721 h 601720"/>
                <a:gd name="connsiteX5" fmla="*/ 300860 w 601720"/>
                <a:gd name="connsiteY5" fmla="*/ 43000 h 601720"/>
                <a:gd name="connsiteX6" fmla="*/ 43000 w 601720"/>
                <a:gd name="connsiteY6" fmla="*/ 300860 h 601720"/>
                <a:gd name="connsiteX7" fmla="*/ 300860 w 601720"/>
                <a:gd name="connsiteY7" fmla="*/ 558721 h 601720"/>
                <a:gd name="connsiteX8" fmla="*/ 558722 w 601720"/>
                <a:gd name="connsiteY8" fmla="*/ 300860 h 601720"/>
                <a:gd name="connsiteX9" fmla="*/ 300860 w 601720"/>
                <a:gd name="connsiteY9" fmla="*/ 43000 h 60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720" h="601720">
                  <a:moveTo>
                    <a:pt x="300860" y="601721"/>
                  </a:moveTo>
                  <a:cubicBezTo>
                    <a:pt x="134965" y="601721"/>
                    <a:pt x="0" y="466756"/>
                    <a:pt x="0" y="300860"/>
                  </a:cubicBezTo>
                  <a:cubicBezTo>
                    <a:pt x="0" y="134965"/>
                    <a:pt x="134965" y="0"/>
                    <a:pt x="300860" y="0"/>
                  </a:cubicBezTo>
                  <a:cubicBezTo>
                    <a:pt x="466755" y="0"/>
                    <a:pt x="601721" y="134965"/>
                    <a:pt x="601721" y="300860"/>
                  </a:cubicBezTo>
                  <a:cubicBezTo>
                    <a:pt x="601721" y="466756"/>
                    <a:pt x="466755" y="601721"/>
                    <a:pt x="300860" y="601721"/>
                  </a:cubicBezTo>
                  <a:close/>
                  <a:moveTo>
                    <a:pt x="300860" y="43000"/>
                  </a:moveTo>
                  <a:cubicBezTo>
                    <a:pt x="158660" y="43000"/>
                    <a:pt x="43000" y="158694"/>
                    <a:pt x="43000" y="300860"/>
                  </a:cubicBezTo>
                  <a:cubicBezTo>
                    <a:pt x="43000" y="443027"/>
                    <a:pt x="158694" y="558721"/>
                    <a:pt x="300860" y="558721"/>
                  </a:cubicBezTo>
                  <a:cubicBezTo>
                    <a:pt x="443027" y="558721"/>
                    <a:pt x="558722" y="443027"/>
                    <a:pt x="558722" y="300860"/>
                  </a:cubicBezTo>
                  <a:cubicBezTo>
                    <a:pt x="558722" y="158694"/>
                    <a:pt x="443027" y="43000"/>
                    <a:pt x="300860" y="43000"/>
                  </a:cubicBezTo>
                  <a:close/>
                </a:path>
              </a:pathLst>
            </a:custGeom>
            <a:grp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grpSp>
    </p:spTree>
    <p:custDataLst>
      <p:custData r:id="rId1"/>
    </p:custDataLst>
    <p:extLst>
      <p:ext uri="{BB962C8B-B14F-4D97-AF65-F5344CB8AC3E}">
        <p14:creationId xmlns:p14="http://schemas.microsoft.com/office/powerpoint/2010/main" val="4384025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18AC00A-33C4-E921-1EF5-87E47002F290}"/>
              </a:ext>
            </a:extLst>
          </p:cNvPr>
          <p:cNvSpPr>
            <a:spLocks noGrp="1"/>
          </p:cNvSpPr>
          <p:nvPr>
            <p:ph type="body" sz="quarter" idx="10"/>
          </p:nvPr>
        </p:nvSpPr>
        <p:spPr>
          <a:xfrm>
            <a:off x="609600" y="1161288"/>
            <a:ext cx="10972800" cy="4953000"/>
          </a:xfrm>
        </p:spPr>
        <p:txBody>
          <a:bodyPr/>
          <a:lstStyle/>
          <a:p>
            <a:pPr rtl="0">
              <a:buFont typeface="Arial" panose="020B0604020202020204" pitchFamily="34" charset="0"/>
              <a:buChar char="•"/>
            </a:pPr>
            <a:r>
              <a:rPr lang="en-US" dirty="0"/>
              <a:t>User Feedback Summary</a:t>
            </a:r>
          </a:p>
          <a:p>
            <a:pPr rtl="0">
              <a:buFont typeface="Arial" panose="020B0604020202020204" pitchFamily="34" charset="0"/>
              <a:buChar char="•"/>
            </a:pPr>
            <a:r>
              <a:rPr lang="en-US" dirty="0"/>
              <a:t>Issues resolved with latest Architecture</a:t>
            </a:r>
          </a:p>
          <a:p>
            <a:pPr rtl="0">
              <a:buFont typeface="Arial" panose="020B0604020202020204" pitchFamily="34" charset="0"/>
              <a:buChar char="•"/>
            </a:pPr>
            <a:r>
              <a:rPr lang="en-US" dirty="0"/>
              <a:t>Areas of Further Refinement</a:t>
            </a:r>
          </a:p>
          <a:p>
            <a:pPr rtl="0">
              <a:buFont typeface="Arial" panose="020B0604020202020204" pitchFamily="34" charset="0"/>
              <a:buChar char="•"/>
            </a:pPr>
            <a:r>
              <a:rPr lang="en-US" b="1" dirty="0"/>
              <a:t>Feedback: Need More Clarity</a:t>
            </a:r>
          </a:p>
          <a:p>
            <a:pPr rtl="0">
              <a:buFont typeface="Arial" panose="020B0604020202020204" pitchFamily="34" charset="0"/>
              <a:buChar char="•"/>
            </a:pPr>
            <a:endParaRPr lang="en-US" dirty="0"/>
          </a:p>
          <a:p>
            <a:endParaRPr lang="en-US" dirty="0"/>
          </a:p>
        </p:txBody>
      </p:sp>
      <p:sp>
        <p:nvSpPr>
          <p:cNvPr id="7" name="Text Placeholder 6">
            <a:extLst>
              <a:ext uri="{FF2B5EF4-FFF2-40B4-BE49-F238E27FC236}">
                <a16:creationId xmlns:a16="http://schemas.microsoft.com/office/drawing/2014/main" id="{3456BBCB-5683-B8F1-85A4-38C22684A23E}"/>
              </a:ext>
            </a:extLst>
          </p:cNvPr>
          <p:cNvSpPr>
            <a:spLocks noGrp="1"/>
          </p:cNvSpPr>
          <p:nvPr>
            <p:ph type="body" sz="quarter" idx="12"/>
          </p:nvPr>
        </p:nvSpPr>
        <p:spPr>
          <a:xfrm rot="10800000">
            <a:off x="445008" y="3099816"/>
            <a:ext cx="329184" cy="329184"/>
          </a:xfrm>
        </p:spPr>
        <p:txBody>
          <a:bodyPr/>
          <a:lstStyle/>
          <a:p>
            <a:endParaRPr lang="en-US"/>
          </a:p>
        </p:txBody>
      </p:sp>
      <p:sp>
        <p:nvSpPr>
          <p:cNvPr id="5" name="Title 4">
            <a:extLst>
              <a:ext uri="{FF2B5EF4-FFF2-40B4-BE49-F238E27FC236}">
                <a16:creationId xmlns:a16="http://schemas.microsoft.com/office/drawing/2014/main" id="{587AAD6A-D556-BEDD-6346-0C02378F3DCE}"/>
              </a:ext>
            </a:extLst>
          </p:cNvPr>
          <p:cNvSpPr>
            <a:spLocks noGrp="1"/>
          </p:cNvSpPr>
          <p:nvPr>
            <p:ph type="title"/>
          </p:nvPr>
        </p:nvSpPr>
        <p:spPr/>
        <p:txBody>
          <a:bodyPr/>
          <a:lstStyle/>
          <a:p>
            <a:r>
              <a:rPr lang="en-US"/>
              <a:t>Agenda Slides</a:t>
            </a:r>
          </a:p>
        </p:txBody>
      </p:sp>
    </p:spTree>
    <p:custDataLst>
      <p:custData r:id="rId1"/>
    </p:custDataLst>
    <p:extLst>
      <p:ext uri="{BB962C8B-B14F-4D97-AF65-F5344CB8AC3E}">
        <p14:creationId xmlns:p14="http://schemas.microsoft.com/office/powerpoint/2010/main" val="10590158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07331EB3-90F0-76F3-B999-5B7D86F504B0}"/>
              </a:ext>
            </a:extLst>
          </p:cNvPr>
          <p:cNvSpPr>
            <a:spLocks noGrp="1"/>
          </p:cNvSpPr>
          <p:nvPr>
            <p:ph type="pic" sz="quarter" idx="14"/>
          </p:nvPr>
        </p:nvSpPr>
        <p:spPr/>
        <p:txBody>
          <a:bodyPr/>
          <a:lstStyle/>
          <a:p>
            <a:r>
              <a:rPr lang="en-US" sz="4400"/>
              <a:t>Appendix</a:t>
            </a:r>
          </a:p>
        </p:txBody>
      </p:sp>
    </p:spTree>
    <p:custDataLst>
      <p:custData r:id="rId1"/>
    </p:custDataLst>
    <p:extLst>
      <p:ext uri="{BB962C8B-B14F-4D97-AF65-F5344CB8AC3E}">
        <p14:creationId xmlns:p14="http://schemas.microsoft.com/office/powerpoint/2010/main" val="12721021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F39935-05AF-A634-27A8-499EB349F9AF}"/>
              </a:ext>
            </a:extLst>
          </p:cNvPr>
          <p:cNvSpPr>
            <a:spLocks noGrp="1"/>
          </p:cNvSpPr>
          <p:nvPr>
            <p:ph type="title"/>
          </p:nvPr>
        </p:nvSpPr>
        <p:spPr>
          <a:xfrm>
            <a:off x="609600" y="311563"/>
            <a:ext cx="10972800" cy="492443"/>
          </a:xfrm>
        </p:spPr>
        <p:txBody>
          <a:bodyPr wrap="square">
            <a:spAutoFit/>
          </a:bodyPr>
          <a:lstStyle/>
          <a:p>
            <a:r>
              <a:rPr lang="en-US"/>
              <a:t>Example – Incomplete/Incomprehensive Response </a:t>
            </a:r>
          </a:p>
        </p:txBody>
      </p:sp>
      <p:pic>
        <p:nvPicPr>
          <p:cNvPr id="43" name="Picture 42">
            <a:extLst>
              <a:ext uri="{FF2B5EF4-FFF2-40B4-BE49-F238E27FC236}">
                <a16:creationId xmlns:a16="http://schemas.microsoft.com/office/drawing/2014/main" id="{B2D44EB7-7753-5423-65B2-8F1FBA68378D}"/>
              </a:ext>
            </a:extLst>
          </p:cNvPr>
          <p:cNvPicPr>
            <a:picLocks noChangeAspect="1"/>
          </p:cNvPicPr>
          <p:nvPr/>
        </p:nvPicPr>
        <p:blipFill rotWithShape="1">
          <a:blip r:embed="rId4">
            <a:extLst>
              <a:ext uri="{28A0092B-C50C-407E-A947-70E740481C1C}">
                <a14:useLocalDpi xmlns:a14="http://schemas.microsoft.com/office/drawing/2010/main" val="0"/>
              </a:ext>
            </a:extLst>
          </a:blip>
          <a:stretch/>
        </p:blipFill>
        <p:spPr>
          <a:xfrm>
            <a:off x="4615031" y="1977026"/>
            <a:ext cx="7609145" cy="4842873"/>
          </a:xfrm>
          <a:prstGeom prst="rect">
            <a:avLst/>
          </a:prstGeom>
        </p:spPr>
      </p:pic>
      <p:grpSp>
        <p:nvGrpSpPr>
          <p:cNvPr id="47" name="Group 46">
            <a:extLst>
              <a:ext uri="{FF2B5EF4-FFF2-40B4-BE49-F238E27FC236}">
                <a16:creationId xmlns:a16="http://schemas.microsoft.com/office/drawing/2014/main" id="{D4AF4F2F-1D6B-F471-9E70-12134B14587D}"/>
              </a:ext>
            </a:extLst>
          </p:cNvPr>
          <p:cNvGrpSpPr/>
          <p:nvPr/>
        </p:nvGrpSpPr>
        <p:grpSpPr>
          <a:xfrm>
            <a:off x="609600" y="1273268"/>
            <a:ext cx="4005430" cy="4898551"/>
            <a:chOff x="609600" y="846597"/>
            <a:chExt cx="4207727" cy="5145955"/>
          </a:xfrm>
        </p:grpSpPr>
        <p:sp>
          <p:nvSpPr>
            <p:cNvPr id="48" name="TextBox 47">
              <a:extLst>
                <a:ext uri="{FF2B5EF4-FFF2-40B4-BE49-F238E27FC236}">
                  <a16:creationId xmlns:a16="http://schemas.microsoft.com/office/drawing/2014/main" id="{F9359EDB-7293-F9E7-F3B3-1254F789E211}"/>
                </a:ext>
              </a:extLst>
            </p:cNvPr>
            <p:cNvSpPr txBox="1"/>
            <p:nvPr/>
          </p:nvSpPr>
          <p:spPr>
            <a:xfrm>
              <a:off x="2031416" y="1809251"/>
              <a:ext cx="2575781" cy="581978"/>
            </a:xfrm>
            <a:prstGeom prst="rect">
              <a:avLst/>
            </a:prstGeom>
            <a:noFill/>
            <a:ln w="12700">
              <a:noFill/>
            </a:ln>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04659"/>
                  </a:solidFill>
                  <a:effectLst/>
                  <a:uLnTx/>
                  <a:uFillTx/>
                  <a:latin typeface="Calibri" panose="020F0502020204030204"/>
                  <a:ea typeface="+mn-ea"/>
                  <a:cs typeface="+mn-cs"/>
                </a:rPr>
                <a:t>What was the concordance between NMOSD attacks and adjudication outcomes in the PREVENT study</a:t>
              </a:r>
            </a:p>
          </p:txBody>
        </p:sp>
        <p:sp>
          <p:nvSpPr>
            <p:cNvPr id="49" name="Rectangle 48">
              <a:extLst>
                <a:ext uri="{FF2B5EF4-FFF2-40B4-BE49-F238E27FC236}">
                  <a16:creationId xmlns:a16="http://schemas.microsoft.com/office/drawing/2014/main" id="{E51EE795-751C-ABED-E33D-181B8781F568}"/>
                </a:ext>
              </a:extLst>
            </p:cNvPr>
            <p:cNvSpPr/>
            <p:nvPr/>
          </p:nvSpPr>
          <p:spPr>
            <a:xfrm>
              <a:off x="726109" y="846597"/>
              <a:ext cx="1145552" cy="2507285"/>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rPr>
                <a:t>User Question</a:t>
              </a:r>
            </a:p>
          </p:txBody>
        </p:sp>
        <p:grpSp>
          <p:nvGrpSpPr>
            <p:cNvPr id="50" name="Group 49">
              <a:extLst>
                <a:ext uri="{FF2B5EF4-FFF2-40B4-BE49-F238E27FC236}">
                  <a16:creationId xmlns:a16="http://schemas.microsoft.com/office/drawing/2014/main" id="{DBAAAAA2-1D8F-A8C1-6572-572B75FDC4CA}"/>
                </a:ext>
              </a:extLst>
            </p:cNvPr>
            <p:cNvGrpSpPr/>
            <p:nvPr/>
          </p:nvGrpSpPr>
          <p:grpSpPr>
            <a:xfrm>
              <a:off x="946283" y="1385410"/>
              <a:ext cx="705205" cy="705205"/>
              <a:chOff x="2870144" y="1117599"/>
              <a:chExt cx="906737" cy="906736"/>
            </a:xfrm>
          </p:grpSpPr>
          <p:sp>
            <p:nvSpPr>
              <p:cNvPr id="61" name="Oval 60">
                <a:extLst>
                  <a:ext uri="{FF2B5EF4-FFF2-40B4-BE49-F238E27FC236}">
                    <a16:creationId xmlns:a16="http://schemas.microsoft.com/office/drawing/2014/main" id="{EFA16C51-ADCE-C6A6-37E5-2BBAEB4C531E}"/>
                  </a:ext>
                </a:extLst>
              </p:cNvPr>
              <p:cNvSpPr/>
              <p:nvPr/>
            </p:nvSpPr>
            <p:spPr>
              <a:xfrm>
                <a:off x="2870144" y="1117599"/>
                <a:ext cx="906737" cy="906736"/>
              </a:xfrm>
              <a:prstGeom prst="ellipse">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2" name="Oval 61">
                <a:extLst>
                  <a:ext uri="{FF2B5EF4-FFF2-40B4-BE49-F238E27FC236}">
                    <a16:creationId xmlns:a16="http://schemas.microsoft.com/office/drawing/2014/main" id="{7167DC17-E9CC-F099-E0F9-5581C3723EE7}"/>
                  </a:ext>
                </a:extLst>
              </p:cNvPr>
              <p:cNvSpPr/>
              <p:nvPr/>
            </p:nvSpPr>
            <p:spPr>
              <a:xfrm>
                <a:off x="2948014" y="1195469"/>
                <a:ext cx="750998" cy="750998"/>
              </a:xfrm>
              <a:prstGeom prst="ellipse">
                <a:avLst/>
              </a:prstGeom>
              <a:noFill/>
              <a:ln>
                <a:solidFill>
                  <a:schemeClr val="bg1"/>
                </a:solidFill>
                <a:prstDash val="dash"/>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pic>
          <p:nvPicPr>
            <p:cNvPr id="51" name="Graphic 50">
              <a:extLst>
                <a:ext uri="{FF2B5EF4-FFF2-40B4-BE49-F238E27FC236}">
                  <a16:creationId xmlns:a16="http://schemas.microsoft.com/office/drawing/2014/main" id="{869167D4-F758-4AC8-DF43-36704AEEFC0D}"/>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1113740" y="1552866"/>
              <a:ext cx="370293" cy="370293"/>
            </a:xfrm>
            <a:prstGeom prst="rect">
              <a:avLst/>
            </a:prstGeom>
          </p:spPr>
        </p:pic>
        <p:sp>
          <p:nvSpPr>
            <p:cNvPr id="52" name="Rectangle 51">
              <a:extLst>
                <a:ext uri="{FF2B5EF4-FFF2-40B4-BE49-F238E27FC236}">
                  <a16:creationId xmlns:a16="http://schemas.microsoft.com/office/drawing/2014/main" id="{588AFF2C-36FC-82B5-9DCE-BD8EC5845B63}"/>
                </a:ext>
              </a:extLst>
            </p:cNvPr>
            <p:cNvSpPr/>
            <p:nvPr/>
          </p:nvSpPr>
          <p:spPr>
            <a:xfrm>
              <a:off x="726110" y="3485267"/>
              <a:ext cx="1145552" cy="2507285"/>
            </a:xfrm>
            <a:prstGeom prst="rect">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rPr>
                <a:t>User Comment</a:t>
              </a:r>
            </a:p>
          </p:txBody>
        </p:sp>
        <p:sp>
          <p:nvSpPr>
            <p:cNvPr id="53" name="Rectangle: Rounded Corners 52">
              <a:extLst>
                <a:ext uri="{FF2B5EF4-FFF2-40B4-BE49-F238E27FC236}">
                  <a16:creationId xmlns:a16="http://schemas.microsoft.com/office/drawing/2014/main" id="{2FFC462C-5E1A-8ACE-195B-74A636E79716}"/>
                </a:ext>
              </a:extLst>
            </p:cNvPr>
            <p:cNvSpPr/>
            <p:nvPr/>
          </p:nvSpPr>
          <p:spPr>
            <a:xfrm>
              <a:off x="609600" y="846597"/>
              <a:ext cx="4207727" cy="2507285"/>
            </a:xfrm>
            <a:prstGeom prst="roundRect">
              <a:avLst>
                <a:gd name="adj" fmla="val 4070"/>
              </a:avLst>
            </a:prstGeom>
            <a:noFill/>
            <a:ln>
              <a:solidFill>
                <a:schemeClr val="accent1"/>
              </a:solid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4" name="Rectangle: Rounded Corners 53">
              <a:extLst>
                <a:ext uri="{FF2B5EF4-FFF2-40B4-BE49-F238E27FC236}">
                  <a16:creationId xmlns:a16="http://schemas.microsoft.com/office/drawing/2014/main" id="{991B1109-C12D-66C2-41E2-A23A776F1523}"/>
                </a:ext>
              </a:extLst>
            </p:cNvPr>
            <p:cNvSpPr/>
            <p:nvPr/>
          </p:nvSpPr>
          <p:spPr>
            <a:xfrm>
              <a:off x="609600" y="3485267"/>
              <a:ext cx="4207727" cy="2507285"/>
            </a:xfrm>
            <a:prstGeom prst="roundRect">
              <a:avLst>
                <a:gd name="adj" fmla="val 4070"/>
              </a:avLst>
            </a:prstGeom>
            <a:noFill/>
            <a:ln>
              <a:solidFill>
                <a:schemeClr val="accent5"/>
              </a:solid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55" name="Group 54">
              <a:extLst>
                <a:ext uri="{FF2B5EF4-FFF2-40B4-BE49-F238E27FC236}">
                  <a16:creationId xmlns:a16="http://schemas.microsoft.com/office/drawing/2014/main" id="{00C0CD7D-3D44-BCB3-FCCB-05DE80E4E91B}"/>
                </a:ext>
              </a:extLst>
            </p:cNvPr>
            <p:cNvGrpSpPr/>
            <p:nvPr/>
          </p:nvGrpSpPr>
          <p:grpSpPr>
            <a:xfrm>
              <a:off x="946283" y="4043204"/>
              <a:ext cx="705205" cy="705205"/>
              <a:chOff x="946283" y="3587813"/>
              <a:chExt cx="705205" cy="705205"/>
            </a:xfrm>
          </p:grpSpPr>
          <p:grpSp>
            <p:nvGrpSpPr>
              <p:cNvPr id="57" name="Group 56">
                <a:extLst>
                  <a:ext uri="{FF2B5EF4-FFF2-40B4-BE49-F238E27FC236}">
                    <a16:creationId xmlns:a16="http://schemas.microsoft.com/office/drawing/2014/main" id="{C988AD5B-8B88-8D87-E041-CE340168A5B0}"/>
                  </a:ext>
                </a:extLst>
              </p:cNvPr>
              <p:cNvGrpSpPr/>
              <p:nvPr/>
            </p:nvGrpSpPr>
            <p:grpSpPr>
              <a:xfrm>
                <a:off x="946283" y="3587813"/>
                <a:ext cx="705205" cy="705205"/>
                <a:chOff x="2870145" y="1117599"/>
                <a:chExt cx="906737" cy="906737"/>
              </a:xfrm>
            </p:grpSpPr>
            <p:sp>
              <p:nvSpPr>
                <p:cNvPr id="59" name="Oval 58">
                  <a:extLst>
                    <a:ext uri="{FF2B5EF4-FFF2-40B4-BE49-F238E27FC236}">
                      <a16:creationId xmlns:a16="http://schemas.microsoft.com/office/drawing/2014/main" id="{EB710246-D93C-393D-0AF1-3800826FE1A6}"/>
                    </a:ext>
                  </a:extLst>
                </p:cNvPr>
                <p:cNvSpPr/>
                <p:nvPr/>
              </p:nvSpPr>
              <p:spPr>
                <a:xfrm>
                  <a:off x="2870145" y="1117599"/>
                  <a:ext cx="906737" cy="906737"/>
                </a:xfrm>
                <a:prstGeom prst="ellipse">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0" name="Oval 59">
                  <a:extLst>
                    <a:ext uri="{FF2B5EF4-FFF2-40B4-BE49-F238E27FC236}">
                      <a16:creationId xmlns:a16="http://schemas.microsoft.com/office/drawing/2014/main" id="{A60C5757-620C-E0C9-00A1-B3EB138D1B2D}"/>
                    </a:ext>
                  </a:extLst>
                </p:cNvPr>
                <p:cNvSpPr/>
                <p:nvPr/>
              </p:nvSpPr>
              <p:spPr>
                <a:xfrm>
                  <a:off x="2948014" y="1195469"/>
                  <a:ext cx="750998" cy="750998"/>
                </a:xfrm>
                <a:prstGeom prst="ellipse">
                  <a:avLst/>
                </a:prstGeom>
                <a:noFill/>
                <a:ln>
                  <a:solidFill>
                    <a:schemeClr val="bg1"/>
                  </a:solidFill>
                  <a:prstDash val="dash"/>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pic>
            <p:nvPicPr>
              <p:cNvPr id="58" name="Graphic 57">
                <a:extLst>
                  <a:ext uri="{FF2B5EF4-FFF2-40B4-BE49-F238E27FC236}">
                    <a16:creationId xmlns:a16="http://schemas.microsoft.com/office/drawing/2014/main" id="{71C082F6-1972-8C64-6511-620EA418F048}"/>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1113738" y="3755270"/>
                <a:ext cx="370293" cy="370293"/>
              </a:xfrm>
              <a:prstGeom prst="rect">
                <a:avLst/>
              </a:prstGeom>
            </p:spPr>
          </p:pic>
        </p:grpSp>
        <p:sp>
          <p:nvSpPr>
            <p:cNvPr id="56" name="TextBox 55">
              <a:extLst>
                <a:ext uri="{FF2B5EF4-FFF2-40B4-BE49-F238E27FC236}">
                  <a16:creationId xmlns:a16="http://schemas.microsoft.com/office/drawing/2014/main" id="{763622D2-1F03-F529-A531-86A666618A80}"/>
                </a:ext>
              </a:extLst>
            </p:cNvPr>
            <p:cNvSpPr txBox="1"/>
            <p:nvPr/>
          </p:nvSpPr>
          <p:spPr>
            <a:xfrm>
              <a:off x="2031416" y="3768946"/>
              <a:ext cx="2640944" cy="1939926"/>
            </a:xfrm>
            <a:prstGeom prst="rect">
              <a:avLst/>
            </a:prstGeom>
            <a:noFill/>
            <a:ln w="12700">
              <a:noFill/>
            </a:ln>
          </p:spPr>
          <p:txBody>
            <a:bodyPr wrap="square" lIns="0" tIns="0" rIns="0" bIns="0" anchor="ctr">
              <a:spAutoFit/>
            </a:bodyPr>
            <a:lstStyle/>
            <a:p>
              <a:pPr marL="3175" marR="0" lvl="0" indent="0" algn="l" defTabSz="914400" rtl="0" eaLnBrk="1" fontAlgn="auto" latinLnBrk="0" hangingPunct="1">
                <a:lnSpc>
                  <a:spcPct val="100000"/>
                </a:lnSpc>
                <a:spcBef>
                  <a:spcPts val="100"/>
                </a:spcBef>
                <a:spcAft>
                  <a:spcPts val="100"/>
                </a:spcAft>
                <a:buClr>
                  <a:srgbClr val="303030">
                    <a:lumMod val="50000"/>
                    <a:lumOff val="50000"/>
                  </a:srgbClr>
                </a:buClr>
                <a:buSzTx/>
                <a:buFontTx/>
                <a:buNone/>
                <a:tabLst/>
                <a:defRPr/>
              </a:pPr>
              <a:r>
                <a:rPr kumimoji="0" lang="en-US" sz="1200" b="0" i="0" u="none" strike="noStrike" kern="1200" cap="none" spc="0" normalizeH="0" baseline="0" noProof="0">
                  <a:ln>
                    <a:noFill/>
                  </a:ln>
                  <a:solidFill>
                    <a:srgbClr val="304659"/>
                  </a:solidFill>
                  <a:effectLst/>
                  <a:uLnTx/>
                  <a:uFillTx/>
                  <a:latin typeface="Calibri" panose="020F0502020204030204"/>
                  <a:ea typeface="+mn-ea"/>
                  <a:cs typeface="+mn-cs"/>
                </a:rPr>
                <a:t>While this response gave context to how attacks were defined in the PREVENT study and also gave context into their adjudication process, the response would have been more complete if it included number of attacks identified by investigators versus how many of those attacks were accepted and/or rejected by the adjudication committee for PREVENT</a:t>
              </a:r>
              <a:endParaRPr kumimoji="0" lang="en-US" sz="1200" b="0" i="0" u="none" strike="noStrike" kern="1200" cap="none" spc="0" normalizeH="0" baseline="0" noProof="0">
                <a:ln>
                  <a:noFill/>
                </a:ln>
                <a:solidFill>
                  <a:srgbClr val="304659"/>
                </a:solidFill>
                <a:effectLst/>
                <a:highlight>
                  <a:srgbClr val="F2F2F2"/>
                </a:highlight>
                <a:uLnTx/>
                <a:uFillTx/>
                <a:latin typeface="Calibri" panose="020F0502020204030204"/>
                <a:ea typeface="+mn-ea"/>
                <a:cs typeface="+mn-cs"/>
              </a:endParaRPr>
            </a:p>
          </p:txBody>
        </p:sp>
      </p:grpSp>
      <p:pic>
        <p:nvPicPr>
          <p:cNvPr id="15" name="Picture 14">
            <a:extLst>
              <a:ext uri="{FF2B5EF4-FFF2-40B4-BE49-F238E27FC236}">
                <a16:creationId xmlns:a16="http://schemas.microsoft.com/office/drawing/2014/main" id="{32F28D49-A37B-ED99-8582-029168CD1BA3}"/>
              </a:ext>
            </a:extLst>
          </p:cNvPr>
          <p:cNvPicPr preferRelativeResize="0">
            <a:picLocks/>
          </p:cNvPicPr>
          <p:nvPr/>
        </p:nvPicPr>
        <p:blipFill rotWithShape="1">
          <a:blip r:embed="rId9"/>
          <a:srcRect t="-27613" b="-27613"/>
          <a:stretch/>
        </p:blipFill>
        <p:spPr>
          <a:xfrm>
            <a:off x="5657501" y="2552701"/>
            <a:ext cx="5562304" cy="3489124"/>
          </a:xfrm>
          <a:prstGeom prst="rect">
            <a:avLst/>
          </a:prstGeom>
        </p:spPr>
      </p:pic>
      <p:sp>
        <p:nvSpPr>
          <p:cNvPr id="3" name="Oval 2">
            <a:hlinkClick r:id="rId10" action="ppaction://hlinksldjump"/>
            <a:extLst>
              <a:ext uri="{FF2B5EF4-FFF2-40B4-BE49-F238E27FC236}">
                <a16:creationId xmlns:a16="http://schemas.microsoft.com/office/drawing/2014/main" id="{F846F889-7D85-1AE8-3E4A-4DFA99521B47}"/>
              </a:ext>
            </a:extLst>
          </p:cNvPr>
          <p:cNvSpPr/>
          <p:nvPr/>
        </p:nvSpPr>
        <p:spPr>
          <a:xfrm>
            <a:off x="10942320" y="237744"/>
            <a:ext cx="640080" cy="64008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a:sym typeface="Wingdings" panose="05000000000000000000" pitchFamily="2" charset="2"/>
              </a:rPr>
              <a:t></a:t>
            </a:r>
            <a:endParaRPr lang="en-US" b="1"/>
          </a:p>
        </p:txBody>
      </p:sp>
    </p:spTree>
    <p:custDataLst>
      <p:custData r:id="rId1"/>
    </p:custDataLst>
    <p:extLst>
      <p:ext uri="{BB962C8B-B14F-4D97-AF65-F5344CB8AC3E}">
        <p14:creationId xmlns:p14="http://schemas.microsoft.com/office/powerpoint/2010/main" val="20052616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F39935-05AF-A634-27A8-499EB349F9AF}"/>
              </a:ext>
            </a:extLst>
          </p:cNvPr>
          <p:cNvSpPr>
            <a:spLocks noGrp="1"/>
          </p:cNvSpPr>
          <p:nvPr>
            <p:ph type="title"/>
          </p:nvPr>
        </p:nvSpPr>
        <p:spPr>
          <a:xfrm>
            <a:off x="609600" y="311563"/>
            <a:ext cx="10972800" cy="492443"/>
          </a:xfrm>
        </p:spPr>
        <p:txBody>
          <a:bodyPr wrap="square">
            <a:spAutoFit/>
          </a:bodyPr>
          <a:lstStyle/>
          <a:p>
            <a:r>
              <a:rPr lang="en-US"/>
              <a:t>Example – Incorrect Response</a:t>
            </a:r>
          </a:p>
        </p:txBody>
      </p:sp>
      <p:pic>
        <p:nvPicPr>
          <p:cNvPr id="17" name="Picture 16">
            <a:extLst>
              <a:ext uri="{FF2B5EF4-FFF2-40B4-BE49-F238E27FC236}">
                <a16:creationId xmlns:a16="http://schemas.microsoft.com/office/drawing/2014/main" id="{0BEE492C-D03F-FE33-247B-38AE9D533480}"/>
              </a:ext>
            </a:extLst>
          </p:cNvPr>
          <p:cNvPicPr preferRelativeResize="0">
            <a:picLocks/>
          </p:cNvPicPr>
          <p:nvPr/>
        </p:nvPicPr>
        <p:blipFill rotWithShape="1">
          <a:blip r:embed="rId4"/>
          <a:srcRect t="-16020" b="-16020"/>
          <a:stretch/>
        </p:blipFill>
        <p:spPr>
          <a:xfrm>
            <a:off x="5657501" y="2552701"/>
            <a:ext cx="5562304" cy="3489124"/>
          </a:xfrm>
          <a:prstGeom prst="rect">
            <a:avLst/>
          </a:prstGeom>
        </p:spPr>
      </p:pic>
      <p:pic>
        <p:nvPicPr>
          <p:cNvPr id="3" name="Picture 2">
            <a:extLst>
              <a:ext uri="{FF2B5EF4-FFF2-40B4-BE49-F238E27FC236}">
                <a16:creationId xmlns:a16="http://schemas.microsoft.com/office/drawing/2014/main" id="{CD445A1C-68B7-8A11-B9B1-AE8CCC8480E9}"/>
              </a:ext>
            </a:extLst>
          </p:cNvPr>
          <p:cNvPicPr>
            <a:picLocks noChangeAspect="1"/>
          </p:cNvPicPr>
          <p:nvPr/>
        </p:nvPicPr>
        <p:blipFill rotWithShape="1">
          <a:blip r:embed="rId5">
            <a:extLst>
              <a:ext uri="{28A0092B-C50C-407E-A947-70E740481C1C}">
                <a14:useLocalDpi xmlns:a14="http://schemas.microsoft.com/office/drawing/2010/main" val="0"/>
              </a:ext>
            </a:extLst>
          </a:blip>
          <a:stretch/>
        </p:blipFill>
        <p:spPr>
          <a:xfrm>
            <a:off x="4615031" y="1977026"/>
            <a:ext cx="7609145" cy="4842873"/>
          </a:xfrm>
          <a:prstGeom prst="rect">
            <a:avLst/>
          </a:prstGeom>
        </p:spPr>
      </p:pic>
      <p:sp>
        <p:nvSpPr>
          <p:cNvPr id="8" name="Rectangle 7">
            <a:extLst>
              <a:ext uri="{FF2B5EF4-FFF2-40B4-BE49-F238E27FC236}">
                <a16:creationId xmlns:a16="http://schemas.microsoft.com/office/drawing/2014/main" id="{B8599D5C-2AE5-89CA-0875-EF0F2B576AD4}"/>
              </a:ext>
            </a:extLst>
          </p:cNvPr>
          <p:cNvSpPr/>
          <p:nvPr/>
        </p:nvSpPr>
        <p:spPr>
          <a:xfrm>
            <a:off x="720509" y="1273268"/>
            <a:ext cx="1090477" cy="2386741"/>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rPr>
              <a:t>User Question</a:t>
            </a:r>
          </a:p>
        </p:txBody>
      </p:sp>
      <p:grpSp>
        <p:nvGrpSpPr>
          <p:cNvPr id="10" name="Group 9">
            <a:extLst>
              <a:ext uri="{FF2B5EF4-FFF2-40B4-BE49-F238E27FC236}">
                <a16:creationId xmlns:a16="http://schemas.microsoft.com/office/drawing/2014/main" id="{77149F42-6060-9E92-B7DA-0DE67B97482B}"/>
              </a:ext>
            </a:extLst>
          </p:cNvPr>
          <p:cNvGrpSpPr/>
          <p:nvPr/>
        </p:nvGrpSpPr>
        <p:grpSpPr>
          <a:xfrm>
            <a:off x="930098" y="1786175"/>
            <a:ext cx="671301" cy="671300"/>
            <a:chOff x="2870145" y="1117599"/>
            <a:chExt cx="906737" cy="906737"/>
          </a:xfrm>
        </p:grpSpPr>
        <p:sp>
          <p:nvSpPr>
            <p:cNvPr id="39" name="Oval 38">
              <a:extLst>
                <a:ext uri="{FF2B5EF4-FFF2-40B4-BE49-F238E27FC236}">
                  <a16:creationId xmlns:a16="http://schemas.microsoft.com/office/drawing/2014/main" id="{E3183CFD-5C75-0925-43BA-4DCDF15165C1}"/>
                </a:ext>
              </a:extLst>
            </p:cNvPr>
            <p:cNvSpPr/>
            <p:nvPr/>
          </p:nvSpPr>
          <p:spPr>
            <a:xfrm>
              <a:off x="2870145" y="1117599"/>
              <a:ext cx="906737" cy="906737"/>
            </a:xfrm>
            <a:prstGeom prst="ellipse">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 name="Oval 39">
              <a:extLst>
                <a:ext uri="{FF2B5EF4-FFF2-40B4-BE49-F238E27FC236}">
                  <a16:creationId xmlns:a16="http://schemas.microsoft.com/office/drawing/2014/main" id="{B380FBB3-4916-55FB-B5C0-07796F5C0503}"/>
                </a:ext>
              </a:extLst>
            </p:cNvPr>
            <p:cNvSpPr/>
            <p:nvPr/>
          </p:nvSpPr>
          <p:spPr>
            <a:xfrm>
              <a:off x="2948014" y="1195469"/>
              <a:ext cx="750998" cy="750998"/>
            </a:xfrm>
            <a:prstGeom prst="ellipse">
              <a:avLst/>
            </a:prstGeom>
            <a:noFill/>
            <a:ln>
              <a:solidFill>
                <a:schemeClr val="bg1"/>
              </a:solidFill>
              <a:prstDash val="dash"/>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pic>
        <p:nvPicPr>
          <p:cNvPr id="12" name="Graphic 11">
            <a:extLst>
              <a:ext uri="{FF2B5EF4-FFF2-40B4-BE49-F238E27FC236}">
                <a16:creationId xmlns:a16="http://schemas.microsoft.com/office/drawing/2014/main" id="{15C7B150-1E15-77E5-CD65-D5565415E932}"/>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1089503" y="1945581"/>
            <a:ext cx="352490" cy="352490"/>
          </a:xfrm>
          <a:prstGeom prst="rect">
            <a:avLst/>
          </a:prstGeom>
        </p:spPr>
      </p:pic>
      <p:sp>
        <p:nvSpPr>
          <p:cNvPr id="13" name="Rectangle 12">
            <a:extLst>
              <a:ext uri="{FF2B5EF4-FFF2-40B4-BE49-F238E27FC236}">
                <a16:creationId xmlns:a16="http://schemas.microsoft.com/office/drawing/2014/main" id="{84B100B3-C490-D9AD-D9C5-7E3032BA83D6}"/>
              </a:ext>
            </a:extLst>
          </p:cNvPr>
          <p:cNvSpPr/>
          <p:nvPr/>
        </p:nvSpPr>
        <p:spPr>
          <a:xfrm>
            <a:off x="720509" y="3785077"/>
            <a:ext cx="1090477" cy="2386741"/>
          </a:xfrm>
          <a:prstGeom prst="rect">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rPr>
              <a:t>User Comment</a:t>
            </a:r>
          </a:p>
        </p:txBody>
      </p:sp>
      <p:sp>
        <p:nvSpPr>
          <p:cNvPr id="14" name="Rectangle: Rounded Corners 13">
            <a:extLst>
              <a:ext uri="{FF2B5EF4-FFF2-40B4-BE49-F238E27FC236}">
                <a16:creationId xmlns:a16="http://schemas.microsoft.com/office/drawing/2014/main" id="{E703ED7B-DAAC-333B-122F-4696D4E30E6E}"/>
              </a:ext>
            </a:extLst>
          </p:cNvPr>
          <p:cNvSpPr/>
          <p:nvPr/>
        </p:nvSpPr>
        <p:spPr>
          <a:xfrm>
            <a:off x="609601" y="1273268"/>
            <a:ext cx="4005430" cy="2386741"/>
          </a:xfrm>
          <a:prstGeom prst="roundRect">
            <a:avLst>
              <a:gd name="adj" fmla="val 4070"/>
            </a:avLst>
          </a:prstGeom>
          <a:noFill/>
          <a:ln>
            <a:solidFill>
              <a:schemeClr val="accent1"/>
            </a:solid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Rectangle: Rounded Corners 15">
            <a:extLst>
              <a:ext uri="{FF2B5EF4-FFF2-40B4-BE49-F238E27FC236}">
                <a16:creationId xmlns:a16="http://schemas.microsoft.com/office/drawing/2014/main" id="{0B769ED9-6C41-0E0E-CCD9-AA309EBBAA7B}"/>
              </a:ext>
            </a:extLst>
          </p:cNvPr>
          <p:cNvSpPr/>
          <p:nvPr/>
        </p:nvSpPr>
        <p:spPr>
          <a:xfrm>
            <a:off x="609601" y="3785077"/>
            <a:ext cx="4005430" cy="2386741"/>
          </a:xfrm>
          <a:prstGeom prst="roundRect">
            <a:avLst>
              <a:gd name="adj" fmla="val 4070"/>
            </a:avLst>
          </a:prstGeom>
          <a:noFill/>
          <a:ln>
            <a:solidFill>
              <a:schemeClr val="accent5"/>
            </a:solid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2" name="Group 31">
            <a:extLst>
              <a:ext uri="{FF2B5EF4-FFF2-40B4-BE49-F238E27FC236}">
                <a16:creationId xmlns:a16="http://schemas.microsoft.com/office/drawing/2014/main" id="{FF605DE8-EAF5-69AD-6A4C-CA3352F1033B}"/>
              </a:ext>
            </a:extLst>
          </p:cNvPr>
          <p:cNvGrpSpPr/>
          <p:nvPr/>
        </p:nvGrpSpPr>
        <p:grpSpPr>
          <a:xfrm>
            <a:off x="930097" y="4316190"/>
            <a:ext cx="671301" cy="671300"/>
            <a:chOff x="946283" y="3587813"/>
            <a:chExt cx="705205" cy="705205"/>
          </a:xfrm>
        </p:grpSpPr>
        <p:grpSp>
          <p:nvGrpSpPr>
            <p:cNvPr id="35" name="Group 34">
              <a:extLst>
                <a:ext uri="{FF2B5EF4-FFF2-40B4-BE49-F238E27FC236}">
                  <a16:creationId xmlns:a16="http://schemas.microsoft.com/office/drawing/2014/main" id="{FFC6F382-0156-D0D1-CF1D-3CA31A6DD33C}"/>
                </a:ext>
              </a:extLst>
            </p:cNvPr>
            <p:cNvGrpSpPr/>
            <p:nvPr/>
          </p:nvGrpSpPr>
          <p:grpSpPr>
            <a:xfrm>
              <a:off x="946283" y="3587813"/>
              <a:ext cx="705205" cy="705205"/>
              <a:chOff x="2870145" y="1117599"/>
              <a:chExt cx="906737" cy="906737"/>
            </a:xfrm>
          </p:grpSpPr>
          <p:sp>
            <p:nvSpPr>
              <p:cNvPr id="37" name="Oval 36">
                <a:extLst>
                  <a:ext uri="{FF2B5EF4-FFF2-40B4-BE49-F238E27FC236}">
                    <a16:creationId xmlns:a16="http://schemas.microsoft.com/office/drawing/2014/main" id="{616A2F35-378C-D82B-8E74-F11754A42540}"/>
                  </a:ext>
                </a:extLst>
              </p:cNvPr>
              <p:cNvSpPr/>
              <p:nvPr/>
            </p:nvSpPr>
            <p:spPr>
              <a:xfrm>
                <a:off x="2870145" y="1117599"/>
                <a:ext cx="906737" cy="906737"/>
              </a:xfrm>
              <a:prstGeom prst="ellipse">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Oval 37">
                <a:extLst>
                  <a:ext uri="{FF2B5EF4-FFF2-40B4-BE49-F238E27FC236}">
                    <a16:creationId xmlns:a16="http://schemas.microsoft.com/office/drawing/2014/main" id="{89650483-54E1-EFBE-7F78-5E0FBD63E7B4}"/>
                  </a:ext>
                </a:extLst>
              </p:cNvPr>
              <p:cNvSpPr/>
              <p:nvPr/>
            </p:nvSpPr>
            <p:spPr>
              <a:xfrm>
                <a:off x="2948014" y="1195469"/>
                <a:ext cx="750998" cy="750998"/>
              </a:xfrm>
              <a:prstGeom prst="ellipse">
                <a:avLst/>
              </a:prstGeom>
              <a:noFill/>
              <a:ln>
                <a:solidFill>
                  <a:schemeClr val="bg1"/>
                </a:solidFill>
                <a:prstDash val="dash"/>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pic>
          <p:nvPicPr>
            <p:cNvPr id="36" name="Graphic 35">
              <a:extLst>
                <a:ext uri="{FF2B5EF4-FFF2-40B4-BE49-F238E27FC236}">
                  <a16:creationId xmlns:a16="http://schemas.microsoft.com/office/drawing/2014/main" id="{BC7D30A6-BE17-0AC1-9EB2-B1B8F1F00AEF}"/>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1113738" y="3755270"/>
              <a:ext cx="370293" cy="370293"/>
            </a:xfrm>
            <a:prstGeom prst="rect">
              <a:avLst/>
            </a:prstGeom>
          </p:spPr>
        </p:pic>
      </p:grpSp>
      <p:sp>
        <p:nvSpPr>
          <p:cNvPr id="33" name="TextBox 32">
            <a:extLst>
              <a:ext uri="{FF2B5EF4-FFF2-40B4-BE49-F238E27FC236}">
                <a16:creationId xmlns:a16="http://schemas.microsoft.com/office/drawing/2014/main" id="{B2C628E5-7562-AF95-41E5-651B58674AE6}"/>
              </a:ext>
            </a:extLst>
          </p:cNvPr>
          <p:cNvSpPr txBox="1"/>
          <p:nvPr/>
        </p:nvSpPr>
        <p:spPr>
          <a:xfrm>
            <a:off x="1963060" y="4493698"/>
            <a:ext cx="2513974" cy="969496"/>
          </a:xfrm>
          <a:prstGeom prst="rect">
            <a:avLst/>
          </a:prstGeom>
          <a:noFill/>
          <a:ln w="12700">
            <a:noFill/>
          </a:ln>
        </p:spPr>
        <p:txBody>
          <a:bodyPr wrap="square" lIns="0" tIns="0" rIns="0" bIns="0" anchor="ctr">
            <a:spAutoFit/>
          </a:bodyPr>
          <a:lstStyle/>
          <a:p>
            <a:pPr marL="3175" marR="0" lvl="0" indent="0" algn="l" defTabSz="914400" rtl="0" eaLnBrk="1" fontAlgn="auto" latinLnBrk="0" hangingPunct="1">
              <a:lnSpc>
                <a:spcPct val="100000"/>
              </a:lnSpc>
              <a:spcBef>
                <a:spcPts val="100"/>
              </a:spcBef>
              <a:spcAft>
                <a:spcPts val="100"/>
              </a:spcAft>
              <a:buClr>
                <a:srgbClr val="303030">
                  <a:lumMod val="50000"/>
                  <a:lumOff val="50000"/>
                </a:srgbClr>
              </a:buClr>
              <a:buSzTx/>
              <a:buFontTx/>
              <a:buNone/>
              <a:tabLst/>
              <a:defRPr/>
            </a:pPr>
            <a:r>
              <a:rPr kumimoji="0" lang="en-US" sz="1050" b="0" i="0" u="none" strike="noStrike" kern="1200" cap="none" spc="0" normalizeH="0" baseline="0" noProof="0">
                <a:ln>
                  <a:noFill/>
                </a:ln>
                <a:solidFill>
                  <a:srgbClr val="304659"/>
                </a:solidFill>
                <a:effectLst/>
                <a:uLnTx/>
                <a:uFillTx/>
                <a:latin typeface="Calibri" panose="020F0502020204030204"/>
                <a:ea typeface="+mn-ea"/>
                <a:cs typeface="Calibri"/>
              </a:rPr>
              <a:t>It is accurate... but in no way answers the question asked. (Interestingly, some of this data was missing from another of my questions, where it was needed.) Figure 1 in the </a:t>
            </a:r>
            <a:r>
              <a:rPr kumimoji="0" lang="en-US" sz="1050" b="0" i="0" u="none" strike="noStrike" kern="1200" cap="none" spc="0" normalizeH="0" baseline="0" noProof="0" err="1">
                <a:ln>
                  <a:noFill/>
                </a:ln>
                <a:solidFill>
                  <a:srgbClr val="304659"/>
                </a:solidFill>
                <a:effectLst/>
                <a:uLnTx/>
                <a:uFillTx/>
                <a:latin typeface="Calibri" panose="020F0502020204030204"/>
                <a:ea typeface="+mn-ea"/>
                <a:cs typeface="Calibri"/>
              </a:rPr>
              <a:t>EoS</a:t>
            </a:r>
            <a:r>
              <a:rPr kumimoji="0" lang="en-US" sz="1050" b="0" i="0" u="none" strike="noStrike" kern="1200" cap="none" spc="0" normalizeH="0" baseline="0" noProof="0">
                <a:ln>
                  <a:noFill/>
                </a:ln>
                <a:solidFill>
                  <a:srgbClr val="304659"/>
                </a:solidFill>
                <a:effectLst/>
                <a:uLnTx/>
                <a:uFillTx/>
                <a:latin typeface="Calibri" panose="020F0502020204030204"/>
                <a:ea typeface="+mn-ea"/>
                <a:cs typeface="Calibri"/>
              </a:rPr>
              <a:t> manuscript addresses this question (Cree 2024 Lancet Neurol)</a:t>
            </a:r>
          </a:p>
        </p:txBody>
      </p:sp>
      <p:sp>
        <p:nvSpPr>
          <p:cNvPr id="41" name="Oval 40">
            <a:hlinkClick r:id="rId10" action="ppaction://hlinksldjump"/>
            <a:extLst>
              <a:ext uri="{FF2B5EF4-FFF2-40B4-BE49-F238E27FC236}">
                <a16:creationId xmlns:a16="http://schemas.microsoft.com/office/drawing/2014/main" id="{C6AF8178-3FDC-B857-739B-DAFF34CE2E81}"/>
              </a:ext>
            </a:extLst>
          </p:cNvPr>
          <p:cNvSpPr/>
          <p:nvPr/>
        </p:nvSpPr>
        <p:spPr>
          <a:xfrm>
            <a:off x="10942320" y="237744"/>
            <a:ext cx="640080" cy="64008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a:sym typeface="Wingdings" panose="05000000000000000000" pitchFamily="2" charset="2"/>
              </a:rPr>
              <a:t></a:t>
            </a:r>
            <a:endParaRPr lang="en-US" b="1"/>
          </a:p>
        </p:txBody>
      </p:sp>
      <p:sp>
        <p:nvSpPr>
          <p:cNvPr id="52" name="TextBox 51">
            <a:extLst>
              <a:ext uri="{FF2B5EF4-FFF2-40B4-BE49-F238E27FC236}">
                <a16:creationId xmlns:a16="http://schemas.microsoft.com/office/drawing/2014/main" id="{6C053849-380B-FBC9-D868-F7B30EC3069F}"/>
              </a:ext>
            </a:extLst>
          </p:cNvPr>
          <p:cNvSpPr txBox="1"/>
          <p:nvPr/>
        </p:nvSpPr>
        <p:spPr>
          <a:xfrm>
            <a:off x="1963060" y="2305055"/>
            <a:ext cx="2513974" cy="323165"/>
          </a:xfrm>
          <a:prstGeom prst="rect">
            <a:avLst/>
          </a:prstGeom>
          <a:noFill/>
          <a:ln w="12700">
            <a:noFill/>
          </a:ln>
        </p:spPr>
        <p:txBody>
          <a:bodyPr wrap="square" lIns="0" tIns="0" rIns="0" bIns="0" anchor="ctr">
            <a:spAutoFit/>
          </a:bodyPr>
          <a:lstStyle/>
          <a:p>
            <a:pPr marL="3175" marR="0" lvl="0" indent="0" algn="l" defTabSz="914400" rtl="0" eaLnBrk="1" fontAlgn="auto" latinLnBrk="0" hangingPunct="1">
              <a:lnSpc>
                <a:spcPct val="100000"/>
              </a:lnSpc>
              <a:spcBef>
                <a:spcPts val="100"/>
              </a:spcBef>
              <a:spcAft>
                <a:spcPts val="100"/>
              </a:spcAft>
              <a:buClr>
                <a:srgbClr val="303030">
                  <a:lumMod val="50000"/>
                  <a:lumOff val="50000"/>
                </a:srgbClr>
              </a:buClr>
              <a:buSzTx/>
              <a:buFontTx/>
              <a:buNone/>
              <a:tabLst/>
              <a:defRPr/>
            </a:pPr>
            <a:r>
              <a:rPr kumimoji="0" lang="en-US" sz="1050" b="0" i="0" u="none" strike="noStrike" kern="1200" cap="none" spc="0" normalizeH="0" baseline="0" noProof="0">
                <a:ln>
                  <a:noFill/>
                </a:ln>
                <a:solidFill>
                  <a:srgbClr val="304659"/>
                </a:solidFill>
                <a:effectLst/>
                <a:uLnTx/>
                <a:uFillTx/>
                <a:latin typeface="Calibri" panose="020F0502020204030204"/>
                <a:ea typeface="+mn-ea"/>
                <a:cs typeface="Calibri"/>
              </a:rPr>
              <a:t>What is </a:t>
            </a:r>
            <a:r>
              <a:rPr kumimoji="0" lang="en-US" sz="1050" b="0" i="0" u="none" strike="noStrike" kern="1200" cap="none" spc="0" normalizeH="0" baseline="0" noProof="0" err="1">
                <a:ln>
                  <a:noFill/>
                </a:ln>
                <a:solidFill>
                  <a:srgbClr val="304659"/>
                </a:solidFill>
                <a:effectLst/>
                <a:uLnTx/>
                <a:uFillTx/>
                <a:latin typeface="Calibri" panose="020F0502020204030204"/>
                <a:ea typeface="+mn-ea"/>
                <a:cs typeface="Calibri"/>
              </a:rPr>
              <a:t>th</a:t>
            </a:r>
            <a:r>
              <a:rPr lang="en-US" sz="1050">
                <a:solidFill>
                  <a:srgbClr val="304659"/>
                </a:solidFill>
                <a:latin typeface="Calibri" panose="020F0502020204030204"/>
                <a:cs typeface="Calibri"/>
              </a:rPr>
              <a:t>e drop-out rate for patients enrolled in the N-Momentum study?</a:t>
            </a:r>
            <a:endParaRPr kumimoji="0" lang="en-US" sz="1050" b="0" i="0" u="none" strike="noStrike" kern="1200" cap="none" spc="0" normalizeH="0" baseline="0" noProof="0">
              <a:ln>
                <a:noFill/>
              </a:ln>
              <a:solidFill>
                <a:srgbClr val="304659"/>
              </a:solidFill>
              <a:effectLst/>
              <a:uLnTx/>
              <a:uFillTx/>
              <a:latin typeface="Calibri" panose="020F0502020204030204"/>
              <a:ea typeface="+mn-ea"/>
              <a:cs typeface="Calibri"/>
            </a:endParaRPr>
          </a:p>
        </p:txBody>
      </p:sp>
    </p:spTree>
    <p:custDataLst>
      <p:custData r:id="rId1"/>
    </p:custDataLst>
    <p:extLst>
      <p:ext uri="{BB962C8B-B14F-4D97-AF65-F5344CB8AC3E}">
        <p14:creationId xmlns:p14="http://schemas.microsoft.com/office/powerpoint/2010/main" val="11154146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F39935-05AF-A634-27A8-499EB349F9AF}"/>
              </a:ext>
            </a:extLst>
          </p:cNvPr>
          <p:cNvSpPr>
            <a:spLocks noGrp="1"/>
          </p:cNvSpPr>
          <p:nvPr>
            <p:ph type="title"/>
          </p:nvPr>
        </p:nvSpPr>
        <p:spPr>
          <a:xfrm>
            <a:off x="609600" y="311563"/>
            <a:ext cx="10972800" cy="492443"/>
          </a:xfrm>
        </p:spPr>
        <p:txBody>
          <a:bodyPr wrap="square">
            <a:spAutoFit/>
          </a:bodyPr>
          <a:lstStyle/>
          <a:p>
            <a:r>
              <a:rPr lang="en-US"/>
              <a:t>Example – Missing Document</a:t>
            </a:r>
          </a:p>
        </p:txBody>
      </p:sp>
      <p:pic>
        <p:nvPicPr>
          <p:cNvPr id="9" name="Picture 8">
            <a:extLst>
              <a:ext uri="{FF2B5EF4-FFF2-40B4-BE49-F238E27FC236}">
                <a16:creationId xmlns:a16="http://schemas.microsoft.com/office/drawing/2014/main" id="{DED833BA-3964-E5C9-9782-DCE520A78FE0}"/>
              </a:ext>
            </a:extLst>
          </p:cNvPr>
          <p:cNvPicPr preferRelativeResize="0">
            <a:picLocks/>
          </p:cNvPicPr>
          <p:nvPr/>
        </p:nvPicPr>
        <p:blipFill rotWithShape="1">
          <a:blip r:embed="rId4"/>
          <a:srcRect t="-51632" b="-51632"/>
          <a:stretch/>
        </p:blipFill>
        <p:spPr>
          <a:xfrm>
            <a:off x="5657502" y="2552701"/>
            <a:ext cx="5562304" cy="3489124"/>
          </a:xfrm>
          <a:prstGeom prst="rect">
            <a:avLst/>
          </a:prstGeom>
        </p:spPr>
      </p:pic>
      <p:pic>
        <p:nvPicPr>
          <p:cNvPr id="4" name="Picture 3">
            <a:extLst>
              <a:ext uri="{FF2B5EF4-FFF2-40B4-BE49-F238E27FC236}">
                <a16:creationId xmlns:a16="http://schemas.microsoft.com/office/drawing/2014/main" id="{61BD6B7D-62EC-20D6-511C-51BC85E09F9D}"/>
              </a:ext>
            </a:extLst>
          </p:cNvPr>
          <p:cNvPicPr>
            <a:picLocks noChangeAspect="1"/>
          </p:cNvPicPr>
          <p:nvPr/>
        </p:nvPicPr>
        <p:blipFill rotWithShape="1">
          <a:blip r:embed="rId5">
            <a:extLst>
              <a:ext uri="{28A0092B-C50C-407E-A947-70E740481C1C}">
                <a14:useLocalDpi xmlns:a14="http://schemas.microsoft.com/office/drawing/2010/main" val="0"/>
              </a:ext>
            </a:extLst>
          </a:blip>
          <a:stretch/>
        </p:blipFill>
        <p:spPr>
          <a:xfrm>
            <a:off x="4615031" y="1977026"/>
            <a:ext cx="7609145" cy="4842873"/>
          </a:xfrm>
          <a:prstGeom prst="rect">
            <a:avLst/>
          </a:prstGeom>
        </p:spPr>
      </p:pic>
      <p:sp>
        <p:nvSpPr>
          <p:cNvPr id="5" name="TextBox 4">
            <a:extLst>
              <a:ext uri="{FF2B5EF4-FFF2-40B4-BE49-F238E27FC236}">
                <a16:creationId xmlns:a16="http://schemas.microsoft.com/office/drawing/2014/main" id="{33B8317E-2E68-A99C-DA2F-C6771022871E}"/>
              </a:ext>
            </a:extLst>
          </p:cNvPr>
          <p:cNvSpPr txBox="1"/>
          <p:nvPr/>
        </p:nvSpPr>
        <p:spPr>
          <a:xfrm>
            <a:off x="1963060" y="2305057"/>
            <a:ext cx="2451944" cy="323165"/>
          </a:xfrm>
          <a:prstGeom prst="rect">
            <a:avLst/>
          </a:prstGeom>
          <a:noFill/>
          <a:ln w="12700">
            <a:noFill/>
          </a:ln>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304659"/>
                </a:solidFill>
                <a:effectLst/>
                <a:uLnTx/>
                <a:uFillTx/>
                <a:latin typeface="Calibri" panose="020F0502020204030204"/>
                <a:ea typeface="+mn-ea"/>
                <a:cs typeface="+mn-cs"/>
              </a:rPr>
              <a:t>What reference would you use to discuss switching a stable rituximab patient</a:t>
            </a:r>
          </a:p>
        </p:txBody>
      </p:sp>
      <p:sp>
        <p:nvSpPr>
          <p:cNvPr id="6" name="Rectangle 5">
            <a:extLst>
              <a:ext uri="{FF2B5EF4-FFF2-40B4-BE49-F238E27FC236}">
                <a16:creationId xmlns:a16="http://schemas.microsoft.com/office/drawing/2014/main" id="{8CE63729-CC2B-16BF-757E-27AF6E94FC66}"/>
              </a:ext>
            </a:extLst>
          </p:cNvPr>
          <p:cNvSpPr/>
          <p:nvPr/>
        </p:nvSpPr>
        <p:spPr>
          <a:xfrm>
            <a:off x="720509" y="1273268"/>
            <a:ext cx="1090477" cy="2386741"/>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rPr>
              <a:t>User </a:t>
            </a:r>
            <a:r>
              <a:rPr lang="en-US" sz="1400" b="1">
                <a:solidFill>
                  <a:srgbClr val="FFFFFF"/>
                </a:solidFill>
                <a:latin typeface="Calibri" panose="020F0502020204030204"/>
              </a:rPr>
              <a:t>Question</a:t>
            </a:r>
            <a:endPar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7" name="Group 6">
            <a:extLst>
              <a:ext uri="{FF2B5EF4-FFF2-40B4-BE49-F238E27FC236}">
                <a16:creationId xmlns:a16="http://schemas.microsoft.com/office/drawing/2014/main" id="{9DA5F874-D9CF-D85E-3C84-9BAC9248A188}"/>
              </a:ext>
            </a:extLst>
          </p:cNvPr>
          <p:cNvGrpSpPr/>
          <p:nvPr/>
        </p:nvGrpSpPr>
        <p:grpSpPr>
          <a:xfrm>
            <a:off x="930098" y="1786175"/>
            <a:ext cx="671301" cy="671300"/>
            <a:chOff x="2870145" y="1117599"/>
            <a:chExt cx="906737" cy="906737"/>
          </a:xfrm>
        </p:grpSpPr>
        <p:sp>
          <p:nvSpPr>
            <p:cNvPr id="8" name="Oval 7">
              <a:extLst>
                <a:ext uri="{FF2B5EF4-FFF2-40B4-BE49-F238E27FC236}">
                  <a16:creationId xmlns:a16="http://schemas.microsoft.com/office/drawing/2014/main" id="{15BC4530-A505-3671-7242-0611F8ED2CF9}"/>
                </a:ext>
              </a:extLst>
            </p:cNvPr>
            <p:cNvSpPr/>
            <p:nvPr/>
          </p:nvSpPr>
          <p:spPr>
            <a:xfrm>
              <a:off x="2870145" y="1117599"/>
              <a:ext cx="906737" cy="906737"/>
            </a:xfrm>
            <a:prstGeom prst="ellipse">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3CF08833-48B9-2F05-5B33-858ED639BBF6}"/>
                </a:ext>
              </a:extLst>
            </p:cNvPr>
            <p:cNvSpPr/>
            <p:nvPr/>
          </p:nvSpPr>
          <p:spPr>
            <a:xfrm>
              <a:off x="2948014" y="1195469"/>
              <a:ext cx="750998" cy="750998"/>
            </a:xfrm>
            <a:prstGeom prst="ellipse">
              <a:avLst/>
            </a:prstGeom>
            <a:noFill/>
            <a:ln>
              <a:solidFill>
                <a:schemeClr val="bg1"/>
              </a:solidFill>
              <a:prstDash val="dash"/>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pic>
        <p:nvPicPr>
          <p:cNvPr id="11" name="Graphic 10">
            <a:extLst>
              <a:ext uri="{FF2B5EF4-FFF2-40B4-BE49-F238E27FC236}">
                <a16:creationId xmlns:a16="http://schemas.microsoft.com/office/drawing/2014/main" id="{F6E42FCC-CE47-FCC4-7917-8247492CA7F4}"/>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1089503" y="1945581"/>
            <a:ext cx="352490" cy="352490"/>
          </a:xfrm>
          <a:prstGeom prst="rect">
            <a:avLst/>
          </a:prstGeom>
        </p:spPr>
      </p:pic>
      <p:sp>
        <p:nvSpPr>
          <p:cNvPr id="12" name="Rectangle 11">
            <a:extLst>
              <a:ext uri="{FF2B5EF4-FFF2-40B4-BE49-F238E27FC236}">
                <a16:creationId xmlns:a16="http://schemas.microsoft.com/office/drawing/2014/main" id="{3489D622-030E-FC9F-1F93-B28F0A2958DE}"/>
              </a:ext>
            </a:extLst>
          </p:cNvPr>
          <p:cNvSpPr/>
          <p:nvPr/>
        </p:nvSpPr>
        <p:spPr>
          <a:xfrm>
            <a:off x="720509" y="3785077"/>
            <a:ext cx="1090477" cy="2386741"/>
          </a:xfrm>
          <a:prstGeom prst="rect">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rPr>
              <a:t>User Comment</a:t>
            </a:r>
          </a:p>
        </p:txBody>
      </p:sp>
      <p:sp>
        <p:nvSpPr>
          <p:cNvPr id="13" name="Rectangle: Rounded Corners 12">
            <a:extLst>
              <a:ext uri="{FF2B5EF4-FFF2-40B4-BE49-F238E27FC236}">
                <a16:creationId xmlns:a16="http://schemas.microsoft.com/office/drawing/2014/main" id="{FADFD520-51B8-D996-83D2-8D0D67FA80DE}"/>
              </a:ext>
            </a:extLst>
          </p:cNvPr>
          <p:cNvSpPr/>
          <p:nvPr/>
        </p:nvSpPr>
        <p:spPr>
          <a:xfrm>
            <a:off x="609601" y="1273268"/>
            <a:ext cx="4005430" cy="2386741"/>
          </a:xfrm>
          <a:prstGeom prst="roundRect">
            <a:avLst>
              <a:gd name="adj" fmla="val 4070"/>
            </a:avLst>
          </a:prstGeom>
          <a:noFill/>
          <a:ln>
            <a:solidFill>
              <a:schemeClr val="accent1"/>
            </a:solid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Rounded Corners 13">
            <a:extLst>
              <a:ext uri="{FF2B5EF4-FFF2-40B4-BE49-F238E27FC236}">
                <a16:creationId xmlns:a16="http://schemas.microsoft.com/office/drawing/2014/main" id="{C5A04B1F-3AF2-87FC-60EE-06174719C1F5}"/>
              </a:ext>
            </a:extLst>
          </p:cNvPr>
          <p:cNvSpPr/>
          <p:nvPr/>
        </p:nvSpPr>
        <p:spPr>
          <a:xfrm>
            <a:off x="609601" y="3785077"/>
            <a:ext cx="4005430" cy="2386741"/>
          </a:xfrm>
          <a:prstGeom prst="roundRect">
            <a:avLst>
              <a:gd name="adj" fmla="val 4070"/>
            </a:avLst>
          </a:prstGeom>
          <a:noFill/>
          <a:ln>
            <a:solidFill>
              <a:schemeClr val="accent5"/>
            </a:solid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6" name="Group 15">
            <a:extLst>
              <a:ext uri="{FF2B5EF4-FFF2-40B4-BE49-F238E27FC236}">
                <a16:creationId xmlns:a16="http://schemas.microsoft.com/office/drawing/2014/main" id="{95D5315F-C3C3-8CA0-DA0F-4078B796A4E4}"/>
              </a:ext>
            </a:extLst>
          </p:cNvPr>
          <p:cNvGrpSpPr/>
          <p:nvPr/>
        </p:nvGrpSpPr>
        <p:grpSpPr>
          <a:xfrm>
            <a:off x="930097" y="4316190"/>
            <a:ext cx="671301" cy="671300"/>
            <a:chOff x="946283" y="3587813"/>
            <a:chExt cx="705205" cy="705205"/>
          </a:xfrm>
        </p:grpSpPr>
        <p:grpSp>
          <p:nvGrpSpPr>
            <p:cNvPr id="33" name="Group 32">
              <a:extLst>
                <a:ext uri="{FF2B5EF4-FFF2-40B4-BE49-F238E27FC236}">
                  <a16:creationId xmlns:a16="http://schemas.microsoft.com/office/drawing/2014/main" id="{07C85546-B600-3446-37C2-066D74373E99}"/>
                </a:ext>
              </a:extLst>
            </p:cNvPr>
            <p:cNvGrpSpPr/>
            <p:nvPr/>
          </p:nvGrpSpPr>
          <p:grpSpPr>
            <a:xfrm>
              <a:off x="946283" y="3587813"/>
              <a:ext cx="705205" cy="705205"/>
              <a:chOff x="2870145" y="1117599"/>
              <a:chExt cx="906737" cy="906737"/>
            </a:xfrm>
          </p:grpSpPr>
          <p:sp>
            <p:nvSpPr>
              <p:cNvPr id="35" name="Oval 34">
                <a:extLst>
                  <a:ext uri="{FF2B5EF4-FFF2-40B4-BE49-F238E27FC236}">
                    <a16:creationId xmlns:a16="http://schemas.microsoft.com/office/drawing/2014/main" id="{B5C660FA-AF5A-75C7-4A47-3B885500F81D}"/>
                  </a:ext>
                </a:extLst>
              </p:cNvPr>
              <p:cNvSpPr/>
              <p:nvPr/>
            </p:nvSpPr>
            <p:spPr>
              <a:xfrm>
                <a:off x="2870145" y="1117599"/>
                <a:ext cx="906737" cy="906737"/>
              </a:xfrm>
              <a:prstGeom prst="ellipse">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 name="Oval 35">
                <a:extLst>
                  <a:ext uri="{FF2B5EF4-FFF2-40B4-BE49-F238E27FC236}">
                    <a16:creationId xmlns:a16="http://schemas.microsoft.com/office/drawing/2014/main" id="{413F89FE-9E32-2D8F-BD22-63CA5169780C}"/>
                  </a:ext>
                </a:extLst>
              </p:cNvPr>
              <p:cNvSpPr/>
              <p:nvPr/>
            </p:nvSpPr>
            <p:spPr>
              <a:xfrm>
                <a:off x="2948014" y="1195469"/>
                <a:ext cx="750998" cy="750998"/>
              </a:xfrm>
              <a:prstGeom prst="ellipse">
                <a:avLst/>
              </a:prstGeom>
              <a:noFill/>
              <a:ln>
                <a:solidFill>
                  <a:schemeClr val="bg1"/>
                </a:solidFill>
                <a:prstDash val="dash"/>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pic>
          <p:nvPicPr>
            <p:cNvPr id="34" name="Graphic 33">
              <a:extLst>
                <a:ext uri="{FF2B5EF4-FFF2-40B4-BE49-F238E27FC236}">
                  <a16:creationId xmlns:a16="http://schemas.microsoft.com/office/drawing/2014/main" id="{DAE87F65-0672-87F5-C806-EE97B575DAC5}"/>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1113738" y="3755270"/>
              <a:ext cx="370293" cy="370293"/>
            </a:xfrm>
            <a:prstGeom prst="rect">
              <a:avLst/>
            </a:prstGeom>
          </p:spPr>
        </p:pic>
      </p:grpSp>
      <p:sp>
        <p:nvSpPr>
          <p:cNvPr id="37" name="TextBox 36">
            <a:extLst>
              <a:ext uri="{FF2B5EF4-FFF2-40B4-BE49-F238E27FC236}">
                <a16:creationId xmlns:a16="http://schemas.microsoft.com/office/drawing/2014/main" id="{47824D11-93F7-7B28-2E48-118A410BD141}"/>
              </a:ext>
            </a:extLst>
          </p:cNvPr>
          <p:cNvSpPr txBox="1"/>
          <p:nvPr/>
        </p:nvSpPr>
        <p:spPr>
          <a:xfrm>
            <a:off x="1963060" y="4055117"/>
            <a:ext cx="2513974" cy="1846659"/>
          </a:xfrm>
          <a:prstGeom prst="rect">
            <a:avLst/>
          </a:prstGeom>
          <a:noFill/>
          <a:ln w="12700">
            <a:noFill/>
          </a:ln>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04659"/>
                </a:solidFill>
                <a:effectLst/>
                <a:uLnTx/>
                <a:uFillTx/>
                <a:latin typeface="Calibri" panose="020F0502020204030204" pitchFamily="34" charset="0"/>
                <a:ea typeface="+mn-ea"/>
                <a:cs typeface="+mn-cs"/>
              </a:rPr>
              <a:t>While there isn't a single reference to answer this question, we were testing it to see if it would pull the data from slide decks or Standard Response letters that differentiate the CD19 B cell drug from CD20s.  The comprehensive answer would include information about the glycoengineering of the product, the fact that its humanized, and that it targets CD19. </a:t>
            </a:r>
            <a:endParaRPr kumimoji="0" lang="en-US" sz="105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38" name="Oval 37">
            <a:hlinkClick r:id="rId10" action="ppaction://hlinksldjump"/>
            <a:extLst>
              <a:ext uri="{FF2B5EF4-FFF2-40B4-BE49-F238E27FC236}">
                <a16:creationId xmlns:a16="http://schemas.microsoft.com/office/drawing/2014/main" id="{E59A3D14-994D-E0A1-3279-F80A5FA4A2E5}"/>
              </a:ext>
            </a:extLst>
          </p:cNvPr>
          <p:cNvSpPr/>
          <p:nvPr/>
        </p:nvSpPr>
        <p:spPr>
          <a:xfrm>
            <a:off x="10942320" y="237744"/>
            <a:ext cx="640080" cy="64008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a:sym typeface="Wingdings" panose="05000000000000000000" pitchFamily="2" charset="2"/>
              </a:rPr>
              <a:t></a:t>
            </a:r>
            <a:endParaRPr lang="en-US" b="1"/>
          </a:p>
        </p:txBody>
      </p:sp>
    </p:spTree>
    <p:custDataLst>
      <p:custData r:id="rId1"/>
    </p:custDataLst>
    <p:extLst>
      <p:ext uri="{BB962C8B-B14F-4D97-AF65-F5344CB8AC3E}">
        <p14:creationId xmlns:p14="http://schemas.microsoft.com/office/powerpoint/2010/main" val="27612752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hlinkClick r:id="rId3" action="ppaction://hlinksldjump"/>
            <a:extLst>
              <a:ext uri="{FF2B5EF4-FFF2-40B4-BE49-F238E27FC236}">
                <a16:creationId xmlns:a16="http://schemas.microsoft.com/office/drawing/2014/main" id="{C806914B-69EC-B10C-3D04-7DFD40E75D17}"/>
              </a:ext>
            </a:extLst>
          </p:cNvPr>
          <p:cNvSpPr/>
          <p:nvPr/>
        </p:nvSpPr>
        <p:spPr>
          <a:xfrm>
            <a:off x="10942320" y="237744"/>
            <a:ext cx="640080" cy="64008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a:sym typeface="Wingdings" panose="05000000000000000000" pitchFamily="2" charset="2"/>
              </a:rPr>
              <a:t></a:t>
            </a:r>
            <a:endParaRPr lang="en-US" b="1"/>
          </a:p>
        </p:txBody>
      </p:sp>
      <p:pic>
        <p:nvPicPr>
          <p:cNvPr id="10" name="Picture 9">
            <a:extLst>
              <a:ext uri="{FF2B5EF4-FFF2-40B4-BE49-F238E27FC236}">
                <a16:creationId xmlns:a16="http://schemas.microsoft.com/office/drawing/2014/main" id="{0A9FB6D1-A959-244E-85F6-5C6861F61027}"/>
              </a:ext>
            </a:extLst>
          </p:cNvPr>
          <p:cNvPicPr>
            <a:picLocks noChangeAspect="1"/>
          </p:cNvPicPr>
          <p:nvPr/>
        </p:nvPicPr>
        <p:blipFill rotWithShape="1">
          <a:blip r:embed="rId4">
            <a:extLst>
              <a:ext uri="{28A0092B-C50C-407E-A947-70E740481C1C}">
                <a14:useLocalDpi xmlns:a14="http://schemas.microsoft.com/office/drawing/2010/main" val="0"/>
              </a:ext>
            </a:extLst>
          </a:blip>
          <a:stretch/>
        </p:blipFill>
        <p:spPr>
          <a:xfrm>
            <a:off x="925042" y="237744"/>
            <a:ext cx="10341915" cy="6582156"/>
          </a:xfrm>
          <a:prstGeom prst="rect">
            <a:avLst/>
          </a:prstGeom>
        </p:spPr>
      </p:pic>
      <p:pic>
        <p:nvPicPr>
          <p:cNvPr id="9" name="Picture 8" descr="A screenshot of a computer&#10;&#10;Description automatically generated">
            <a:extLst>
              <a:ext uri="{FF2B5EF4-FFF2-40B4-BE49-F238E27FC236}">
                <a16:creationId xmlns:a16="http://schemas.microsoft.com/office/drawing/2014/main" id="{D3059771-BBF2-CA4F-C50D-84F37258B5CE}"/>
              </a:ext>
            </a:extLst>
          </p:cNvPr>
          <p:cNvPicPr>
            <a:picLocks noChangeAspect="1"/>
          </p:cNvPicPr>
          <p:nvPr/>
        </p:nvPicPr>
        <p:blipFill rotWithShape="1">
          <a:blip r:embed="rId5"/>
          <a:srcRect l="-5776" r="-5776"/>
          <a:stretch/>
        </p:blipFill>
        <p:spPr>
          <a:xfrm>
            <a:off x="2344100" y="1028535"/>
            <a:ext cx="7561899" cy="4699330"/>
          </a:xfrm>
          <a:prstGeom prst="rect">
            <a:avLst/>
          </a:prstGeom>
        </p:spPr>
      </p:pic>
      <p:sp>
        <p:nvSpPr>
          <p:cNvPr id="11" name="Rectangle 10">
            <a:extLst>
              <a:ext uri="{FF2B5EF4-FFF2-40B4-BE49-F238E27FC236}">
                <a16:creationId xmlns:a16="http://schemas.microsoft.com/office/drawing/2014/main" id="{B1B58254-0849-5E1B-A1D4-D4DF9A751654}"/>
              </a:ext>
            </a:extLst>
          </p:cNvPr>
          <p:cNvSpPr/>
          <p:nvPr/>
        </p:nvSpPr>
        <p:spPr>
          <a:xfrm>
            <a:off x="3103389" y="2431103"/>
            <a:ext cx="5865351" cy="245652"/>
          </a:xfrm>
          <a:prstGeom prst="rect">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spTree>
    <p:custDataLst>
      <p:custData r:id="rId1"/>
    </p:custDataLst>
    <p:extLst>
      <p:ext uri="{BB962C8B-B14F-4D97-AF65-F5344CB8AC3E}">
        <p14:creationId xmlns:p14="http://schemas.microsoft.com/office/powerpoint/2010/main" val="7692179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a:hlinkClick r:id="rId3" action="ppaction://hlinksldjump"/>
            <a:extLst>
              <a:ext uri="{FF2B5EF4-FFF2-40B4-BE49-F238E27FC236}">
                <a16:creationId xmlns:a16="http://schemas.microsoft.com/office/drawing/2014/main" id="{6D1E13B5-133F-6028-AF8B-8828605A75F0}"/>
              </a:ext>
            </a:extLst>
          </p:cNvPr>
          <p:cNvSpPr/>
          <p:nvPr/>
        </p:nvSpPr>
        <p:spPr>
          <a:xfrm>
            <a:off x="10942320" y="237744"/>
            <a:ext cx="640080" cy="64008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a:sym typeface="Wingdings" panose="05000000000000000000" pitchFamily="2" charset="2"/>
              </a:rPr>
              <a:t></a:t>
            </a:r>
            <a:endParaRPr lang="en-US" b="1"/>
          </a:p>
        </p:txBody>
      </p:sp>
      <p:pic>
        <p:nvPicPr>
          <p:cNvPr id="9" name="Picture 8" descr="A screenshot of a computer&#10;&#10;Description automatically generated">
            <a:extLst>
              <a:ext uri="{FF2B5EF4-FFF2-40B4-BE49-F238E27FC236}">
                <a16:creationId xmlns:a16="http://schemas.microsoft.com/office/drawing/2014/main" id="{136B5544-9735-5A3A-B2DB-C7F5DAFCB015}"/>
              </a:ext>
            </a:extLst>
          </p:cNvPr>
          <p:cNvPicPr preferRelativeResize="0">
            <a:picLocks/>
          </p:cNvPicPr>
          <p:nvPr/>
        </p:nvPicPr>
        <p:blipFill rotWithShape="1">
          <a:blip r:embed="rId4"/>
          <a:srcRect l="-4000" r="-4000"/>
          <a:stretch/>
        </p:blipFill>
        <p:spPr>
          <a:xfrm>
            <a:off x="2344100" y="1028535"/>
            <a:ext cx="7561898" cy="4699330"/>
          </a:xfrm>
          <a:prstGeom prst="rect">
            <a:avLst/>
          </a:prstGeom>
        </p:spPr>
      </p:pic>
      <p:pic>
        <p:nvPicPr>
          <p:cNvPr id="10" name="Picture 9">
            <a:extLst>
              <a:ext uri="{FF2B5EF4-FFF2-40B4-BE49-F238E27FC236}">
                <a16:creationId xmlns:a16="http://schemas.microsoft.com/office/drawing/2014/main" id="{ADA4A6D5-D04E-CE07-FCB4-6E156F586F7D}"/>
              </a:ext>
            </a:extLst>
          </p:cNvPr>
          <p:cNvPicPr>
            <a:picLocks noChangeAspect="1"/>
          </p:cNvPicPr>
          <p:nvPr/>
        </p:nvPicPr>
        <p:blipFill rotWithShape="1">
          <a:blip r:embed="rId5">
            <a:extLst>
              <a:ext uri="{28A0092B-C50C-407E-A947-70E740481C1C}">
                <a14:useLocalDpi xmlns:a14="http://schemas.microsoft.com/office/drawing/2010/main" val="0"/>
              </a:ext>
            </a:extLst>
          </a:blip>
          <a:stretch/>
        </p:blipFill>
        <p:spPr>
          <a:xfrm>
            <a:off x="925042" y="237744"/>
            <a:ext cx="10341915" cy="6582156"/>
          </a:xfrm>
          <a:prstGeom prst="rect">
            <a:avLst/>
          </a:prstGeom>
        </p:spPr>
      </p:pic>
    </p:spTree>
    <p:custDataLst>
      <p:custData r:id="rId1"/>
    </p:custDataLst>
    <p:extLst>
      <p:ext uri="{BB962C8B-B14F-4D97-AF65-F5344CB8AC3E}">
        <p14:creationId xmlns:p14="http://schemas.microsoft.com/office/powerpoint/2010/main" val="32310790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18AC00A-33C4-E921-1EF5-87E47002F290}"/>
              </a:ext>
            </a:extLst>
          </p:cNvPr>
          <p:cNvSpPr>
            <a:spLocks noGrp="1"/>
          </p:cNvSpPr>
          <p:nvPr>
            <p:ph type="body" sz="quarter" idx="10"/>
          </p:nvPr>
        </p:nvSpPr>
        <p:spPr>
          <a:xfrm>
            <a:off x="609600" y="1161288"/>
            <a:ext cx="10972800" cy="4953000"/>
          </a:xfrm>
        </p:spPr>
        <p:txBody>
          <a:bodyPr/>
          <a:lstStyle/>
          <a:p>
            <a:pPr rtl="0">
              <a:buFont typeface="Arial" panose="020B0604020202020204" pitchFamily="34" charset="0"/>
              <a:buChar char="•"/>
            </a:pPr>
            <a:r>
              <a:rPr lang="en-US" b="1" dirty="0"/>
              <a:t>User Feedback Summary</a:t>
            </a:r>
          </a:p>
          <a:p>
            <a:pPr rtl="0">
              <a:buFont typeface="Arial" panose="020B0604020202020204" pitchFamily="34" charset="0"/>
              <a:buChar char="•"/>
            </a:pPr>
            <a:r>
              <a:rPr lang="en-US" dirty="0"/>
              <a:t>Issues Resolved with Latest Architecture</a:t>
            </a:r>
          </a:p>
          <a:p>
            <a:pPr rtl="0">
              <a:buFont typeface="Arial" panose="020B0604020202020204" pitchFamily="34" charset="0"/>
              <a:buChar char="•"/>
            </a:pPr>
            <a:r>
              <a:rPr lang="en-US" dirty="0"/>
              <a:t>Areas of Further Refinement</a:t>
            </a:r>
          </a:p>
          <a:p>
            <a:pPr rtl="0">
              <a:buFont typeface="Arial" panose="020B0604020202020204" pitchFamily="34" charset="0"/>
              <a:buChar char="•"/>
            </a:pPr>
            <a:r>
              <a:rPr lang="en-US" dirty="0"/>
              <a:t>Feedback: Need More Clarity</a:t>
            </a:r>
          </a:p>
          <a:p>
            <a:pPr rtl="0">
              <a:buFont typeface="Arial" panose="020B0604020202020204" pitchFamily="34" charset="0"/>
              <a:buChar char="•"/>
            </a:pPr>
            <a:endParaRPr lang="en-US" dirty="0"/>
          </a:p>
          <a:p>
            <a:endParaRPr lang="en-US" dirty="0"/>
          </a:p>
        </p:txBody>
      </p:sp>
      <p:sp>
        <p:nvSpPr>
          <p:cNvPr id="7" name="Text Placeholder 6">
            <a:extLst>
              <a:ext uri="{FF2B5EF4-FFF2-40B4-BE49-F238E27FC236}">
                <a16:creationId xmlns:a16="http://schemas.microsoft.com/office/drawing/2014/main" id="{3456BBCB-5683-B8F1-85A4-38C22684A23E}"/>
              </a:ext>
            </a:extLst>
          </p:cNvPr>
          <p:cNvSpPr>
            <a:spLocks noGrp="1"/>
          </p:cNvSpPr>
          <p:nvPr>
            <p:ph type="body" sz="quarter" idx="12"/>
          </p:nvPr>
        </p:nvSpPr>
        <p:spPr>
          <a:xfrm rot="10800000">
            <a:off x="445008" y="1257794"/>
            <a:ext cx="329184" cy="329184"/>
          </a:xfrm>
        </p:spPr>
        <p:txBody>
          <a:bodyPr/>
          <a:lstStyle/>
          <a:p>
            <a:endParaRPr lang="en-US"/>
          </a:p>
        </p:txBody>
      </p:sp>
      <p:sp>
        <p:nvSpPr>
          <p:cNvPr id="5" name="Title 4">
            <a:extLst>
              <a:ext uri="{FF2B5EF4-FFF2-40B4-BE49-F238E27FC236}">
                <a16:creationId xmlns:a16="http://schemas.microsoft.com/office/drawing/2014/main" id="{587AAD6A-D556-BEDD-6346-0C02378F3DCE}"/>
              </a:ext>
            </a:extLst>
          </p:cNvPr>
          <p:cNvSpPr>
            <a:spLocks noGrp="1"/>
          </p:cNvSpPr>
          <p:nvPr>
            <p:ph type="title"/>
          </p:nvPr>
        </p:nvSpPr>
        <p:spPr/>
        <p:txBody>
          <a:bodyPr/>
          <a:lstStyle/>
          <a:p>
            <a:r>
              <a:rPr lang="en-US"/>
              <a:t>Agenda Slides</a:t>
            </a:r>
          </a:p>
        </p:txBody>
      </p:sp>
    </p:spTree>
    <p:custDataLst>
      <p:custData r:id="rId1"/>
    </p:custDataLst>
    <p:extLst>
      <p:ext uri="{BB962C8B-B14F-4D97-AF65-F5344CB8AC3E}">
        <p14:creationId xmlns:p14="http://schemas.microsoft.com/office/powerpoint/2010/main" val="14667934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213826C-8B83-A229-3461-601581E9102F}"/>
              </a:ext>
            </a:extLst>
          </p:cNvPr>
          <p:cNvSpPr>
            <a:spLocks noGrp="1"/>
          </p:cNvSpPr>
          <p:nvPr>
            <p:ph type="title"/>
          </p:nvPr>
        </p:nvSpPr>
        <p:spPr>
          <a:xfrm>
            <a:off x="609600" y="311563"/>
            <a:ext cx="10972800" cy="492443"/>
          </a:xfrm>
        </p:spPr>
        <p:txBody>
          <a:bodyPr wrap="square">
            <a:spAutoFit/>
          </a:bodyPr>
          <a:lstStyle/>
          <a:p>
            <a:r>
              <a:rPr lang="en-US"/>
              <a:t>Feedbacks from UPLIZNA BU </a:t>
            </a:r>
            <a:r>
              <a:rPr lang="en-US" sz="2000"/>
              <a:t>[21 user comments]</a:t>
            </a:r>
          </a:p>
        </p:txBody>
      </p:sp>
      <p:grpSp>
        <p:nvGrpSpPr>
          <p:cNvPr id="16" name="Group 15">
            <a:extLst>
              <a:ext uri="{FF2B5EF4-FFF2-40B4-BE49-F238E27FC236}">
                <a16:creationId xmlns:a16="http://schemas.microsoft.com/office/drawing/2014/main" id="{078FAF38-E12B-F43D-BFBF-98AC0273D027}"/>
              </a:ext>
            </a:extLst>
          </p:cNvPr>
          <p:cNvGrpSpPr/>
          <p:nvPr/>
        </p:nvGrpSpPr>
        <p:grpSpPr>
          <a:xfrm>
            <a:off x="10985500" y="104775"/>
            <a:ext cx="596899" cy="596896"/>
            <a:chOff x="11024711" y="213680"/>
            <a:chExt cx="688658" cy="688654"/>
          </a:xfrm>
        </p:grpSpPr>
        <p:sp>
          <p:nvSpPr>
            <p:cNvPr id="53" name="Oval 52">
              <a:extLst>
                <a:ext uri="{FF2B5EF4-FFF2-40B4-BE49-F238E27FC236}">
                  <a16:creationId xmlns:a16="http://schemas.microsoft.com/office/drawing/2014/main" id="{3CFF0C1B-9F2D-60E8-5689-9827C3F7F164}"/>
                </a:ext>
              </a:extLst>
            </p:cNvPr>
            <p:cNvSpPr/>
            <p:nvPr/>
          </p:nvSpPr>
          <p:spPr>
            <a:xfrm>
              <a:off x="11024711" y="213680"/>
              <a:ext cx="688658" cy="688654"/>
            </a:xfrm>
            <a:prstGeom prst="ellipse">
              <a:avLst/>
            </a:prstGeom>
            <a:solidFill>
              <a:schemeClr val="bg1"/>
            </a:solidFill>
            <a:ln w="38100">
              <a:solidFill>
                <a:schemeClr val="tx2">
                  <a:lumMod val="25000"/>
                  <a:lumOff val="75000"/>
                  <a:alpha val="72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54" name="Graphic 53">
              <a:extLst>
                <a:ext uri="{FF2B5EF4-FFF2-40B4-BE49-F238E27FC236}">
                  <a16:creationId xmlns:a16="http://schemas.microsoft.com/office/drawing/2014/main" id="{CF5BE7FD-027B-BD12-09F0-24CE04503D6B}"/>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11089002" y="285115"/>
              <a:ext cx="545786" cy="545784"/>
            </a:xfrm>
            <a:prstGeom prst="rect">
              <a:avLst/>
            </a:prstGeom>
          </p:spPr>
        </p:pic>
      </p:grpSp>
      <p:grpSp>
        <p:nvGrpSpPr>
          <p:cNvPr id="31" name="Group 30">
            <a:extLst>
              <a:ext uri="{FF2B5EF4-FFF2-40B4-BE49-F238E27FC236}">
                <a16:creationId xmlns:a16="http://schemas.microsoft.com/office/drawing/2014/main" id="{CE6E4265-F150-A405-1F5C-533300846537}"/>
              </a:ext>
            </a:extLst>
          </p:cNvPr>
          <p:cNvGrpSpPr/>
          <p:nvPr/>
        </p:nvGrpSpPr>
        <p:grpSpPr>
          <a:xfrm>
            <a:off x="6475105" y="906033"/>
            <a:ext cx="1084521" cy="128016"/>
            <a:chOff x="4714021" y="944133"/>
            <a:chExt cx="1084521" cy="128016"/>
          </a:xfrm>
        </p:grpSpPr>
        <p:sp>
          <p:nvSpPr>
            <p:cNvPr id="91" name="Rectangle 90">
              <a:extLst>
                <a:ext uri="{FF2B5EF4-FFF2-40B4-BE49-F238E27FC236}">
                  <a16:creationId xmlns:a16="http://schemas.microsoft.com/office/drawing/2014/main" id="{F19F45BD-EAD1-7F6E-5A26-F3AB04406B00}"/>
                </a:ext>
              </a:extLst>
            </p:cNvPr>
            <p:cNvSpPr/>
            <p:nvPr/>
          </p:nvSpPr>
          <p:spPr>
            <a:xfrm>
              <a:off x="4879255" y="946586"/>
              <a:ext cx="334762" cy="123111"/>
            </a:xfrm>
            <a:prstGeom prst="rect">
              <a:avLst/>
            </a:prstGeom>
            <a:noFill/>
            <a:ln>
              <a:noFill/>
            </a:ln>
          </p:spPr>
          <p:style>
            <a:lnRef idx="0">
              <a:scrgbClr r="0" g="0" b="0"/>
            </a:lnRef>
            <a:fillRef idx="0">
              <a:scrgbClr r="0" g="0" b="0"/>
            </a:fillRef>
            <a:effectRef idx="0">
              <a:scrgbClr r="0" g="0" b="0"/>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Negative</a:t>
              </a:r>
            </a:p>
          </p:txBody>
        </p:sp>
        <p:sp>
          <p:nvSpPr>
            <p:cNvPr id="92" name="Rectangle 91">
              <a:extLst>
                <a:ext uri="{FF2B5EF4-FFF2-40B4-BE49-F238E27FC236}">
                  <a16:creationId xmlns:a16="http://schemas.microsoft.com/office/drawing/2014/main" id="{39E952B8-0911-93EF-4E8A-9E0C14F4715C}"/>
                </a:ext>
              </a:extLst>
            </p:cNvPr>
            <p:cNvSpPr/>
            <p:nvPr/>
          </p:nvSpPr>
          <p:spPr>
            <a:xfrm>
              <a:off x="4714021" y="944133"/>
              <a:ext cx="115732" cy="128016"/>
            </a:xfrm>
            <a:prstGeom prst="rect">
              <a:avLst/>
            </a:prstGeom>
            <a:solidFill>
              <a:schemeClr val="accent5">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95" name="Rectangle 94">
              <a:extLst>
                <a:ext uri="{FF2B5EF4-FFF2-40B4-BE49-F238E27FC236}">
                  <a16:creationId xmlns:a16="http://schemas.microsoft.com/office/drawing/2014/main" id="{E901CD4E-4D6A-CDC7-B5F1-63C243AC1E4C}"/>
                </a:ext>
              </a:extLst>
            </p:cNvPr>
            <p:cNvSpPr/>
            <p:nvPr/>
          </p:nvSpPr>
          <p:spPr>
            <a:xfrm>
              <a:off x="5514502" y="946586"/>
              <a:ext cx="284040" cy="123111"/>
            </a:xfrm>
            <a:prstGeom prst="rect">
              <a:avLst/>
            </a:prstGeom>
            <a:noFill/>
            <a:ln>
              <a:noFill/>
            </a:ln>
          </p:spPr>
          <p:style>
            <a:lnRef idx="0">
              <a:scrgbClr r="0" g="0" b="0"/>
            </a:lnRef>
            <a:fillRef idx="0">
              <a:scrgbClr r="0" g="0" b="0"/>
            </a:fillRef>
            <a:effectRef idx="0">
              <a:scrgbClr r="0" g="0" b="0"/>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Neutral</a:t>
              </a:r>
            </a:p>
          </p:txBody>
        </p:sp>
        <p:sp>
          <p:nvSpPr>
            <p:cNvPr id="96" name="Rectangle 95">
              <a:extLst>
                <a:ext uri="{FF2B5EF4-FFF2-40B4-BE49-F238E27FC236}">
                  <a16:creationId xmlns:a16="http://schemas.microsoft.com/office/drawing/2014/main" id="{5AE24881-26D3-35D6-A272-F28CB6583CB2}"/>
                </a:ext>
              </a:extLst>
            </p:cNvPr>
            <p:cNvSpPr/>
            <p:nvPr/>
          </p:nvSpPr>
          <p:spPr>
            <a:xfrm>
              <a:off x="5349268" y="944133"/>
              <a:ext cx="115732" cy="128016"/>
            </a:xfrm>
            <a:prstGeom prst="rect">
              <a:avLst/>
            </a:prstGeom>
            <a:solidFill>
              <a:srgbClr val="D1E0EF"/>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304659"/>
                </a:solidFill>
                <a:effectLst/>
                <a:uLnTx/>
                <a:uFillTx/>
                <a:latin typeface="Calibri" panose="020F0502020204030204"/>
                <a:ea typeface="+mn-ea"/>
                <a:cs typeface="+mn-cs"/>
              </a:endParaRPr>
            </a:p>
          </p:txBody>
        </p:sp>
      </p:grpSp>
      <p:sp>
        <p:nvSpPr>
          <p:cNvPr id="56" name="Rectangle 55">
            <a:extLst>
              <a:ext uri="{FF2B5EF4-FFF2-40B4-BE49-F238E27FC236}">
                <a16:creationId xmlns:a16="http://schemas.microsoft.com/office/drawing/2014/main" id="{B07DD75D-077E-48DC-1E0A-0F291FACB830}"/>
              </a:ext>
            </a:extLst>
          </p:cNvPr>
          <p:cNvSpPr/>
          <p:nvPr/>
        </p:nvSpPr>
        <p:spPr>
          <a:xfrm>
            <a:off x="5031685" y="4435343"/>
            <a:ext cx="3109895" cy="454655"/>
          </a:xfrm>
          <a:prstGeom prst="rect">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45720"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While this response provided relevant factors to be considered, </a:t>
            </a:r>
            <a:r>
              <a:rPr kumimoji="0" lang="en-US" sz="800" b="1" i="0" u="none" strike="noStrike" kern="1200" cap="none" spc="0" normalizeH="0" baseline="0" noProof="0">
                <a:ln>
                  <a:noFill/>
                </a:ln>
                <a:solidFill>
                  <a:srgbClr val="304659"/>
                </a:solidFill>
                <a:effectLst/>
                <a:uLnTx/>
                <a:uFillTx/>
                <a:latin typeface="Calibri" panose="020F0502020204030204"/>
                <a:ea typeface="+mn-ea"/>
                <a:cs typeface="+mn-cs"/>
              </a:rPr>
              <a:t>it did not account for patient preference or include anything about a shared decision making process. </a:t>
            </a:r>
          </a:p>
        </p:txBody>
      </p:sp>
      <p:sp>
        <p:nvSpPr>
          <p:cNvPr id="68" name="Rectangle 67">
            <a:extLst>
              <a:ext uri="{FF2B5EF4-FFF2-40B4-BE49-F238E27FC236}">
                <a16:creationId xmlns:a16="http://schemas.microsoft.com/office/drawing/2014/main" id="{8B3ED60A-7245-6715-5ECB-81228DD0C841}"/>
              </a:ext>
            </a:extLst>
          </p:cNvPr>
          <p:cNvSpPr/>
          <p:nvPr/>
        </p:nvSpPr>
        <p:spPr>
          <a:xfrm>
            <a:off x="5031683" y="3909981"/>
            <a:ext cx="3109895" cy="496404"/>
          </a:xfrm>
          <a:prstGeom prst="rect">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45720"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The new Osborne paper needs to be loaded:  Osborne B, et al.  Front Neurol. 2024 Apr 16;15:1352779. </a:t>
            </a:r>
            <a:r>
              <a:rPr kumimoji="0" lang="en-US" sz="800" b="0" i="0" u="none" strike="noStrike" kern="1200" cap="none" spc="0" normalizeH="0" baseline="0" noProof="0" err="1">
                <a:ln>
                  <a:noFill/>
                </a:ln>
                <a:solidFill>
                  <a:srgbClr val="304659"/>
                </a:solidFill>
                <a:effectLst/>
                <a:uLnTx/>
                <a:uFillTx/>
                <a:latin typeface="Calibri" panose="020F0502020204030204"/>
                <a:ea typeface="+mn-ea"/>
                <a:cs typeface="+mn-cs"/>
              </a:rPr>
              <a:t>doi</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10.3389/fneur.2024.1352779. PMID: 38689876; PMCID: PMC11060151.</a:t>
            </a:r>
            <a:b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b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https://pubmed.ncbi.nlm.nih.gov/38689876/    OPEN ACCESS</a:t>
            </a:r>
          </a:p>
        </p:txBody>
      </p:sp>
      <p:grpSp>
        <p:nvGrpSpPr>
          <p:cNvPr id="27" name="Group 26">
            <a:extLst>
              <a:ext uri="{FF2B5EF4-FFF2-40B4-BE49-F238E27FC236}">
                <a16:creationId xmlns:a16="http://schemas.microsoft.com/office/drawing/2014/main" id="{CE68FB9B-10F9-5E83-B356-B4440A9E23DF}"/>
              </a:ext>
            </a:extLst>
          </p:cNvPr>
          <p:cNvGrpSpPr/>
          <p:nvPr/>
        </p:nvGrpSpPr>
        <p:grpSpPr>
          <a:xfrm>
            <a:off x="8172450" y="3152550"/>
            <a:ext cx="3411180" cy="1641647"/>
            <a:chOff x="8172450" y="3164551"/>
            <a:chExt cx="3411180" cy="1617640"/>
          </a:xfrm>
        </p:grpSpPr>
        <p:sp>
          <p:nvSpPr>
            <p:cNvPr id="52" name="Rectangle 51">
              <a:extLst>
                <a:ext uri="{FF2B5EF4-FFF2-40B4-BE49-F238E27FC236}">
                  <a16:creationId xmlns:a16="http://schemas.microsoft.com/office/drawing/2014/main" id="{76CB7F1B-D605-FAF8-8AB6-6842A4B4697D}"/>
                </a:ext>
              </a:extLst>
            </p:cNvPr>
            <p:cNvSpPr/>
            <p:nvPr/>
          </p:nvSpPr>
          <p:spPr>
            <a:xfrm>
              <a:off x="8172450" y="4084657"/>
              <a:ext cx="3411180" cy="697534"/>
            </a:xfrm>
            <a:prstGeom prst="rect">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45720" tIns="45720" rIns="4572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It provided a nice high level overview, </a:t>
              </a:r>
              <a:r>
                <a:rPr kumimoji="0" lang="en-US" sz="800" b="1" i="0" u="none" strike="noStrike" kern="1200" cap="none" spc="0" normalizeH="0" baseline="0" noProof="0">
                  <a:ln>
                    <a:noFill/>
                  </a:ln>
                  <a:solidFill>
                    <a:srgbClr val="304659"/>
                  </a:solidFill>
                  <a:effectLst/>
                  <a:uLnTx/>
                  <a:uFillTx/>
                  <a:latin typeface="Calibri" panose="020F0502020204030204"/>
                  <a:ea typeface="+mn-ea"/>
                  <a:cs typeface="+mn-cs"/>
                </a:rPr>
                <a:t>but I was looking for specific numbers to further provide color to this answer</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If I asked another question following "what was the pain reduction", it provided a more robust response that I found more helpful, however the OR and percentages would be nice to accompany this answer (which are included in the </a:t>
              </a:r>
              <a:r>
                <a:rPr kumimoji="0" lang="en-US" sz="800" b="0" i="0" u="none" strike="noStrike" kern="1200" cap="none" spc="0" normalizeH="0" baseline="0" noProof="0" err="1">
                  <a:ln>
                    <a:noFill/>
                  </a:ln>
                  <a:solidFill>
                    <a:srgbClr val="304659"/>
                  </a:solidFill>
                  <a:effectLst/>
                  <a:uLnTx/>
                  <a:uFillTx/>
                  <a:latin typeface="Calibri" panose="020F0502020204030204"/>
                  <a:ea typeface="+mn-ea"/>
                  <a:cs typeface="+mn-cs"/>
                </a:rPr>
                <a:t>citiation</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a:t>
              </a:r>
            </a:p>
          </p:txBody>
        </p:sp>
        <p:sp>
          <p:nvSpPr>
            <p:cNvPr id="64" name="Rectangle 63">
              <a:extLst>
                <a:ext uri="{FF2B5EF4-FFF2-40B4-BE49-F238E27FC236}">
                  <a16:creationId xmlns:a16="http://schemas.microsoft.com/office/drawing/2014/main" id="{25C01B9C-49D1-54EE-99CA-618236B10018}"/>
                </a:ext>
              </a:extLst>
            </p:cNvPr>
            <p:cNvSpPr/>
            <p:nvPr/>
          </p:nvSpPr>
          <p:spPr>
            <a:xfrm>
              <a:off x="8172450" y="3164551"/>
              <a:ext cx="3411180" cy="697534"/>
            </a:xfrm>
            <a:prstGeom prst="rect">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45720" tIns="45720" rIns="4572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The last bullet- "Therefore, while the efficacy of UPLIZNA in MOG-positive disease remains uncertain, it has shown a consistent effect in reducing the risk of disability worsening in NMOSD patients</a:t>
              </a:r>
              <a:r>
                <a:rPr kumimoji="0" lang="en-US" sz="800" b="1" i="0" u="none" strike="noStrike" kern="1200" cap="none" spc="0" normalizeH="0" baseline="0" noProof="0">
                  <a:ln>
                    <a:noFill/>
                  </a:ln>
                  <a:solidFill>
                    <a:srgbClr val="304659"/>
                  </a:solidFill>
                  <a:effectLst/>
                  <a:uLnTx/>
                  <a:uFillTx/>
                  <a:latin typeface="Calibri" panose="020F0502020204030204"/>
                  <a:ea typeface="+mn-ea"/>
                  <a:cs typeface="+mn-cs"/>
                </a:rPr>
                <a:t>" is not relevant. Would be nice if it acknowledge the number of MOG+ patients </a:t>
              </a:r>
              <a:r>
                <a:rPr kumimoji="0" lang="en-US" sz="800" i="0" u="none" strike="noStrike" kern="1200" cap="none" spc="0" normalizeH="0" baseline="0" noProof="0">
                  <a:ln>
                    <a:noFill/>
                  </a:ln>
                  <a:solidFill>
                    <a:srgbClr val="304659"/>
                  </a:solidFill>
                  <a:effectLst/>
                  <a:uLnTx/>
                  <a:uFillTx/>
                  <a:latin typeface="Calibri" panose="020F0502020204030204"/>
                  <a:ea typeface="+mn-ea"/>
                  <a:cs typeface="+mn-cs"/>
                </a:rPr>
                <a:t>that</a:t>
              </a:r>
              <a:r>
                <a:rPr kumimoji="0" lang="en-US" sz="800" b="1" i="0" u="none" strike="noStrike" kern="1200" cap="none" spc="0" normalizeH="0" baseline="0" noProof="0">
                  <a:ln>
                    <a:noFill/>
                  </a:ln>
                  <a:solidFill>
                    <a:srgbClr val="304659"/>
                  </a:solidFill>
                  <a:effectLst/>
                  <a:uLnTx/>
                  <a:uFillTx/>
                  <a:latin typeface="Calibri" panose="020F0502020204030204"/>
                  <a:ea typeface="+mn-ea"/>
                  <a:cs typeface="+mn-cs"/>
                </a:rPr>
                <a:t> </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were in the study it pulled this information on my next prompt specifically asking for this). </a:t>
              </a:r>
              <a:endParaRPr kumimoji="0" lang="en-US" sz="800" b="1" i="0" u="none" strike="noStrike" kern="1200" cap="none" spc="0" normalizeH="0" baseline="0" noProof="0">
                <a:ln>
                  <a:noFill/>
                </a:ln>
                <a:solidFill>
                  <a:srgbClr val="304659"/>
                </a:solidFill>
                <a:effectLst/>
                <a:uLnTx/>
                <a:uFillTx/>
                <a:latin typeface="Calibri" panose="020F0502020204030204"/>
                <a:ea typeface="+mn-ea"/>
                <a:cs typeface="+mn-cs"/>
              </a:endParaRPr>
            </a:p>
          </p:txBody>
        </p:sp>
      </p:grpSp>
      <p:sp>
        <p:nvSpPr>
          <p:cNvPr id="66" name="Rectangle 65">
            <a:extLst>
              <a:ext uri="{FF2B5EF4-FFF2-40B4-BE49-F238E27FC236}">
                <a16:creationId xmlns:a16="http://schemas.microsoft.com/office/drawing/2014/main" id="{58FEFE87-F22E-67EF-A457-6EA576244F2A}"/>
              </a:ext>
            </a:extLst>
          </p:cNvPr>
          <p:cNvSpPr/>
          <p:nvPr/>
        </p:nvSpPr>
        <p:spPr>
          <a:xfrm>
            <a:off x="5031104" y="3058367"/>
            <a:ext cx="3111890" cy="822656"/>
          </a:xfrm>
          <a:prstGeom prst="rect">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45720"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While there isn't a single reference to answer this question, we were testing it to see if it would pull the data from slide decks or Standard Response letters that differentiate the CD19 B cell drug from CD20s. </a:t>
            </a:r>
            <a:r>
              <a:rPr kumimoji="0" lang="en-US" sz="800" b="1" i="0" u="none" strike="noStrike" kern="1200" cap="none" spc="0" normalizeH="0" baseline="0" noProof="0">
                <a:ln>
                  <a:noFill/>
                </a:ln>
                <a:solidFill>
                  <a:srgbClr val="304659"/>
                </a:solidFill>
                <a:effectLst/>
                <a:uLnTx/>
                <a:uFillTx/>
                <a:latin typeface="Calibri" panose="020F0502020204030204"/>
                <a:ea typeface="+mn-ea"/>
                <a:cs typeface="+mn-cs"/>
              </a:rPr>
              <a:t> The comprehensive answer would include information about</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the glycoengineering of the product, the fact that its humanized, and that it targets CD19. </a:t>
            </a:r>
          </a:p>
        </p:txBody>
      </p:sp>
      <p:sp>
        <p:nvSpPr>
          <p:cNvPr id="7" name="Rectangle 6">
            <a:extLst>
              <a:ext uri="{FF2B5EF4-FFF2-40B4-BE49-F238E27FC236}">
                <a16:creationId xmlns:a16="http://schemas.microsoft.com/office/drawing/2014/main" id="{7627FA47-93C1-2834-3F6A-B150D1244132}"/>
              </a:ext>
            </a:extLst>
          </p:cNvPr>
          <p:cNvSpPr/>
          <p:nvPr/>
        </p:nvSpPr>
        <p:spPr>
          <a:xfrm>
            <a:off x="2451100" y="3058367"/>
            <a:ext cx="2550548" cy="1830010"/>
          </a:xfrm>
          <a:prstGeom prst="rect">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45720"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304659"/>
                </a:solidFill>
                <a:effectLst/>
                <a:uLnTx/>
                <a:uFillTx/>
                <a:latin typeface="Calibri" panose="020F0502020204030204"/>
                <a:ea typeface="+mn-ea"/>
                <a:cs typeface="+mn-cs"/>
              </a:rPr>
              <a:t>More detail about the attack criteria would be helpful</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i.e., how many of the criteria addressed each domain within the CNS. We were the only study that utilized MRI for a subset of attacks, and the importance of utilization of MRI should be highlighted -- the fact that it was only used for more subtle presentations of the disease, i.e., brain/brainstem attacks and more subtle attacks that could be localized to the optic nerves or cord. The study protocol would be helpful here. The appendix of Cree 2019 Lancet would help with this. </a:t>
            </a:r>
            <a:r>
              <a:rPr kumimoji="0" lang="en-US" sz="800" b="0" i="0" u="none" strike="noStrike" kern="1200" cap="none" spc="0" normalizeH="0" baseline="0" noProof="0" err="1">
                <a:ln>
                  <a:noFill/>
                </a:ln>
                <a:solidFill>
                  <a:srgbClr val="304659"/>
                </a:solidFill>
                <a:effectLst/>
                <a:uLnTx/>
                <a:uFillTx/>
                <a:latin typeface="Calibri" panose="020F0502020204030204"/>
                <a:ea typeface="+mn-ea"/>
                <a:cs typeface="+mn-cs"/>
              </a:rPr>
              <a:t>Weinshenker</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2023 attack adjudication paper,  Attack adjudication in neuromyelitis </a:t>
            </a:r>
            <a:r>
              <a:rPr kumimoji="0" lang="en-US" sz="800" b="0" i="0" u="none" strike="noStrike" kern="1200" cap="none" spc="0" normalizeH="0" baseline="0" noProof="0" err="1">
                <a:ln>
                  <a:noFill/>
                </a:ln>
                <a:solidFill>
                  <a:srgbClr val="304659"/>
                </a:solidFill>
                <a:effectLst/>
                <a:uLnTx/>
                <a:uFillTx/>
                <a:latin typeface="Calibri" panose="020F0502020204030204"/>
                <a:ea typeface="+mn-ea"/>
                <a:cs typeface="+mn-cs"/>
              </a:rPr>
              <a:t>optica</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spectrum disorder: Substantiation of criteria by magnetic resonance imaging and biomarkers in N-</a:t>
            </a:r>
            <a:r>
              <a:rPr kumimoji="0" lang="en-US" sz="800" b="0" i="0" u="none" strike="noStrike" kern="1200" cap="none" spc="0" normalizeH="0" baseline="0" noProof="0" err="1">
                <a:ln>
                  <a:noFill/>
                </a:ln>
                <a:solidFill>
                  <a:srgbClr val="304659"/>
                </a:solidFill>
                <a:effectLst/>
                <a:uLnTx/>
                <a:uFillTx/>
                <a:latin typeface="Calibri" panose="020F0502020204030204"/>
                <a:ea typeface="+mn-ea"/>
                <a:cs typeface="+mn-cs"/>
              </a:rPr>
              <a:t>MOmentum</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would be helpful as well. </a:t>
            </a:r>
          </a:p>
        </p:txBody>
      </p:sp>
      <p:sp>
        <p:nvSpPr>
          <p:cNvPr id="8" name="Rectangle 7">
            <a:extLst>
              <a:ext uri="{FF2B5EF4-FFF2-40B4-BE49-F238E27FC236}">
                <a16:creationId xmlns:a16="http://schemas.microsoft.com/office/drawing/2014/main" id="{84EE4F20-D437-42E0-122C-DECF3FAD59EA}"/>
              </a:ext>
            </a:extLst>
          </p:cNvPr>
          <p:cNvSpPr/>
          <p:nvPr/>
        </p:nvSpPr>
        <p:spPr>
          <a:xfrm>
            <a:off x="2451100" y="4918955"/>
            <a:ext cx="9132532" cy="707886"/>
          </a:xfrm>
          <a:prstGeom prst="rect">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45720"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While accurate, this response is very 30k foot overview and </a:t>
            </a:r>
            <a:r>
              <a:rPr kumimoji="0" lang="en-US" sz="800" b="1" i="0" u="none" strike="noStrike" kern="1200" cap="none" spc="0" normalizeH="0" baseline="0" noProof="0">
                <a:ln>
                  <a:noFill/>
                </a:ln>
                <a:solidFill>
                  <a:srgbClr val="304659"/>
                </a:solidFill>
                <a:effectLst/>
                <a:uLnTx/>
                <a:uFillTx/>
                <a:latin typeface="Calibri" panose="020F0502020204030204"/>
                <a:ea typeface="+mn-ea"/>
                <a:cs typeface="+mn-cs"/>
              </a:rPr>
              <a:t>sorely lacks comprehensiveness</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One point regarding accuracy, however, is that this is summarizing the Phase 2/3 study,. One study. Not the Phase 2 and 3 studies. Regarding lack of robustness, lots of detail missing: first, this only delves into the RCP of the N-</a:t>
            </a:r>
            <a:r>
              <a:rPr kumimoji="0" lang="en-US" sz="800" b="0" i="0" u="none" strike="noStrike" kern="1200" cap="none" spc="0" normalizeH="0" baseline="0" noProof="0" err="1">
                <a:ln>
                  <a:noFill/>
                </a:ln>
                <a:solidFill>
                  <a:srgbClr val="304659"/>
                </a:solidFill>
                <a:effectLst/>
                <a:uLnTx/>
                <a:uFillTx/>
                <a:latin typeface="Calibri" panose="020F0502020204030204"/>
                <a:ea typeface="+mn-ea"/>
                <a:cs typeface="+mn-cs"/>
              </a:rPr>
              <a:t>MOmentum</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study and does not address the full study at all, which includes the open-label extension period. This does not reference how long the RCP was, how participants were randomized, what happened if participants had an attack or were suspected of having had an attack, how attacks were evaluated, who was eligible for the trial, how many were seropositive versus seronegative, there are no </a:t>
            </a:r>
            <a:r>
              <a:rPr kumimoji="0" lang="en-US" sz="800" b="0" i="0" u="none" strike="noStrike" kern="1200" cap="none" spc="0" normalizeH="0" baseline="0" noProof="0" err="1">
                <a:ln>
                  <a:noFill/>
                </a:ln>
                <a:solidFill>
                  <a:srgbClr val="304659"/>
                </a:solidFill>
                <a:effectLst/>
                <a:uLnTx/>
                <a:uFillTx/>
                <a:latin typeface="Calibri" panose="020F0502020204030204"/>
                <a:ea typeface="+mn-ea"/>
                <a:cs typeface="+mn-cs"/>
              </a:rPr>
              <a:t>longterm</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safety or efficacy outcomes mentioned... most of this information can be gotten from Cree, Lancet, 2019, and the rest from the most recent end of study manuscript, Cree, Lancet Neurology 2024. </a:t>
            </a:r>
          </a:p>
        </p:txBody>
      </p:sp>
      <p:sp>
        <p:nvSpPr>
          <p:cNvPr id="41" name="Rectangle 40">
            <a:extLst>
              <a:ext uri="{FF2B5EF4-FFF2-40B4-BE49-F238E27FC236}">
                <a16:creationId xmlns:a16="http://schemas.microsoft.com/office/drawing/2014/main" id="{B7F71C3C-0FDD-D413-9614-0F31EFD9F066}"/>
              </a:ext>
            </a:extLst>
          </p:cNvPr>
          <p:cNvSpPr/>
          <p:nvPr/>
        </p:nvSpPr>
        <p:spPr>
          <a:xfrm>
            <a:off x="2451100" y="1327697"/>
            <a:ext cx="2261900" cy="1025408"/>
          </a:xfrm>
          <a:prstGeom prst="rect">
            <a:avLst/>
          </a:prstGeom>
          <a:solidFill>
            <a:schemeClr val="accent5">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45720"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This response addresses the use of steroids in this disease rather than in the N-</a:t>
            </a:r>
            <a:r>
              <a:rPr kumimoji="0" lang="en-US" sz="800" b="0" i="0" u="none" strike="noStrike" kern="1200" cap="none" spc="0" normalizeH="0" baseline="0" noProof="0" err="1">
                <a:ln>
                  <a:noFill/>
                </a:ln>
                <a:solidFill>
                  <a:srgbClr val="304659"/>
                </a:solidFill>
                <a:effectLst/>
                <a:uLnTx/>
                <a:uFillTx/>
                <a:latin typeface="Calibri" panose="020F0502020204030204"/>
                <a:ea typeface="+mn-ea"/>
                <a:cs typeface="+mn-cs"/>
              </a:rPr>
              <a:t>MOmentum</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trial. I don't love the question </a:t>
            </a:r>
            <a:r>
              <a:rPr kumimoji="0" lang="en-US" sz="800" b="0" i="0" u="none" strike="noStrike" kern="1200" cap="none" spc="0" normalizeH="0" baseline="0" noProof="0" err="1">
                <a:ln>
                  <a:noFill/>
                </a:ln>
                <a:solidFill>
                  <a:srgbClr val="304659"/>
                </a:solidFill>
                <a:effectLst/>
                <a:uLnTx/>
                <a:uFillTx/>
                <a:latin typeface="Calibri" panose="020F0502020204030204"/>
                <a:ea typeface="+mn-ea"/>
                <a:cs typeface="+mn-cs"/>
              </a:rPr>
              <a:t>becasue</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I don't know if it is asking about use of steroids for acute attacks, or if it is referring to standard concomitant use/the taper given during the first several weeks of the trial. Assuming both, these are both outlined in bot </a:t>
            </a:r>
            <a:r>
              <a:rPr kumimoji="0" lang="en-US" sz="800" b="0" i="0" u="none" strike="noStrike" kern="1200" cap="none" spc="0" normalizeH="0" baseline="0" noProof="0" err="1">
                <a:ln>
                  <a:noFill/>
                </a:ln>
                <a:solidFill>
                  <a:srgbClr val="304659"/>
                </a:solidFill>
                <a:effectLst/>
                <a:uLnTx/>
                <a:uFillTx/>
                <a:latin typeface="Calibri" panose="020F0502020204030204"/>
                <a:ea typeface="+mn-ea"/>
                <a:cs typeface="+mn-cs"/>
              </a:rPr>
              <a:t>hte</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study protocol and in the Lancet 2019. </a:t>
            </a:r>
            <a:endParaRPr kumimoji="0" lang="en-US" sz="800" b="0" i="0" u="none" strike="noStrike" kern="1200" cap="none" spc="0" normalizeH="0" baseline="0" noProof="0">
              <a:ln>
                <a:noFill/>
              </a:ln>
              <a:solidFill>
                <a:srgbClr val="304659"/>
              </a:solidFill>
              <a:effectLst/>
              <a:uLnTx/>
              <a:uFillTx/>
              <a:latin typeface="Calibri" panose="020F0502020204030204"/>
              <a:ea typeface="Calibri" panose="020F0502020204030204"/>
              <a:cs typeface="Calibri" panose="020F0502020204030204"/>
            </a:endParaRPr>
          </a:p>
        </p:txBody>
      </p:sp>
      <p:sp>
        <p:nvSpPr>
          <p:cNvPr id="6" name="Rectangle 5">
            <a:extLst>
              <a:ext uri="{FF2B5EF4-FFF2-40B4-BE49-F238E27FC236}">
                <a16:creationId xmlns:a16="http://schemas.microsoft.com/office/drawing/2014/main" id="{E3C9F3AA-7857-F7EE-FAA1-8B65828C6AC1}"/>
              </a:ext>
            </a:extLst>
          </p:cNvPr>
          <p:cNvSpPr/>
          <p:nvPr/>
        </p:nvSpPr>
        <p:spPr>
          <a:xfrm>
            <a:off x="8521297" y="1327697"/>
            <a:ext cx="3062336" cy="1025408"/>
          </a:xfrm>
          <a:prstGeom prst="rect">
            <a:avLst/>
          </a:prstGeom>
          <a:solidFill>
            <a:schemeClr val="accent5">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45720"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1. </a:t>
            </a:r>
            <a:r>
              <a:rPr kumimoji="0" lang="en-US" sz="800" b="1" i="0" u="none" strike="noStrike" kern="1200" cap="none" spc="0" normalizeH="0" baseline="0" noProof="0">
                <a:ln>
                  <a:noFill/>
                </a:ln>
                <a:solidFill>
                  <a:srgbClr val="304659"/>
                </a:solidFill>
                <a:effectLst/>
                <a:uLnTx/>
                <a:uFillTx/>
                <a:latin typeface="Calibri" panose="020F0502020204030204"/>
                <a:ea typeface="+mn-ea"/>
                <a:cs typeface="+mn-cs"/>
              </a:rPr>
              <a:t>Does not focus </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on the major differences between the 3 therapies</a:t>
            </a:r>
            <a:b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b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2. </a:t>
            </a:r>
            <a:r>
              <a:rPr kumimoji="0" lang="en-US" sz="800" b="1" i="0" u="none" strike="noStrike" kern="1200" cap="none" spc="0" normalizeH="0" baseline="0" noProof="0">
                <a:ln>
                  <a:noFill/>
                </a:ln>
                <a:solidFill>
                  <a:srgbClr val="304659"/>
                </a:solidFill>
                <a:effectLst/>
                <a:uLnTx/>
                <a:uFillTx/>
                <a:latin typeface="Calibri" panose="020F0502020204030204"/>
                <a:ea typeface="+mn-ea"/>
                <a:cs typeface="+mn-cs"/>
              </a:rPr>
              <a:t>Does not include </a:t>
            </a:r>
            <a:r>
              <a:rPr kumimoji="0" lang="en-US" sz="800" b="0" i="0" u="none" strike="noStrike" kern="1200" cap="none" spc="0" normalizeH="0" baseline="0" noProof="0" err="1">
                <a:ln>
                  <a:noFill/>
                </a:ln>
                <a:solidFill>
                  <a:srgbClr val="304659"/>
                </a:solidFill>
                <a:effectLst/>
                <a:uLnTx/>
                <a:uFillTx/>
                <a:latin typeface="Calibri" panose="020F0502020204030204"/>
                <a:ea typeface="+mn-ea"/>
                <a:cs typeface="+mn-cs"/>
              </a:rPr>
              <a:t>Ultomiris</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a:t>
            </a:r>
            <a:r>
              <a:rPr kumimoji="0" lang="en-US" sz="800" b="0" i="0" u="none" strike="noStrike" kern="1200" cap="none" spc="0" normalizeH="0" baseline="0" noProof="0" err="1">
                <a:ln>
                  <a:noFill/>
                </a:ln>
                <a:solidFill>
                  <a:srgbClr val="304659"/>
                </a:solidFill>
                <a:effectLst/>
                <a:uLnTx/>
                <a:uFillTx/>
                <a:latin typeface="Calibri" panose="020F0502020204030204"/>
                <a:ea typeface="+mn-ea"/>
                <a:cs typeface="+mn-cs"/>
              </a:rPr>
              <a:t>Ravulizumab</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amongst the novel FDA approved therapies</a:t>
            </a:r>
            <a:b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b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3</a:t>
            </a:r>
            <a:r>
              <a:rPr kumimoji="0" lang="en-US" sz="800" b="1" i="0" u="none" strike="noStrike" kern="1200" cap="none" spc="0" normalizeH="0" baseline="0" noProof="0">
                <a:ln>
                  <a:noFill/>
                </a:ln>
                <a:solidFill>
                  <a:srgbClr val="304659"/>
                </a:solidFill>
                <a:effectLst/>
                <a:uLnTx/>
                <a:uFillTx/>
                <a:latin typeface="Calibri" panose="020F0502020204030204"/>
                <a:ea typeface="+mn-ea"/>
                <a:cs typeface="+mn-cs"/>
              </a:rPr>
              <a:t>. Inaccurate information </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a:t>
            </a:r>
            <a:r>
              <a:rPr kumimoji="0" lang="en-US" sz="800" b="0" i="0" u="none" strike="noStrike" kern="1200" cap="none" spc="0" normalizeH="0" baseline="0" noProof="0" err="1">
                <a:ln>
                  <a:noFill/>
                </a:ln>
                <a:solidFill>
                  <a:srgbClr val="304659"/>
                </a:solidFill>
                <a:effectLst/>
                <a:uLnTx/>
                <a:uFillTx/>
                <a:latin typeface="Calibri" panose="020F0502020204030204"/>
                <a:ea typeface="+mn-ea"/>
                <a:cs typeface="+mn-cs"/>
              </a:rPr>
              <a:t>Inebilizumab</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does NOT allow for self-administration. </a:t>
            </a:r>
            <a:b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b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4</a:t>
            </a:r>
            <a:r>
              <a:rPr kumimoji="0" lang="en-US" sz="800" b="1" i="0" u="none" strike="noStrike" kern="1200" cap="none" spc="0" normalizeH="0" baseline="0" noProof="0">
                <a:ln>
                  <a:noFill/>
                </a:ln>
                <a:solidFill>
                  <a:srgbClr val="304659"/>
                </a:solidFill>
                <a:effectLst/>
                <a:uLnTx/>
                <a:uFillTx/>
                <a:latin typeface="Calibri" panose="020F0502020204030204"/>
                <a:ea typeface="+mn-ea"/>
                <a:cs typeface="+mn-cs"/>
              </a:rPr>
              <a:t>. Inaccurate/Misleading information </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a:t>
            </a:r>
            <a:r>
              <a:rPr kumimoji="0" lang="en-US" sz="800" b="0" i="0" u="none" strike="noStrike" kern="1200" cap="none" spc="0" normalizeH="0" baseline="0" noProof="0" err="1">
                <a:ln>
                  <a:noFill/>
                </a:ln>
                <a:solidFill>
                  <a:srgbClr val="304659"/>
                </a:solidFill>
                <a:effectLst/>
                <a:uLnTx/>
                <a:uFillTx/>
                <a:latin typeface="Calibri" panose="020F0502020204030204"/>
                <a:ea typeface="+mn-ea"/>
                <a:cs typeface="+mn-cs"/>
              </a:rPr>
              <a:t>Satralizumab</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does have a considerable cost of treatment but is amongst the cheapest of all FDA approved options, so it is misleading. </a:t>
            </a:r>
          </a:p>
        </p:txBody>
      </p:sp>
      <p:sp>
        <p:nvSpPr>
          <p:cNvPr id="3" name="Rectangle 2">
            <a:extLst>
              <a:ext uri="{FF2B5EF4-FFF2-40B4-BE49-F238E27FC236}">
                <a16:creationId xmlns:a16="http://schemas.microsoft.com/office/drawing/2014/main" id="{AF20ADC2-3C67-D329-EA6F-2488F4EFF432}"/>
              </a:ext>
            </a:extLst>
          </p:cNvPr>
          <p:cNvSpPr/>
          <p:nvPr/>
        </p:nvSpPr>
        <p:spPr>
          <a:xfrm>
            <a:off x="6922715" y="1327697"/>
            <a:ext cx="1569785" cy="1025408"/>
          </a:xfrm>
          <a:prstGeom prst="rect">
            <a:avLst/>
          </a:prstGeom>
          <a:solidFill>
            <a:schemeClr val="accent5">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45720"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304659"/>
                </a:solidFill>
                <a:effectLst/>
                <a:uLnTx/>
                <a:uFillTx/>
                <a:latin typeface="Calibri" panose="020F0502020204030204"/>
                <a:ea typeface="+mn-ea"/>
                <a:cs typeface="+mn-cs"/>
              </a:rPr>
              <a:t>This answer was not comprehensive and did not completely identify overlapping autoimmune disorders with NMOSD.</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Answer is very basic, and did not provide the epidemiology, prevalence, or incidence of coexisting disorders. </a:t>
            </a:r>
          </a:p>
        </p:txBody>
      </p:sp>
      <p:sp>
        <p:nvSpPr>
          <p:cNvPr id="28" name="Rectangle 27">
            <a:extLst>
              <a:ext uri="{FF2B5EF4-FFF2-40B4-BE49-F238E27FC236}">
                <a16:creationId xmlns:a16="http://schemas.microsoft.com/office/drawing/2014/main" id="{90319369-CC44-D17D-1BD8-E6ADAD4D8DB2}"/>
              </a:ext>
            </a:extLst>
          </p:cNvPr>
          <p:cNvSpPr/>
          <p:nvPr/>
        </p:nvSpPr>
        <p:spPr>
          <a:xfrm>
            <a:off x="4741797" y="1327697"/>
            <a:ext cx="2152121" cy="1025408"/>
          </a:xfrm>
          <a:prstGeom prst="rect">
            <a:avLst/>
          </a:prstGeom>
          <a:solidFill>
            <a:schemeClr val="accent5">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45720"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While this response gave context to how attacks were defined in the PREVENT study and also gave context into their adjudication process</a:t>
            </a:r>
            <a:r>
              <a:rPr kumimoji="0" lang="en-US" sz="800" b="1" i="0" u="none" strike="noStrike" kern="1200" cap="none" spc="0" normalizeH="0" baseline="0" noProof="0">
                <a:ln>
                  <a:noFill/>
                </a:ln>
                <a:solidFill>
                  <a:srgbClr val="304659"/>
                </a:solidFill>
                <a:effectLst/>
                <a:uLnTx/>
                <a:uFillTx/>
                <a:latin typeface="Calibri" panose="020F0502020204030204"/>
                <a:ea typeface="+mn-ea"/>
                <a:cs typeface="+mn-cs"/>
              </a:rPr>
              <a:t>, the response would have been more complete if it included number of attacks identified by investigators versus how many of those attacks were accepted and/or rejected by the adjudication committee for PREVENT. </a:t>
            </a:r>
          </a:p>
        </p:txBody>
      </p:sp>
      <p:grpSp>
        <p:nvGrpSpPr>
          <p:cNvPr id="21" name="Group 20">
            <a:extLst>
              <a:ext uri="{FF2B5EF4-FFF2-40B4-BE49-F238E27FC236}">
                <a16:creationId xmlns:a16="http://schemas.microsoft.com/office/drawing/2014/main" id="{21DDE4D9-5932-14C6-E374-7C96FDF95541}"/>
              </a:ext>
            </a:extLst>
          </p:cNvPr>
          <p:cNvGrpSpPr/>
          <p:nvPr/>
        </p:nvGrpSpPr>
        <p:grpSpPr>
          <a:xfrm>
            <a:off x="2451100" y="2382063"/>
            <a:ext cx="9132533" cy="647346"/>
            <a:chOff x="2451100" y="2358205"/>
            <a:chExt cx="9132533" cy="647346"/>
          </a:xfrm>
        </p:grpSpPr>
        <p:sp>
          <p:nvSpPr>
            <p:cNvPr id="40" name="Rectangle 39">
              <a:extLst>
                <a:ext uri="{FF2B5EF4-FFF2-40B4-BE49-F238E27FC236}">
                  <a16:creationId xmlns:a16="http://schemas.microsoft.com/office/drawing/2014/main" id="{88951714-F2C8-0D8C-36EE-3EC03677B514}"/>
                </a:ext>
              </a:extLst>
            </p:cNvPr>
            <p:cNvSpPr/>
            <p:nvPr/>
          </p:nvSpPr>
          <p:spPr>
            <a:xfrm>
              <a:off x="4232580" y="2358205"/>
              <a:ext cx="2261900" cy="647346"/>
            </a:xfrm>
            <a:prstGeom prst="rect">
              <a:avLst/>
            </a:prstGeom>
            <a:solidFill>
              <a:schemeClr val="accent5">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45720"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It is accurate... </a:t>
              </a:r>
              <a:r>
                <a:rPr kumimoji="0" lang="en-US" sz="800" i="0" u="none" strike="noStrike" kern="1200" cap="none" spc="0" normalizeH="0" baseline="0" noProof="0">
                  <a:ln>
                    <a:noFill/>
                  </a:ln>
                  <a:solidFill>
                    <a:srgbClr val="304659"/>
                  </a:solidFill>
                  <a:effectLst/>
                  <a:uLnTx/>
                  <a:uFillTx/>
                  <a:latin typeface="Calibri" panose="020F0502020204030204"/>
                  <a:ea typeface="+mn-ea"/>
                  <a:cs typeface="+mn-cs"/>
                </a:rPr>
                <a:t>but</a:t>
              </a:r>
              <a:r>
                <a:rPr kumimoji="0" lang="en-US" sz="800" b="1" i="0" u="none" strike="noStrike" kern="1200" cap="none" spc="0" normalizeH="0" baseline="0" noProof="0">
                  <a:ln>
                    <a:noFill/>
                  </a:ln>
                  <a:solidFill>
                    <a:srgbClr val="304659"/>
                  </a:solidFill>
                  <a:effectLst/>
                  <a:uLnTx/>
                  <a:uFillTx/>
                  <a:latin typeface="Calibri" panose="020F0502020204030204"/>
                  <a:ea typeface="+mn-ea"/>
                  <a:cs typeface="+mn-cs"/>
                </a:rPr>
                <a:t> in no way answers the question </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asked. (Interestingly, some of this data was missing from another of my questions, where it was needed.) Figure 1 in the </a:t>
              </a:r>
              <a:r>
                <a:rPr kumimoji="0" lang="en-US" sz="800" b="0" i="0" u="none" strike="noStrike" kern="1200" cap="none" spc="0" normalizeH="0" baseline="0" noProof="0" err="1">
                  <a:ln>
                    <a:noFill/>
                  </a:ln>
                  <a:solidFill>
                    <a:srgbClr val="304659"/>
                  </a:solidFill>
                  <a:effectLst/>
                  <a:uLnTx/>
                  <a:uFillTx/>
                  <a:latin typeface="Calibri" panose="020F0502020204030204"/>
                  <a:ea typeface="+mn-ea"/>
                  <a:cs typeface="+mn-cs"/>
                </a:rPr>
                <a:t>EoS</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manuscript addresses this question (Cree 2024 Lancet Neurol) </a:t>
              </a:r>
              <a:endParaRPr kumimoji="0" lang="en-US" sz="800" b="1" i="0" u="none" strike="noStrike" kern="1200" cap="none" spc="0" normalizeH="0" baseline="0" noProof="0">
                <a:ln>
                  <a:noFill/>
                </a:ln>
                <a:solidFill>
                  <a:srgbClr val="304659"/>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52A4373F-7579-759D-B212-9C86F1FEA716}"/>
                </a:ext>
              </a:extLst>
            </p:cNvPr>
            <p:cNvSpPr/>
            <p:nvPr/>
          </p:nvSpPr>
          <p:spPr>
            <a:xfrm>
              <a:off x="6523360" y="2358205"/>
              <a:ext cx="2473519" cy="647346"/>
            </a:xfrm>
            <a:prstGeom prst="rect">
              <a:avLst/>
            </a:prstGeom>
            <a:solidFill>
              <a:schemeClr val="accent5">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45720"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304659"/>
                  </a:solidFill>
                  <a:effectLst/>
                  <a:uLnTx/>
                  <a:uFillTx/>
                  <a:latin typeface="Calibri" panose="020F0502020204030204"/>
                  <a:ea typeface="+mn-ea"/>
                  <a:cs typeface="+mn-cs"/>
                </a:rPr>
                <a:t>This answer completely missed the boat on providing any details </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about the risk of infection with low Ig while </a:t>
              </a:r>
              <a:r>
                <a:rPr kumimoji="0" lang="en-US" sz="800" b="0" i="0" u="none" strike="noStrike" kern="1200" cap="none" spc="0" normalizeH="0" baseline="0" noProof="0" err="1">
                  <a:ln>
                    <a:noFill/>
                  </a:ln>
                  <a:solidFill>
                    <a:srgbClr val="304659"/>
                  </a:solidFill>
                  <a:effectLst/>
                  <a:uLnTx/>
                  <a:uFillTx/>
                  <a:latin typeface="Calibri" panose="020F0502020204030204"/>
                  <a:ea typeface="+mn-ea"/>
                  <a:cs typeface="+mn-cs"/>
                </a:rPr>
                <a:t>Uplizna</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is used.  Data missing includes the Greenberg presentation from 2021 and the Cree end of study publication.  This one was really inaccurate. </a:t>
              </a:r>
            </a:p>
          </p:txBody>
        </p:sp>
        <p:sp>
          <p:nvSpPr>
            <p:cNvPr id="29" name="Rectangle 28">
              <a:extLst>
                <a:ext uri="{FF2B5EF4-FFF2-40B4-BE49-F238E27FC236}">
                  <a16:creationId xmlns:a16="http://schemas.microsoft.com/office/drawing/2014/main" id="{FCB7F731-C799-2396-62B6-8D080F71C0CB}"/>
                </a:ext>
              </a:extLst>
            </p:cNvPr>
            <p:cNvSpPr/>
            <p:nvPr/>
          </p:nvSpPr>
          <p:spPr>
            <a:xfrm>
              <a:off x="2451100" y="2358205"/>
              <a:ext cx="1752600" cy="647346"/>
            </a:xfrm>
            <a:prstGeom prst="rect">
              <a:avLst/>
            </a:prstGeom>
            <a:solidFill>
              <a:schemeClr val="accent5">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45720"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304659"/>
                  </a:solidFill>
                  <a:effectLst/>
                  <a:uLnTx/>
                  <a:uFillTx/>
                  <a:latin typeface="Calibri" panose="020F0502020204030204"/>
                  <a:ea typeface="+mn-ea"/>
                  <a:cs typeface="+mn-cs"/>
                </a:rPr>
                <a:t>This answer was no where near accurate </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and was not even up-to-date on current therapies for NMOSD.  Also, the answer had nothing to do with immune reconstitution in NMOSD. </a:t>
              </a:r>
            </a:p>
          </p:txBody>
        </p:sp>
        <p:sp>
          <p:nvSpPr>
            <p:cNvPr id="30" name="Rectangle 29">
              <a:extLst>
                <a:ext uri="{FF2B5EF4-FFF2-40B4-BE49-F238E27FC236}">
                  <a16:creationId xmlns:a16="http://schemas.microsoft.com/office/drawing/2014/main" id="{C8489662-E654-65A1-19CD-4A13B5BADF4D}"/>
                </a:ext>
              </a:extLst>
            </p:cNvPr>
            <p:cNvSpPr/>
            <p:nvPr/>
          </p:nvSpPr>
          <p:spPr>
            <a:xfrm>
              <a:off x="9025759" y="2358205"/>
              <a:ext cx="2557874" cy="647346"/>
            </a:xfrm>
            <a:prstGeom prst="rect">
              <a:avLst/>
            </a:prstGeom>
            <a:solidFill>
              <a:schemeClr val="accent5">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45720"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304659"/>
                  </a:solidFill>
                  <a:effectLst/>
                  <a:uLnTx/>
                  <a:uFillTx/>
                  <a:latin typeface="Calibri" panose="020F0502020204030204"/>
                  <a:ea typeface="+mn-ea"/>
                  <a:cs typeface="+mn-cs"/>
                </a:rPr>
                <a:t>This response seems to somewhat answer the question</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but </a:t>
              </a:r>
              <a:r>
                <a:rPr kumimoji="0" lang="en-US" sz="800" b="0" i="0" u="none" strike="noStrike" kern="1200" cap="none" spc="0" normalizeH="0" baseline="0" noProof="0" err="1">
                  <a:ln>
                    <a:noFill/>
                  </a:ln>
                  <a:solidFill>
                    <a:srgbClr val="304659"/>
                  </a:solidFill>
                  <a:effectLst/>
                  <a:uLnTx/>
                  <a:uFillTx/>
                  <a:latin typeface="Calibri" panose="020F0502020204030204"/>
                  <a:ea typeface="+mn-ea"/>
                  <a:cs typeface="+mn-cs"/>
                </a:rPr>
                <a:t>tangentally</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goes into low immunoglobulins.  The infections cited from N-</a:t>
              </a:r>
              <a:r>
                <a:rPr kumimoji="0" lang="en-US" sz="800" b="0" i="0" u="none" strike="noStrike" kern="1200" cap="none" spc="0" normalizeH="0" baseline="0" noProof="0" err="1">
                  <a:ln>
                    <a:noFill/>
                  </a:ln>
                  <a:solidFill>
                    <a:srgbClr val="304659"/>
                  </a:solidFill>
                  <a:effectLst/>
                  <a:uLnTx/>
                  <a:uFillTx/>
                  <a:latin typeface="Calibri" panose="020F0502020204030204"/>
                  <a:ea typeface="+mn-ea"/>
                  <a:cs typeface="+mn-cs"/>
                </a:rPr>
                <a:t>MOmentum</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are correct, but this answer also appears to be missing data from the Cree end of study results. </a:t>
              </a:r>
            </a:p>
          </p:txBody>
        </p:sp>
      </p:grpSp>
      <p:sp>
        <p:nvSpPr>
          <p:cNvPr id="42" name="Rectangle 41">
            <a:extLst>
              <a:ext uri="{FF2B5EF4-FFF2-40B4-BE49-F238E27FC236}">
                <a16:creationId xmlns:a16="http://schemas.microsoft.com/office/drawing/2014/main" id="{2248FC4E-CA67-05E6-4676-2F5D2D712AFB}"/>
              </a:ext>
            </a:extLst>
          </p:cNvPr>
          <p:cNvSpPr/>
          <p:nvPr/>
        </p:nvSpPr>
        <p:spPr>
          <a:xfrm>
            <a:off x="2451100" y="5656339"/>
            <a:ext cx="9132532" cy="584775"/>
          </a:xfrm>
          <a:prstGeom prst="rect">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45720"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The ask was essentially why was  CD 20 measured instead of CD 19, as it is counter intuitive to measure something else than what you are targeting depleting. </a:t>
            </a:r>
            <a:r>
              <a:rPr kumimoji="0" lang="en-US" sz="800" b="1" i="0" u="none" strike="noStrike" kern="1200" cap="none" spc="0" normalizeH="0" baseline="0" noProof="0">
                <a:ln>
                  <a:noFill/>
                </a:ln>
                <a:solidFill>
                  <a:srgbClr val="304659"/>
                </a:solidFill>
                <a:effectLst/>
                <a:uLnTx/>
                <a:uFillTx/>
                <a:latin typeface="Calibri" panose="020F0502020204030204"/>
                <a:ea typeface="+mn-ea"/>
                <a:cs typeface="+mn-cs"/>
              </a:rPr>
              <a:t>The answer had some good points, however the answer we were looking for is more </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so that for CD19+ B-cell counts, assays for CD20+ B cells are used because the presence of UPLIZNA interferes with CD19+ B-cell assay. </a:t>
            </a:r>
            <a:b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b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Found in product monograph (should be added) and in-Br J Clin </a:t>
            </a:r>
            <a:r>
              <a:rPr kumimoji="0" lang="en-US" sz="800" b="0" i="0" u="none" strike="noStrike" kern="1200" cap="none" spc="0" normalizeH="0" baseline="0" noProof="0" err="1">
                <a:ln>
                  <a:noFill/>
                </a:ln>
                <a:solidFill>
                  <a:srgbClr val="304659"/>
                </a:solidFill>
                <a:effectLst/>
                <a:uLnTx/>
                <a:uFillTx/>
                <a:latin typeface="Calibri" panose="020F0502020204030204"/>
                <a:ea typeface="+mn-ea"/>
                <a:cs typeface="+mn-cs"/>
              </a:rPr>
              <a:t>Pharmacol</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2022 Aug; 88(8): 3803–3812.</a:t>
            </a:r>
            <a:b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b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Published online 2022 Apr 5. </a:t>
            </a:r>
            <a:r>
              <a:rPr kumimoji="0" lang="en-US" sz="800" b="0" i="0" u="none" strike="noStrike" kern="1200" cap="none" spc="0" normalizeH="0" baseline="0" noProof="0" err="1">
                <a:ln>
                  <a:noFill/>
                </a:ln>
                <a:solidFill>
                  <a:srgbClr val="304659"/>
                </a:solidFill>
                <a:effectLst/>
                <a:uLnTx/>
                <a:uFillTx/>
                <a:latin typeface="Calibri" panose="020F0502020204030204"/>
                <a:ea typeface="+mn-ea"/>
                <a:cs typeface="+mn-cs"/>
              </a:rPr>
              <a:t>doi</a:t>
            </a:r>
            <a:r>
              <a:rPr kumimoji="0" lang="en-US" sz="800" b="0" i="0" u="none" strike="noStrike" kern="1200" cap="none" spc="0" normalizeH="0" baseline="0" noProof="0">
                <a:ln>
                  <a:noFill/>
                </a:ln>
                <a:solidFill>
                  <a:srgbClr val="304659"/>
                </a:solidFill>
                <a:effectLst/>
                <a:uLnTx/>
                <a:uFillTx/>
                <a:latin typeface="Calibri" panose="020F0502020204030204"/>
                <a:ea typeface="+mn-ea"/>
                <a:cs typeface="+mn-cs"/>
              </a:rPr>
              <a:t>: 10.1111/bcp.15332</a:t>
            </a:r>
          </a:p>
        </p:txBody>
      </p:sp>
      <p:sp>
        <p:nvSpPr>
          <p:cNvPr id="23" name="Rectangle 22">
            <a:extLst>
              <a:ext uri="{FF2B5EF4-FFF2-40B4-BE49-F238E27FC236}">
                <a16:creationId xmlns:a16="http://schemas.microsoft.com/office/drawing/2014/main" id="{B78E3CE9-715F-D205-DCB5-BD242DAC67C1}"/>
              </a:ext>
            </a:extLst>
          </p:cNvPr>
          <p:cNvSpPr/>
          <p:nvPr/>
        </p:nvSpPr>
        <p:spPr>
          <a:xfrm>
            <a:off x="609600" y="1327697"/>
            <a:ext cx="1752600" cy="891120"/>
          </a:xfrm>
          <a:prstGeom prst="rect">
            <a:avLst/>
          </a:prstGeom>
          <a:solidFill>
            <a:schemeClr val="accent3">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45720"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304659"/>
                </a:solidFill>
                <a:effectLst/>
                <a:uLnTx/>
                <a:uFillTx/>
                <a:latin typeface="Calibri" panose="020F0502020204030204"/>
                <a:ea typeface="Calibri" panose="020F0502020204030204"/>
                <a:cs typeface="Calibri" panose="020F0502020204030204"/>
              </a:rPr>
              <a:t>This response was accurate and relevant; </a:t>
            </a:r>
            <a:r>
              <a:rPr kumimoji="0" lang="en-US" sz="800" b="0" i="0" u="none" strike="noStrike" kern="1200" cap="none" spc="0" normalizeH="0" baseline="0" noProof="0">
                <a:ln>
                  <a:noFill/>
                </a:ln>
                <a:solidFill>
                  <a:srgbClr val="304659"/>
                </a:solidFill>
                <a:effectLst/>
                <a:uLnTx/>
                <a:uFillTx/>
                <a:latin typeface="Calibri" panose="020F0502020204030204"/>
                <a:ea typeface="Calibri" panose="020F0502020204030204"/>
                <a:cs typeface="Calibri" panose="020F0502020204030204"/>
              </a:rPr>
              <a:t>however the response only consisted of lower limit of normal levels within our N-</a:t>
            </a:r>
            <a:r>
              <a:rPr kumimoji="0" lang="en-US" sz="800" b="0" i="0" u="none" strike="noStrike" kern="1200" cap="none" spc="0" normalizeH="0" baseline="0" noProof="0" err="1">
                <a:ln>
                  <a:noFill/>
                </a:ln>
                <a:solidFill>
                  <a:srgbClr val="304659"/>
                </a:solidFill>
                <a:effectLst/>
                <a:uLnTx/>
                <a:uFillTx/>
                <a:latin typeface="Calibri" panose="020F0502020204030204"/>
                <a:ea typeface="Calibri" panose="020F0502020204030204"/>
                <a:cs typeface="Calibri" panose="020F0502020204030204"/>
              </a:rPr>
              <a:t>MOmentum</a:t>
            </a:r>
            <a:r>
              <a:rPr kumimoji="0" lang="en-US" sz="800" b="0" i="0" u="none" strike="noStrike" kern="1200" cap="none" spc="0" normalizeH="0" baseline="0" noProof="0">
                <a:ln>
                  <a:noFill/>
                </a:ln>
                <a:solidFill>
                  <a:srgbClr val="304659"/>
                </a:solidFill>
                <a:effectLst/>
                <a:uLnTx/>
                <a:uFillTx/>
                <a:latin typeface="Calibri" panose="020F0502020204030204"/>
                <a:ea typeface="Calibri" panose="020F0502020204030204"/>
                <a:cs typeface="Calibri" panose="020F0502020204030204"/>
              </a:rPr>
              <a:t> trial, and not other sources clinicians and HCPs will be using to evaluate LLN for B cell levels</a:t>
            </a:r>
          </a:p>
        </p:txBody>
      </p:sp>
      <p:sp>
        <p:nvSpPr>
          <p:cNvPr id="24" name="Rectangle 23">
            <a:extLst>
              <a:ext uri="{FF2B5EF4-FFF2-40B4-BE49-F238E27FC236}">
                <a16:creationId xmlns:a16="http://schemas.microsoft.com/office/drawing/2014/main" id="{9079FEE8-07A6-188E-AA8F-FE4478EC2251}"/>
              </a:ext>
            </a:extLst>
          </p:cNvPr>
          <p:cNvSpPr/>
          <p:nvPr/>
        </p:nvSpPr>
        <p:spPr>
          <a:xfrm>
            <a:off x="609600" y="2246393"/>
            <a:ext cx="1752600" cy="1274174"/>
          </a:xfrm>
          <a:prstGeom prst="rect">
            <a:avLst/>
          </a:prstGeom>
          <a:solidFill>
            <a:schemeClr val="accent3">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45720"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04659"/>
                </a:solidFill>
                <a:effectLst/>
                <a:uLnTx/>
                <a:uFillTx/>
                <a:latin typeface="Calibri" panose="020F0502020204030204"/>
                <a:ea typeface="Calibri" panose="020F0502020204030204"/>
                <a:cs typeface="Calibri" panose="020F0502020204030204"/>
              </a:rPr>
              <a:t>Could be more comprehensive to include change in plasma cell levels in N-</a:t>
            </a:r>
            <a:r>
              <a:rPr kumimoji="0" lang="en-US" sz="800" b="0" i="0" u="none" strike="noStrike" kern="1200" cap="none" spc="0" normalizeH="0" baseline="0" noProof="0" err="1">
                <a:ln>
                  <a:noFill/>
                </a:ln>
                <a:solidFill>
                  <a:srgbClr val="304659"/>
                </a:solidFill>
                <a:effectLst/>
                <a:uLnTx/>
                <a:uFillTx/>
                <a:latin typeface="Calibri" panose="020F0502020204030204"/>
                <a:ea typeface="Calibri" panose="020F0502020204030204"/>
                <a:cs typeface="Calibri" panose="020F0502020204030204"/>
              </a:rPr>
              <a:t>MOmentum</a:t>
            </a:r>
            <a:r>
              <a:rPr kumimoji="0" lang="en-US" sz="800" b="0" i="0" u="none" strike="noStrike" kern="1200" cap="none" spc="0" normalizeH="0" baseline="0" noProof="0">
                <a:ln>
                  <a:noFill/>
                </a:ln>
                <a:solidFill>
                  <a:srgbClr val="304659"/>
                </a:solidFill>
                <a:effectLst/>
                <a:uLnTx/>
                <a:uFillTx/>
                <a:latin typeface="Calibri" panose="020F0502020204030204"/>
                <a:ea typeface="Calibri" panose="020F0502020204030204"/>
                <a:cs typeface="Calibri" panose="020F0502020204030204"/>
              </a:rPr>
              <a:t> trial cohort during the RCP and OLE. Could also note the importance of plasma cells in long term immunization memory, and reference the data of childhood vaccinations and how they were maintained despite use of </a:t>
            </a:r>
            <a:r>
              <a:rPr kumimoji="0" lang="en-US" sz="800" b="0" i="0" u="none" strike="noStrike" kern="1200" cap="none" spc="0" normalizeH="0" baseline="0" noProof="0" err="1">
                <a:ln>
                  <a:noFill/>
                </a:ln>
                <a:solidFill>
                  <a:srgbClr val="304659"/>
                </a:solidFill>
                <a:effectLst/>
                <a:uLnTx/>
                <a:uFillTx/>
                <a:latin typeface="Calibri" panose="020F0502020204030204"/>
                <a:ea typeface="Calibri" panose="020F0502020204030204"/>
                <a:cs typeface="Calibri" panose="020F0502020204030204"/>
              </a:rPr>
              <a:t>inebilizumab</a:t>
            </a:r>
            <a:r>
              <a:rPr kumimoji="0" lang="en-US" sz="800" b="0" i="0" u="none" strike="noStrike" kern="1200" cap="none" spc="0" normalizeH="0" baseline="0" noProof="0">
                <a:ln>
                  <a:noFill/>
                </a:ln>
                <a:solidFill>
                  <a:srgbClr val="304659"/>
                </a:solidFill>
                <a:effectLst/>
                <a:uLnTx/>
                <a:uFillTx/>
                <a:latin typeface="Calibri" panose="020F0502020204030204"/>
                <a:ea typeface="Calibri" panose="020F0502020204030204"/>
                <a:cs typeface="Calibri" panose="020F0502020204030204"/>
              </a:rPr>
              <a:t> depletion. </a:t>
            </a:r>
          </a:p>
        </p:txBody>
      </p:sp>
      <p:sp>
        <p:nvSpPr>
          <p:cNvPr id="26" name="Rectangle 25">
            <a:extLst>
              <a:ext uri="{FF2B5EF4-FFF2-40B4-BE49-F238E27FC236}">
                <a16:creationId xmlns:a16="http://schemas.microsoft.com/office/drawing/2014/main" id="{08064489-4048-FE47-789E-7879FB88A570}"/>
              </a:ext>
            </a:extLst>
          </p:cNvPr>
          <p:cNvSpPr/>
          <p:nvPr/>
        </p:nvSpPr>
        <p:spPr>
          <a:xfrm>
            <a:off x="609600" y="3548143"/>
            <a:ext cx="1752600" cy="1166531"/>
          </a:xfrm>
          <a:prstGeom prst="rect">
            <a:avLst/>
          </a:prstGeom>
          <a:solidFill>
            <a:schemeClr val="accent3">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45720"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304659"/>
                </a:solidFill>
                <a:effectLst/>
                <a:uLnTx/>
                <a:uFillTx/>
                <a:latin typeface="Calibri" panose="020F0502020204030204"/>
                <a:ea typeface="Calibri" panose="020F0502020204030204"/>
                <a:cs typeface="Calibri" panose="020F0502020204030204"/>
              </a:rPr>
              <a:t>This response provided extensive information into the rationale behind having an adjudication committee </a:t>
            </a:r>
            <a:br>
              <a:rPr kumimoji="0" lang="en-US" sz="800" b="1" i="0" u="none" strike="noStrike" kern="1200" cap="none" spc="0" normalizeH="0" baseline="0" noProof="0">
                <a:ln>
                  <a:noFill/>
                </a:ln>
                <a:solidFill>
                  <a:srgbClr val="304659"/>
                </a:solidFill>
                <a:effectLst/>
                <a:uLnTx/>
                <a:uFillTx/>
                <a:latin typeface="Calibri" panose="020F0502020204030204"/>
                <a:ea typeface="Calibri" panose="020F0502020204030204"/>
                <a:cs typeface="Calibri" panose="020F0502020204030204"/>
              </a:rPr>
            </a:br>
            <a:r>
              <a:rPr kumimoji="0" lang="en-US" sz="800" b="1" i="0" u="none" strike="noStrike" kern="1200" cap="none" spc="0" normalizeH="0" baseline="0" noProof="0">
                <a:ln>
                  <a:noFill/>
                </a:ln>
                <a:solidFill>
                  <a:srgbClr val="304659"/>
                </a:solidFill>
                <a:effectLst/>
                <a:uLnTx/>
                <a:uFillTx/>
                <a:latin typeface="Calibri" panose="020F0502020204030204"/>
                <a:ea typeface="Calibri" panose="020F0502020204030204"/>
                <a:cs typeface="Calibri" panose="020F0502020204030204"/>
              </a:rPr>
              <a:t>and thorough adjudication criteria. </a:t>
            </a:r>
            <a:r>
              <a:rPr kumimoji="0" lang="en-US" sz="800" b="0" i="0" u="none" strike="noStrike" kern="1200" cap="none" spc="0" normalizeH="0" baseline="0" noProof="0">
                <a:ln>
                  <a:noFill/>
                </a:ln>
                <a:solidFill>
                  <a:srgbClr val="304659"/>
                </a:solidFill>
                <a:effectLst/>
                <a:uLnTx/>
                <a:uFillTx/>
                <a:latin typeface="Calibri" panose="020F0502020204030204"/>
                <a:ea typeface="Calibri" panose="020F0502020204030204"/>
                <a:cs typeface="Calibri" panose="020F0502020204030204"/>
              </a:rPr>
              <a:t>Additionally, it gave a proper breakdown on the number of </a:t>
            </a:r>
            <a:br>
              <a:rPr kumimoji="0" lang="en-US" sz="800" b="0" i="0" u="none" strike="noStrike" kern="1200" cap="none" spc="0" normalizeH="0" baseline="0" noProof="0">
                <a:ln>
                  <a:noFill/>
                </a:ln>
                <a:solidFill>
                  <a:srgbClr val="304659"/>
                </a:solidFill>
                <a:effectLst/>
                <a:uLnTx/>
                <a:uFillTx/>
                <a:latin typeface="Calibri" panose="020F0502020204030204"/>
                <a:ea typeface="Calibri" panose="020F0502020204030204"/>
                <a:cs typeface="Calibri" panose="020F0502020204030204"/>
              </a:rPr>
            </a:br>
            <a:r>
              <a:rPr kumimoji="0" lang="en-US" sz="800" b="0" i="0" u="none" strike="noStrike" kern="1200" cap="none" spc="0" normalizeH="0" baseline="0" noProof="0">
                <a:ln>
                  <a:noFill/>
                </a:ln>
                <a:solidFill>
                  <a:srgbClr val="304659"/>
                </a:solidFill>
                <a:effectLst/>
                <a:uLnTx/>
                <a:uFillTx/>
                <a:latin typeface="Calibri" panose="020F0502020204030204"/>
                <a:ea typeface="Calibri" panose="020F0502020204030204"/>
                <a:cs typeface="Calibri" panose="020F0502020204030204"/>
              </a:rPr>
              <a:t>attacks and how many were confirmed by adjudication. </a:t>
            </a:r>
          </a:p>
        </p:txBody>
      </p:sp>
      <p:sp>
        <p:nvSpPr>
          <p:cNvPr id="2" name="Rectangle 1">
            <a:extLst>
              <a:ext uri="{FF2B5EF4-FFF2-40B4-BE49-F238E27FC236}">
                <a16:creationId xmlns:a16="http://schemas.microsoft.com/office/drawing/2014/main" id="{33080F44-E0F6-FE3B-936F-0D5FB15F670E}"/>
              </a:ext>
            </a:extLst>
          </p:cNvPr>
          <p:cNvSpPr/>
          <p:nvPr/>
        </p:nvSpPr>
        <p:spPr>
          <a:xfrm>
            <a:off x="609600" y="4742250"/>
            <a:ext cx="1752600" cy="797199"/>
          </a:xfrm>
          <a:prstGeom prst="rect">
            <a:avLst/>
          </a:prstGeom>
          <a:solidFill>
            <a:schemeClr val="accent3">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45720"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304659"/>
                </a:solidFill>
                <a:effectLst/>
                <a:uLnTx/>
                <a:uFillTx/>
                <a:latin typeface="Calibri" panose="020F0502020204030204"/>
                <a:ea typeface="Calibri" panose="020F0502020204030204"/>
                <a:cs typeface="Calibri" panose="020F0502020204030204"/>
              </a:rPr>
              <a:t>While this provided great information on our post-hoc analysis</a:t>
            </a:r>
            <a:r>
              <a:rPr kumimoji="0" lang="en-US" sz="800" b="0" i="0" u="none" strike="noStrike" kern="1200" cap="none" spc="0" normalizeH="0" baseline="0" noProof="0">
                <a:ln>
                  <a:noFill/>
                </a:ln>
                <a:solidFill>
                  <a:srgbClr val="304659"/>
                </a:solidFill>
                <a:effectLst/>
                <a:uLnTx/>
                <a:uFillTx/>
                <a:latin typeface="Calibri" panose="020F0502020204030204"/>
                <a:ea typeface="Calibri" panose="020F0502020204030204"/>
                <a:cs typeface="Calibri" panose="020F0502020204030204"/>
              </a:rPr>
              <a:t>, based on phenotype, I feel I learned more reading through the sources than the response itself</a:t>
            </a:r>
          </a:p>
        </p:txBody>
      </p:sp>
      <p:sp>
        <p:nvSpPr>
          <p:cNvPr id="9" name="Rectangle 8">
            <a:extLst>
              <a:ext uri="{FF2B5EF4-FFF2-40B4-BE49-F238E27FC236}">
                <a16:creationId xmlns:a16="http://schemas.microsoft.com/office/drawing/2014/main" id="{C2D228DE-43A2-C300-C874-5B8A9678624A}"/>
              </a:ext>
            </a:extLst>
          </p:cNvPr>
          <p:cNvSpPr/>
          <p:nvPr/>
        </p:nvSpPr>
        <p:spPr>
          <a:xfrm>
            <a:off x="609600" y="5567026"/>
            <a:ext cx="1752600" cy="674087"/>
          </a:xfrm>
          <a:prstGeom prst="rect">
            <a:avLst/>
          </a:prstGeom>
          <a:solidFill>
            <a:schemeClr val="accent3">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wrap="square" lIns="45720"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04659"/>
                </a:solidFill>
                <a:effectLst/>
                <a:uLnTx/>
                <a:uFillTx/>
                <a:latin typeface="Calibri" panose="020F0502020204030204"/>
                <a:ea typeface="Calibri" panose="020F0502020204030204"/>
                <a:cs typeface="Calibri" panose="020F0502020204030204"/>
              </a:rPr>
              <a:t>Could be more comprehensive </a:t>
            </a:r>
            <a:br>
              <a:rPr kumimoji="0" lang="en-US" sz="800" b="0" i="0" u="none" strike="noStrike" kern="1200" cap="none" spc="0" normalizeH="0" baseline="0" noProof="0">
                <a:ln>
                  <a:noFill/>
                </a:ln>
                <a:solidFill>
                  <a:srgbClr val="304659"/>
                </a:solidFill>
                <a:effectLst/>
                <a:uLnTx/>
                <a:uFillTx/>
                <a:latin typeface="Calibri" panose="020F0502020204030204"/>
                <a:ea typeface="Calibri" panose="020F0502020204030204"/>
                <a:cs typeface="Calibri" panose="020F0502020204030204"/>
              </a:rPr>
            </a:br>
            <a:r>
              <a:rPr kumimoji="0" lang="en-US" sz="800" b="0" i="0" u="none" strike="noStrike" kern="1200" cap="none" spc="0" normalizeH="0" baseline="0" noProof="0">
                <a:ln>
                  <a:noFill/>
                </a:ln>
                <a:solidFill>
                  <a:srgbClr val="304659"/>
                </a:solidFill>
                <a:effectLst/>
                <a:uLnTx/>
                <a:uFillTx/>
                <a:latin typeface="Calibri" panose="020F0502020204030204"/>
                <a:ea typeface="Calibri" panose="020F0502020204030204"/>
                <a:cs typeface="Calibri" panose="020F0502020204030204"/>
              </a:rPr>
              <a:t>in including the rate of change in </a:t>
            </a:r>
            <a:br>
              <a:rPr kumimoji="0" lang="en-US" sz="800" b="0" i="0" u="none" strike="noStrike" kern="1200" cap="none" spc="0" normalizeH="0" baseline="0" noProof="0">
                <a:ln>
                  <a:noFill/>
                </a:ln>
                <a:solidFill>
                  <a:srgbClr val="304659"/>
                </a:solidFill>
                <a:effectLst/>
                <a:uLnTx/>
                <a:uFillTx/>
                <a:latin typeface="Calibri" panose="020F0502020204030204"/>
                <a:ea typeface="Calibri" panose="020F0502020204030204"/>
                <a:cs typeface="Calibri" panose="020F0502020204030204"/>
              </a:rPr>
            </a:br>
            <a:r>
              <a:rPr kumimoji="0" lang="en-US" sz="800" b="0" i="0" u="none" strike="noStrike" kern="1200" cap="none" spc="0" normalizeH="0" baseline="0" noProof="0" err="1">
                <a:ln>
                  <a:noFill/>
                </a:ln>
                <a:solidFill>
                  <a:srgbClr val="304659"/>
                </a:solidFill>
                <a:effectLst/>
                <a:uLnTx/>
                <a:uFillTx/>
                <a:latin typeface="Calibri" panose="020F0502020204030204"/>
                <a:ea typeface="Calibri" panose="020F0502020204030204"/>
                <a:cs typeface="Calibri" panose="020F0502020204030204"/>
              </a:rPr>
              <a:t>sNFL</a:t>
            </a:r>
            <a:r>
              <a:rPr kumimoji="0" lang="en-US" sz="800" b="0" i="0" u="none" strike="noStrike" kern="1200" cap="none" spc="0" normalizeH="0" baseline="0" noProof="0">
                <a:ln>
                  <a:noFill/>
                </a:ln>
                <a:solidFill>
                  <a:srgbClr val="304659"/>
                </a:solidFill>
                <a:effectLst/>
                <a:uLnTx/>
                <a:uFillTx/>
                <a:latin typeface="Calibri" panose="020F0502020204030204"/>
                <a:ea typeface="Calibri" panose="020F0502020204030204"/>
                <a:cs typeface="Calibri" panose="020F0502020204030204"/>
              </a:rPr>
              <a:t> levels seen in </a:t>
            </a:r>
            <a:r>
              <a:rPr kumimoji="0" lang="en-US" sz="800" b="0" i="0" u="none" strike="noStrike" kern="1200" cap="none" spc="0" normalizeH="0" baseline="0" noProof="0" err="1">
                <a:ln>
                  <a:noFill/>
                </a:ln>
                <a:solidFill>
                  <a:srgbClr val="304659"/>
                </a:solidFill>
                <a:effectLst/>
                <a:uLnTx/>
                <a:uFillTx/>
                <a:latin typeface="Calibri" panose="020F0502020204030204"/>
                <a:ea typeface="Calibri" panose="020F0502020204030204"/>
                <a:cs typeface="Calibri" panose="020F0502020204030204"/>
              </a:rPr>
              <a:t>inebilizumab</a:t>
            </a:r>
            <a:r>
              <a:rPr kumimoji="0" lang="en-US" sz="800" b="0" i="0" u="none" strike="noStrike" kern="1200" cap="none" spc="0" normalizeH="0" baseline="0" noProof="0">
                <a:ln>
                  <a:noFill/>
                </a:ln>
                <a:solidFill>
                  <a:srgbClr val="304659"/>
                </a:solidFill>
                <a:effectLst/>
                <a:uLnTx/>
                <a:uFillTx/>
                <a:latin typeface="Calibri" panose="020F0502020204030204"/>
                <a:ea typeface="Calibri" panose="020F0502020204030204"/>
                <a:cs typeface="Calibri" panose="020F0502020204030204"/>
              </a:rPr>
              <a:t> </a:t>
            </a:r>
            <a:br>
              <a:rPr kumimoji="0" lang="en-US" sz="800" b="0" i="0" u="none" strike="noStrike" kern="1200" cap="none" spc="0" normalizeH="0" baseline="0" noProof="0">
                <a:ln>
                  <a:noFill/>
                </a:ln>
                <a:solidFill>
                  <a:srgbClr val="304659"/>
                </a:solidFill>
                <a:effectLst/>
                <a:uLnTx/>
                <a:uFillTx/>
                <a:latin typeface="Calibri" panose="020F0502020204030204"/>
                <a:ea typeface="Calibri" panose="020F0502020204030204"/>
                <a:cs typeface="Calibri" panose="020F0502020204030204"/>
              </a:rPr>
            </a:br>
            <a:r>
              <a:rPr kumimoji="0" lang="en-US" sz="800" b="0" i="0" u="none" strike="noStrike" kern="1200" cap="none" spc="0" normalizeH="0" baseline="0" noProof="0">
                <a:ln>
                  <a:noFill/>
                </a:ln>
                <a:solidFill>
                  <a:srgbClr val="304659"/>
                </a:solidFill>
                <a:effectLst/>
                <a:uLnTx/>
                <a:uFillTx/>
                <a:latin typeface="Calibri" panose="020F0502020204030204"/>
                <a:ea typeface="Calibri" panose="020F0502020204030204"/>
                <a:cs typeface="Calibri" panose="020F0502020204030204"/>
              </a:rPr>
              <a:t>treated patients</a:t>
            </a:r>
          </a:p>
        </p:txBody>
      </p:sp>
      <p:sp>
        <p:nvSpPr>
          <p:cNvPr id="22" name="Rectangle: Rounded Corners 21">
            <a:extLst>
              <a:ext uri="{FF2B5EF4-FFF2-40B4-BE49-F238E27FC236}">
                <a16:creationId xmlns:a16="http://schemas.microsoft.com/office/drawing/2014/main" id="{BD47F234-1EBE-69E3-5D71-C903828FD70B}"/>
              </a:ext>
            </a:extLst>
          </p:cNvPr>
          <p:cNvSpPr/>
          <p:nvPr/>
        </p:nvSpPr>
        <p:spPr>
          <a:xfrm>
            <a:off x="2451100" y="842746"/>
            <a:ext cx="9132532" cy="5481854"/>
          </a:xfrm>
          <a:prstGeom prst="roundRect">
            <a:avLst>
              <a:gd name="adj" fmla="val 815"/>
            </a:avLst>
          </a:prstGeom>
          <a:noFill/>
          <a:ln>
            <a:solidFill>
              <a:schemeClr val="accent6"/>
            </a:solid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Rounded Corners 19">
            <a:extLst>
              <a:ext uri="{FF2B5EF4-FFF2-40B4-BE49-F238E27FC236}">
                <a16:creationId xmlns:a16="http://schemas.microsoft.com/office/drawing/2014/main" id="{5233A767-7BB7-36DA-9AEA-01F9AACBAE83}"/>
              </a:ext>
            </a:extLst>
          </p:cNvPr>
          <p:cNvSpPr/>
          <p:nvPr/>
        </p:nvSpPr>
        <p:spPr>
          <a:xfrm>
            <a:off x="609600" y="842746"/>
            <a:ext cx="1752600" cy="5481854"/>
          </a:xfrm>
          <a:prstGeom prst="roundRect">
            <a:avLst>
              <a:gd name="adj" fmla="val 2609"/>
            </a:avLst>
          </a:prstGeom>
          <a:noFill/>
          <a:ln>
            <a:solidFill>
              <a:schemeClr val="accent3"/>
            </a:solid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3" name="Rectangle 62">
            <a:extLst>
              <a:ext uri="{FF2B5EF4-FFF2-40B4-BE49-F238E27FC236}">
                <a16:creationId xmlns:a16="http://schemas.microsoft.com/office/drawing/2014/main" id="{C40CC5F8-DFF3-4AAA-F729-606AD8208FF8}"/>
              </a:ext>
            </a:extLst>
          </p:cNvPr>
          <p:cNvSpPr/>
          <p:nvPr/>
        </p:nvSpPr>
        <p:spPr>
          <a:xfrm>
            <a:off x="2451100" y="1110346"/>
            <a:ext cx="9132532" cy="188462"/>
          </a:xfrm>
          <a:prstGeom prst="rect">
            <a:avLst/>
          </a:prstGeom>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Constructive</a:t>
            </a:r>
          </a:p>
        </p:txBody>
      </p:sp>
      <p:sp>
        <p:nvSpPr>
          <p:cNvPr id="10" name="Rectangle 9">
            <a:extLst>
              <a:ext uri="{FF2B5EF4-FFF2-40B4-BE49-F238E27FC236}">
                <a16:creationId xmlns:a16="http://schemas.microsoft.com/office/drawing/2014/main" id="{2652A6CB-32B7-9795-8C2A-FB115E098F1E}"/>
              </a:ext>
            </a:extLst>
          </p:cNvPr>
          <p:cNvSpPr/>
          <p:nvPr/>
        </p:nvSpPr>
        <p:spPr>
          <a:xfrm>
            <a:off x="609600" y="1110346"/>
            <a:ext cx="1752600" cy="188462"/>
          </a:xfrm>
          <a:prstGeom prst="rect">
            <a:avLst/>
          </a:prstGeom>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panose="020F0502020204030204"/>
                <a:ea typeface="+mn-ea"/>
                <a:cs typeface="+mn-cs"/>
              </a:rPr>
              <a:t>Positive</a:t>
            </a:r>
          </a:p>
        </p:txBody>
      </p:sp>
    </p:spTree>
    <p:custDataLst>
      <p:custData r:id="rId1"/>
    </p:custDataLst>
    <p:extLst>
      <p:ext uri="{BB962C8B-B14F-4D97-AF65-F5344CB8AC3E}">
        <p14:creationId xmlns:p14="http://schemas.microsoft.com/office/powerpoint/2010/main" val="20102271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36B41-7913-FC79-083C-ADDD07DCB081}"/>
              </a:ext>
            </a:extLst>
          </p:cNvPr>
          <p:cNvSpPr>
            <a:spLocks noGrp="1"/>
          </p:cNvSpPr>
          <p:nvPr>
            <p:ph type="title"/>
          </p:nvPr>
        </p:nvSpPr>
        <p:spPr/>
        <p:txBody>
          <a:bodyPr/>
          <a:lstStyle/>
          <a:p>
            <a:r>
              <a:rPr lang="en-US"/>
              <a:t>User Feedback Summary and Issue Identified</a:t>
            </a:r>
          </a:p>
        </p:txBody>
      </p:sp>
      <p:sp>
        <p:nvSpPr>
          <p:cNvPr id="7" name="Rectangle: Rounded Corners 6">
            <a:extLst>
              <a:ext uri="{FF2B5EF4-FFF2-40B4-BE49-F238E27FC236}">
                <a16:creationId xmlns:a16="http://schemas.microsoft.com/office/drawing/2014/main" id="{9340FB5D-DB4A-2A98-A047-03303A5528F1}"/>
              </a:ext>
            </a:extLst>
          </p:cNvPr>
          <p:cNvSpPr/>
          <p:nvPr/>
        </p:nvSpPr>
        <p:spPr>
          <a:xfrm>
            <a:off x="609600" y="1264006"/>
            <a:ext cx="10972800" cy="4063005"/>
          </a:xfrm>
          <a:prstGeom prst="roundRect">
            <a:avLst>
              <a:gd name="adj" fmla="val 1430"/>
            </a:avLst>
          </a:prstGeom>
          <a:noFill/>
          <a:ln>
            <a:solidFill>
              <a:schemeClr val="accent1"/>
            </a:solid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3E89EED4-4972-7F79-8261-70620AA59C99}"/>
              </a:ext>
            </a:extLst>
          </p:cNvPr>
          <p:cNvSpPr/>
          <p:nvPr/>
        </p:nvSpPr>
        <p:spPr>
          <a:xfrm>
            <a:off x="609600" y="1395091"/>
            <a:ext cx="10972800" cy="641765"/>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4" name="Table 3">
            <a:extLst>
              <a:ext uri="{FF2B5EF4-FFF2-40B4-BE49-F238E27FC236}">
                <a16:creationId xmlns:a16="http://schemas.microsoft.com/office/drawing/2014/main" id="{E2C71DD9-2673-621D-24C8-631849C84463}"/>
              </a:ext>
            </a:extLst>
          </p:cNvPr>
          <p:cNvGraphicFramePr>
            <a:graphicFrameLocks noGrp="1"/>
          </p:cNvGraphicFramePr>
          <p:nvPr>
            <p:extLst>
              <p:ext uri="{D42A27DB-BD31-4B8C-83A1-F6EECF244321}">
                <p14:modId xmlns:p14="http://schemas.microsoft.com/office/powerpoint/2010/main" val="3529616036"/>
              </p:ext>
            </p:extLst>
          </p:nvPr>
        </p:nvGraphicFramePr>
        <p:xfrm>
          <a:off x="609600" y="1395091"/>
          <a:ext cx="10972800" cy="3931920"/>
        </p:xfrm>
        <a:graphic>
          <a:graphicData uri="http://schemas.openxmlformats.org/drawingml/2006/table">
            <a:tbl>
              <a:tblPr firstRow="1" bandRow="1">
                <a:tableStyleId>{5C22544A-7EE6-4342-B048-85BDC9FD1C3A}</a:tableStyleId>
              </a:tblPr>
              <a:tblGrid>
                <a:gridCol w="3657600">
                  <a:extLst>
                    <a:ext uri="{9D8B030D-6E8A-4147-A177-3AD203B41FA5}">
                      <a16:colId xmlns:a16="http://schemas.microsoft.com/office/drawing/2014/main" val="3801931736"/>
                    </a:ext>
                  </a:extLst>
                </a:gridCol>
                <a:gridCol w="3657600">
                  <a:extLst>
                    <a:ext uri="{9D8B030D-6E8A-4147-A177-3AD203B41FA5}">
                      <a16:colId xmlns:a16="http://schemas.microsoft.com/office/drawing/2014/main" val="3166154165"/>
                    </a:ext>
                  </a:extLst>
                </a:gridCol>
                <a:gridCol w="3657600">
                  <a:extLst>
                    <a:ext uri="{9D8B030D-6E8A-4147-A177-3AD203B41FA5}">
                      <a16:colId xmlns:a16="http://schemas.microsoft.com/office/drawing/2014/main" val="2121464648"/>
                    </a:ext>
                  </a:extLst>
                </a:gridCol>
              </a:tblGrid>
              <a:tr h="613186">
                <a:tc>
                  <a:txBody>
                    <a:bodyPr/>
                    <a:lstStyle/>
                    <a:p>
                      <a:r>
                        <a:rPr lang="en-US" sz="1800">
                          <a:solidFill>
                            <a:schemeClr val="bg1"/>
                          </a:solidFill>
                          <a:latin typeface="+mn-lt"/>
                          <a:hlinkClick r:id="rId4" action="ppaction://hlinksldjump">
                            <a:extLst>
                              <a:ext uri="{A12FA001-AC4F-418D-AE19-62706E023703}">
                                <ahyp:hlinkClr xmlns:ahyp="http://schemas.microsoft.com/office/drawing/2018/hyperlinkcolor" val="tx"/>
                              </a:ext>
                            </a:extLst>
                          </a:hlinkClick>
                        </a:rPr>
                        <a:t>Incomplete/</a:t>
                      </a:r>
                      <a:br>
                        <a:rPr lang="en-US" sz="1800">
                          <a:solidFill>
                            <a:schemeClr val="bg1"/>
                          </a:solidFill>
                          <a:latin typeface="+mn-lt"/>
                          <a:hlinkClick r:id="rId4" action="ppaction://hlinksldjump">
                            <a:extLst>
                              <a:ext uri="{A12FA001-AC4F-418D-AE19-62706E023703}">
                                <ahyp:hlinkClr xmlns:ahyp="http://schemas.microsoft.com/office/drawing/2018/hyperlinkcolor" val="tx"/>
                              </a:ext>
                            </a:extLst>
                          </a:hlinkClick>
                        </a:rPr>
                      </a:br>
                      <a:r>
                        <a:rPr lang="en-US" sz="1800">
                          <a:solidFill>
                            <a:schemeClr val="bg1"/>
                          </a:solidFill>
                          <a:latin typeface="+mn-lt"/>
                          <a:hlinkClick r:id="rId4" action="ppaction://hlinksldjump">
                            <a:extLst>
                              <a:ext uri="{A12FA001-AC4F-418D-AE19-62706E023703}">
                                <ahyp:hlinkClr xmlns:ahyp="http://schemas.microsoft.com/office/drawing/2018/hyperlinkcolor" val="tx"/>
                              </a:ext>
                            </a:extLst>
                          </a:hlinkClick>
                        </a:rPr>
                        <a:t>Incomprehensive response</a:t>
                      </a:r>
                      <a:endParaRPr lang="en-US" sz="1800">
                        <a:solidFill>
                          <a:schemeClr val="bg1"/>
                        </a:solidFill>
                        <a:latin typeface="+mn-lt"/>
                      </a:endParaRP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800">
                          <a:solidFill>
                            <a:schemeClr val="bg1"/>
                          </a:solidFill>
                          <a:latin typeface="+mn-lt"/>
                          <a:hlinkClick r:id="rId5" action="ppaction://hlinksldjump">
                            <a:extLst>
                              <a:ext uri="{A12FA001-AC4F-418D-AE19-62706E023703}">
                                <ahyp:hlinkClr xmlns:ahyp="http://schemas.microsoft.com/office/drawing/2018/hyperlinkcolor" val="tx"/>
                              </a:ext>
                            </a:extLst>
                          </a:hlinkClick>
                        </a:rPr>
                        <a:t>Incorrect/Irrelevant response</a:t>
                      </a:r>
                      <a:endParaRPr lang="en-US" sz="1800">
                        <a:solidFill>
                          <a:schemeClr val="bg1"/>
                        </a:solidFill>
                        <a:latin typeface="+mn-lt"/>
                      </a:endParaRPr>
                    </a:p>
                  </a:txBody>
                  <a:tcPr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800">
                          <a:solidFill>
                            <a:schemeClr val="bg1"/>
                          </a:solidFill>
                          <a:latin typeface="+mn-lt"/>
                          <a:hlinkClick r:id="rId6" action="ppaction://hlinksldjump">
                            <a:extLst>
                              <a:ext uri="{A12FA001-AC4F-418D-AE19-62706E023703}">
                                <ahyp:hlinkClr xmlns:ahyp="http://schemas.microsoft.com/office/drawing/2018/hyperlinkcolor" val="tx"/>
                              </a:ext>
                            </a:extLst>
                          </a:hlinkClick>
                        </a:rPr>
                        <a:t>Missing Document</a:t>
                      </a:r>
                      <a:endParaRPr lang="en-US" sz="1800">
                        <a:solidFill>
                          <a:schemeClr val="bg1"/>
                        </a:solidFill>
                        <a:latin typeface="+mn-lt"/>
                      </a:endParaRP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707807507"/>
                  </a:ext>
                </a:extLst>
              </a:tr>
              <a:tr h="3291840">
                <a:tc>
                  <a:txBody>
                    <a:bodyPr/>
                    <a:lstStyle/>
                    <a:p>
                      <a:pPr marL="231775" indent="-231775" algn="l" fontAlgn="t">
                        <a:lnSpc>
                          <a:spcPct val="100000"/>
                        </a:lnSpc>
                        <a:spcBef>
                          <a:spcPts val="300"/>
                        </a:spcBef>
                        <a:spcAft>
                          <a:spcPts val="300"/>
                        </a:spcAft>
                        <a:buClr>
                          <a:schemeClr val="bg2">
                            <a:lumMod val="50000"/>
                          </a:schemeClr>
                        </a:buClr>
                        <a:buFont typeface="Arial" panose="020B0604020202020204" pitchFamily="34" charset="0"/>
                        <a:buChar char="•"/>
                      </a:pPr>
                      <a:r>
                        <a:rPr lang="en-US" sz="1300" b="0" i="0" u="none" strike="noStrike">
                          <a:solidFill>
                            <a:schemeClr val="tx1"/>
                          </a:solidFill>
                          <a:effectLst/>
                          <a:latin typeface="+mn-lt"/>
                        </a:rPr>
                        <a:t>Response did not include all </a:t>
                      </a:r>
                      <a:br>
                        <a:rPr lang="en-US" sz="1300" b="0" i="0" u="none" strike="noStrike">
                          <a:solidFill>
                            <a:schemeClr val="tx1"/>
                          </a:solidFill>
                          <a:effectLst/>
                          <a:latin typeface="+mn-lt"/>
                        </a:rPr>
                      </a:br>
                      <a:r>
                        <a:rPr lang="en-US" sz="1300" b="0" i="0" u="none" strike="noStrike">
                          <a:solidFill>
                            <a:schemeClr val="tx1"/>
                          </a:solidFill>
                          <a:effectLst/>
                          <a:latin typeface="+mn-lt"/>
                        </a:rPr>
                        <a:t>relevant points</a:t>
                      </a:r>
                    </a:p>
                    <a:p>
                      <a:pPr marL="231775" indent="-231775" algn="l" fontAlgn="t">
                        <a:lnSpc>
                          <a:spcPct val="100000"/>
                        </a:lnSpc>
                        <a:spcBef>
                          <a:spcPts val="300"/>
                        </a:spcBef>
                        <a:spcAft>
                          <a:spcPts val="300"/>
                        </a:spcAft>
                        <a:buClr>
                          <a:schemeClr val="bg2">
                            <a:lumMod val="50000"/>
                          </a:schemeClr>
                        </a:buClr>
                        <a:buFont typeface="Arial" panose="020B0604020202020204" pitchFamily="34" charset="0"/>
                        <a:buChar char="•"/>
                      </a:pPr>
                      <a:r>
                        <a:rPr lang="en-US" sz="1300" b="0" i="0" u="none" strike="noStrike">
                          <a:solidFill>
                            <a:schemeClr val="tx1"/>
                          </a:solidFill>
                          <a:effectLst/>
                          <a:latin typeface="+mn-lt"/>
                        </a:rPr>
                        <a:t>Responses lacked sufficient numerical information</a:t>
                      </a:r>
                    </a:p>
                    <a:p>
                      <a:pPr marL="231775" indent="-231775" algn="l" fontAlgn="t">
                        <a:lnSpc>
                          <a:spcPct val="100000"/>
                        </a:lnSpc>
                        <a:spcBef>
                          <a:spcPts val="300"/>
                        </a:spcBef>
                        <a:spcAft>
                          <a:spcPts val="300"/>
                        </a:spcAft>
                        <a:buClr>
                          <a:schemeClr val="bg2">
                            <a:lumMod val="50000"/>
                          </a:schemeClr>
                        </a:buClr>
                        <a:buFont typeface="Arial" panose="020B0604020202020204" pitchFamily="34" charset="0"/>
                        <a:buChar char="•"/>
                      </a:pPr>
                      <a:r>
                        <a:rPr lang="en-US" sz="1300" b="0" i="0" u="none" strike="noStrike">
                          <a:solidFill>
                            <a:schemeClr val="tx1"/>
                          </a:solidFill>
                          <a:effectLst/>
                          <a:latin typeface="+mn-lt"/>
                        </a:rPr>
                        <a:t>Response provided was too generic</a:t>
                      </a:r>
                    </a:p>
                    <a:p>
                      <a:pPr marL="231775" indent="-231775" algn="l" fontAlgn="t">
                        <a:lnSpc>
                          <a:spcPct val="100000"/>
                        </a:lnSpc>
                        <a:spcBef>
                          <a:spcPts val="300"/>
                        </a:spcBef>
                        <a:spcAft>
                          <a:spcPts val="300"/>
                        </a:spcAft>
                        <a:buClr>
                          <a:schemeClr val="bg2">
                            <a:lumMod val="50000"/>
                          </a:schemeClr>
                        </a:buClr>
                        <a:buFont typeface="Arial" panose="020B0604020202020204" pitchFamily="34" charset="0"/>
                        <a:buChar char="•"/>
                      </a:pPr>
                      <a:r>
                        <a:rPr lang="en-US" sz="1300" b="0" i="0" u="none" strike="noStrike">
                          <a:solidFill>
                            <a:schemeClr val="tx1"/>
                          </a:solidFill>
                          <a:effectLst/>
                          <a:latin typeface="+mn-lt"/>
                        </a:rPr>
                        <a:t>Relevant information present in the document was not retrieved</a:t>
                      </a:r>
                      <a:endParaRPr lang="en-US" sz="1300" b="0" i="0" u="none" strike="noStrike">
                        <a:solidFill>
                          <a:schemeClr val="tx1"/>
                        </a:solidFill>
                        <a:effectLst/>
                        <a:highlight>
                          <a:srgbClr val="F2F2F2"/>
                        </a:highlight>
                        <a:latin typeface="+mn-lt"/>
                      </a:endParaRP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31775" indent="-231775">
                        <a:lnSpc>
                          <a:spcPct val="100000"/>
                        </a:lnSpc>
                        <a:spcBef>
                          <a:spcPts val="300"/>
                        </a:spcBef>
                        <a:spcAft>
                          <a:spcPts val="300"/>
                        </a:spcAft>
                        <a:buClr>
                          <a:schemeClr val="bg2">
                            <a:lumMod val="50000"/>
                          </a:schemeClr>
                        </a:buClr>
                        <a:buFont typeface="Arial" panose="020B0604020202020204" pitchFamily="34" charset="0"/>
                        <a:buChar char="•"/>
                      </a:pPr>
                      <a:r>
                        <a:rPr lang="en-US" sz="1600">
                          <a:solidFill>
                            <a:schemeClr val="tx1"/>
                          </a:solidFill>
                          <a:latin typeface="+mn-lt"/>
                        </a:rPr>
                        <a:t>Response provided were inaccurate, misleading</a:t>
                      </a:r>
                    </a:p>
                    <a:p>
                      <a:pPr marL="231775" indent="-231775">
                        <a:lnSpc>
                          <a:spcPct val="100000"/>
                        </a:lnSpc>
                        <a:spcBef>
                          <a:spcPts val="300"/>
                        </a:spcBef>
                        <a:spcAft>
                          <a:spcPts val="300"/>
                        </a:spcAft>
                        <a:buClr>
                          <a:schemeClr val="bg2">
                            <a:lumMod val="50000"/>
                          </a:schemeClr>
                        </a:buClr>
                        <a:buFont typeface="Arial" panose="020B0604020202020204" pitchFamily="34" charset="0"/>
                        <a:buChar char="•"/>
                      </a:pPr>
                      <a:r>
                        <a:rPr lang="en-US" sz="1600">
                          <a:solidFill>
                            <a:schemeClr val="tx1"/>
                          </a:solidFill>
                          <a:latin typeface="+mn-lt"/>
                        </a:rPr>
                        <a:t>Response provided was not related tp the questio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31775" indent="-231775" algn="l" defTabSz="914400" rtl="0" eaLnBrk="1" latinLnBrk="0" hangingPunct="1">
                        <a:lnSpc>
                          <a:spcPct val="100000"/>
                        </a:lnSpc>
                        <a:spcBef>
                          <a:spcPts val="300"/>
                        </a:spcBef>
                        <a:spcAft>
                          <a:spcPts val="300"/>
                        </a:spcAft>
                        <a:buClr>
                          <a:schemeClr val="bg2">
                            <a:lumMod val="50000"/>
                          </a:schemeClr>
                        </a:buClr>
                        <a:buFont typeface="Arial" panose="020B0604020202020204" pitchFamily="34" charset="0"/>
                        <a:buChar char="•"/>
                      </a:pPr>
                      <a:r>
                        <a:rPr lang="en-US" sz="1600" kern="1200">
                          <a:solidFill>
                            <a:schemeClr val="tx1"/>
                          </a:solidFill>
                          <a:latin typeface="+mn-lt"/>
                          <a:ea typeface="+mn-ea"/>
                          <a:cs typeface="+mn-cs"/>
                        </a:rPr>
                        <a:t>Information required out of the answer was not present in the knowledge base</a:t>
                      </a:r>
                    </a:p>
                  </a:txBody>
                  <a:tcP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667605243"/>
                  </a:ext>
                </a:extLst>
              </a:tr>
            </a:tbl>
          </a:graphicData>
        </a:graphic>
      </p:graphicFrame>
      <p:sp>
        <p:nvSpPr>
          <p:cNvPr id="5" name="Rectangle 4">
            <a:extLst>
              <a:ext uri="{FF2B5EF4-FFF2-40B4-BE49-F238E27FC236}">
                <a16:creationId xmlns:a16="http://schemas.microsoft.com/office/drawing/2014/main" id="{A7C76751-65DE-043A-D123-93CA66A65D08}"/>
              </a:ext>
            </a:extLst>
          </p:cNvPr>
          <p:cNvSpPr/>
          <p:nvPr/>
        </p:nvSpPr>
        <p:spPr>
          <a:xfrm>
            <a:off x="0" y="5448916"/>
            <a:ext cx="12192000" cy="906738"/>
          </a:xfrm>
          <a:prstGeom prst="rect">
            <a:avLst/>
          </a:prstGeom>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Calibri" panose="020F0502020204030204"/>
              <a:ea typeface="+mn-ea"/>
              <a:cs typeface="+mn-cs"/>
            </a:endParaRPr>
          </a:p>
        </p:txBody>
      </p:sp>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4911E276-C5CA-6519-8688-F051F062B50F}"/>
                  </a:ext>
                </a:extLst>
              </p:cNvPr>
              <p:cNvGraphicFramePr>
                <a:graphicFrameLocks noChangeAspect="1"/>
              </p:cNvGraphicFramePr>
              <p:nvPr>
                <p:extLst>
                  <p:ext uri="{D42A27DB-BD31-4B8C-83A1-F6EECF244321}">
                    <p14:modId xmlns:p14="http://schemas.microsoft.com/office/powerpoint/2010/main" val="2214465768"/>
                  </p:ext>
                </p:extLst>
              </p:nvPr>
            </p:nvGraphicFramePr>
            <p:xfrm>
              <a:off x="1266825" y="3898380"/>
              <a:ext cx="2343149" cy="1318021"/>
            </p:xfrm>
            <a:graphic>
              <a:graphicData uri="http://schemas.microsoft.com/office/powerpoint/2016/slidezoom">
                <pslz:sldZm>
                  <pslz:sldZmObj sldId="2147482713" cId="2005261635">
                    <pslz:zmPr id="{B990E652-A641-4F6A-81D4-43DCA6507D9B}" returnToParent="0" transitionDur="1000">
                      <p166:blipFill xmlns:p166="http://schemas.microsoft.com/office/powerpoint/2016/6/main">
                        <a:blip r:embed="rId7"/>
                        <a:stretch>
                          <a:fillRect/>
                        </a:stretch>
                      </p166:blipFill>
                      <p166:spPr xmlns:p166="http://schemas.microsoft.com/office/powerpoint/2016/6/main">
                        <a:xfrm>
                          <a:off x="0" y="0"/>
                          <a:ext cx="2343149" cy="1318021"/>
                        </a:xfrm>
                        <a:prstGeom prst="rect">
                          <a:avLst/>
                        </a:prstGeom>
                        <a:ln w="3175">
                          <a:solidFill>
                            <a:prstClr val="ltGray"/>
                          </a:solidFill>
                        </a:ln>
                        <a:effectLst>
                          <a:outerShdw blurRad="63500" sx="102000" sy="102000" algn="ctr" rotWithShape="0">
                            <a:prstClr val="black">
                              <a:alpha val="40000"/>
                            </a:prstClr>
                          </a:outerShdw>
                        </a:effectLst>
                      </p166:spPr>
                    </pslz:zmPr>
                  </pslz:sldZmObj>
                </pslz:sldZm>
              </a:graphicData>
            </a:graphic>
          </p:graphicFrame>
        </mc:Choice>
        <mc:Fallback xmlns="">
          <p:pic>
            <p:nvPicPr>
              <p:cNvPr id="9" name="Slide Zoom 8">
                <a:hlinkClick r:id="rId8" action="ppaction://hlinksldjump"/>
                <a:extLst>
                  <a:ext uri="{FF2B5EF4-FFF2-40B4-BE49-F238E27FC236}">
                    <a16:creationId xmlns:a16="http://schemas.microsoft.com/office/drawing/2014/main" id="{4911E276-C5CA-6519-8688-F051F062B50F}"/>
                  </a:ext>
                </a:extLst>
              </p:cNvPr>
              <p:cNvPicPr>
                <a:picLocks noGrp="1" noRot="1" noChangeAspect="1" noMove="1" noResize="1" noEditPoints="1" noAdjustHandles="1" noChangeArrowheads="1" noChangeShapeType="1"/>
              </p:cNvPicPr>
              <p:nvPr/>
            </p:nvPicPr>
            <p:blipFill>
              <a:blip r:embed="rId9"/>
              <a:stretch>
                <a:fillRect/>
              </a:stretch>
            </p:blipFill>
            <p:spPr>
              <a:xfrm>
                <a:off x="1266825" y="3898380"/>
                <a:ext cx="2343149" cy="1318021"/>
              </a:xfrm>
              <a:prstGeom prst="rect">
                <a:avLst/>
              </a:prstGeom>
              <a:ln w="3175">
                <a:solidFill>
                  <a:prstClr val="ltGray"/>
                </a:solidFill>
              </a:ln>
              <a:effectLst>
                <a:outerShdw blurRad="63500" sx="102000" sy="102000" algn="ctr"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1" name="Slide Zoom 10">
                <a:extLst>
                  <a:ext uri="{FF2B5EF4-FFF2-40B4-BE49-F238E27FC236}">
                    <a16:creationId xmlns:a16="http://schemas.microsoft.com/office/drawing/2014/main" id="{257B86A0-5696-F3B2-1396-84B65BAC2B9A}"/>
                  </a:ext>
                </a:extLst>
              </p:cNvPr>
              <p:cNvGraphicFramePr>
                <a:graphicFrameLocks noChangeAspect="1"/>
              </p:cNvGraphicFramePr>
              <p:nvPr>
                <p:extLst>
                  <p:ext uri="{D42A27DB-BD31-4B8C-83A1-F6EECF244321}">
                    <p14:modId xmlns:p14="http://schemas.microsoft.com/office/powerpoint/2010/main" val="2083368427"/>
                  </p:ext>
                </p:extLst>
              </p:nvPr>
            </p:nvGraphicFramePr>
            <p:xfrm>
              <a:off x="4924425" y="3898380"/>
              <a:ext cx="2343150" cy="1318022"/>
            </p:xfrm>
            <a:graphic>
              <a:graphicData uri="http://schemas.microsoft.com/office/powerpoint/2016/slidezoom">
                <pslz:sldZm>
                  <pslz:sldZmObj sldId="2147482714" cId="1115414689">
                    <pslz:zmPr id="{F0F7FF29-5FC2-448A-BA78-E77481AF7570}" returnToParent="0" transitionDur="1000">
                      <p166:blipFill xmlns:p166="http://schemas.microsoft.com/office/powerpoint/2016/6/main">
                        <a:blip r:embed="rId10"/>
                        <a:stretch>
                          <a:fillRect/>
                        </a:stretch>
                      </p166:blipFill>
                      <p166:spPr xmlns:p166="http://schemas.microsoft.com/office/powerpoint/2016/6/main">
                        <a:xfrm>
                          <a:off x="0" y="0"/>
                          <a:ext cx="2343150" cy="1318022"/>
                        </a:xfrm>
                        <a:prstGeom prst="rect">
                          <a:avLst/>
                        </a:prstGeom>
                        <a:ln w="3175">
                          <a:solidFill>
                            <a:prstClr val="ltGray"/>
                          </a:solidFill>
                        </a:ln>
                        <a:effectLst>
                          <a:outerShdw blurRad="63500" sx="102000" sy="102000" algn="ctr" rotWithShape="0">
                            <a:prstClr val="black">
                              <a:alpha val="40000"/>
                            </a:prstClr>
                          </a:outerShdw>
                        </a:effectLst>
                      </p166:spPr>
                    </pslz:zmPr>
                  </pslz:sldZmObj>
                </pslz:sldZm>
              </a:graphicData>
            </a:graphic>
          </p:graphicFrame>
        </mc:Choice>
        <mc:Fallback xmlns="">
          <p:pic>
            <p:nvPicPr>
              <p:cNvPr id="11" name="Slide Zoom 10">
                <a:hlinkClick r:id="rId11" action="ppaction://hlinksldjump"/>
                <a:extLst>
                  <a:ext uri="{FF2B5EF4-FFF2-40B4-BE49-F238E27FC236}">
                    <a16:creationId xmlns:a16="http://schemas.microsoft.com/office/drawing/2014/main" id="{257B86A0-5696-F3B2-1396-84B65BAC2B9A}"/>
                  </a:ext>
                </a:extLst>
              </p:cNvPr>
              <p:cNvPicPr>
                <a:picLocks noGrp="1" noRot="1" noChangeAspect="1" noMove="1" noResize="1" noEditPoints="1" noAdjustHandles="1" noChangeArrowheads="1" noChangeShapeType="1"/>
              </p:cNvPicPr>
              <p:nvPr/>
            </p:nvPicPr>
            <p:blipFill>
              <a:blip r:embed="rId12"/>
              <a:stretch>
                <a:fillRect/>
              </a:stretch>
            </p:blipFill>
            <p:spPr>
              <a:xfrm>
                <a:off x="4924425" y="3898380"/>
                <a:ext cx="2343150" cy="1318022"/>
              </a:xfrm>
              <a:prstGeom prst="rect">
                <a:avLst/>
              </a:prstGeom>
              <a:ln w="3175">
                <a:solidFill>
                  <a:prstClr val="ltGray"/>
                </a:solidFill>
              </a:ln>
              <a:effectLst>
                <a:outerShdw blurRad="63500" sx="102000" sy="102000" algn="ctr"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3" name="Slide Zoom 12">
                <a:extLst>
                  <a:ext uri="{FF2B5EF4-FFF2-40B4-BE49-F238E27FC236}">
                    <a16:creationId xmlns:a16="http://schemas.microsoft.com/office/drawing/2014/main" id="{3CE4C177-C6A3-783C-4196-9A72F3D18AAF}"/>
                  </a:ext>
                </a:extLst>
              </p:cNvPr>
              <p:cNvGraphicFramePr>
                <a:graphicFrameLocks noChangeAspect="1"/>
              </p:cNvGraphicFramePr>
              <p:nvPr>
                <p:extLst>
                  <p:ext uri="{D42A27DB-BD31-4B8C-83A1-F6EECF244321}">
                    <p14:modId xmlns:p14="http://schemas.microsoft.com/office/powerpoint/2010/main" val="532626583"/>
                  </p:ext>
                </p:extLst>
              </p:nvPr>
            </p:nvGraphicFramePr>
            <p:xfrm>
              <a:off x="8582025" y="3898380"/>
              <a:ext cx="2343150" cy="1318022"/>
            </p:xfrm>
            <a:graphic>
              <a:graphicData uri="http://schemas.microsoft.com/office/powerpoint/2016/slidezoom">
                <pslz:sldZm>
                  <pslz:sldZmObj sldId="2147482715" cId="2761275267">
                    <pslz:zmPr id="{E926DE53-63D7-4A70-B182-BCAAB45E29C9}" returnToParent="0" transitionDur="1000">
                      <p166:blipFill xmlns:p166="http://schemas.microsoft.com/office/powerpoint/2016/6/main">
                        <a:blip r:embed="rId13"/>
                        <a:stretch>
                          <a:fillRect/>
                        </a:stretch>
                      </p166:blipFill>
                      <p166:spPr xmlns:p166="http://schemas.microsoft.com/office/powerpoint/2016/6/main">
                        <a:xfrm>
                          <a:off x="0" y="0"/>
                          <a:ext cx="2343150" cy="1318022"/>
                        </a:xfrm>
                        <a:prstGeom prst="rect">
                          <a:avLst/>
                        </a:prstGeom>
                        <a:ln w="3175">
                          <a:solidFill>
                            <a:prstClr val="ltGray"/>
                          </a:solidFill>
                        </a:ln>
                        <a:effectLst>
                          <a:outerShdw blurRad="63500" sx="102000" sy="102000" algn="ctr" rotWithShape="0">
                            <a:prstClr val="black">
                              <a:alpha val="40000"/>
                            </a:prstClr>
                          </a:outerShdw>
                        </a:effectLst>
                      </p166:spPr>
                    </pslz:zmPr>
                  </pslz:sldZmObj>
                </pslz:sldZm>
              </a:graphicData>
            </a:graphic>
          </p:graphicFrame>
        </mc:Choice>
        <mc:Fallback xmlns="">
          <p:pic>
            <p:nvPicPr>
              <p:cNvPr id="13" name="Slide Zoom 12">
                <a:hlinkClick r:id="rId14" action="ppaction://hlinksldjump"/>
                <a:extLst>
                  <a:ext uri="{FF2B5EF4-FFF2-40B4-BE49-F238E27FC236}">
                    <a16:creationId xmlns:a16="http://schemas.microsoft.com/office/drawing/2014/main" id="{3CE4C177-C6A3-783C-4196-9A72F3D18AAF}"/>
                  </a:ext>
                </a:extLst>
              </p:cNvPr>
              <p:cNvPicPr>
                <a:picLocks noGrp="1" noRot="1" noChangeAspect="1" noMove="1" noResize="1" noEditPoints="1" noAdjustHandles="1" noChangeArrowheads="1" noChangeShapeType="1"/>
              </p:cNvPicPr>
              <p:nvPr/>
            </p:nvPicPr>
            <p:blipFill>
              <a:blip r:embed="rId15"/>
              <a:stretch>
                <a:fillRect/>
              </a:stretch>
            </p:blipFill>
            <p:spPr>
              <a:xfrm>
                <a:off x="8582025" y="3898380"/>
                <a:ext cx="2343150" cy="1318022"/>
              </a:xfrm>
              <a:prstGeom prst="rect">
                <a:avLst/>
              </a:prstGeom>
              <a:ln w="3175">
                <a:solidFill>
                  <a:prstClr val="ltGray"/>
                </a:solidFill>
              </a:ln>
              <a:effectLst>
                <a:outerShdw blurRad="63500" sx="102000" sy="102000" algn="ctr" rotWithShape="0">
                  <a:prstClr val="black">
                    <a:alpha val="40000"/>
                  </a:prstClr>
                </a:outerShdw>
              </a:effectLst>
            </p:spPr>
          </p:pic>
        </mc:Fallback>
      </mc:AlternateContent>
      <p:sp>
        <p:nvSpPr>
          <p:cNvPr id="3" name="TextBox 2">
            <a:extLst>
              <a:ext uri="{FF2B5EF4-FFF2-40B4-BE49-F238E27FC236}">
                <a16:creationId xmlns:a16="http://schemas.microsoft.com/office/drawing/2014/main" id="{26E2620F-796F-C388-5199-5C7D72353B2E}"/>
              </a:ext>
            </a:extLst>
          </p:cNvPr>
          <p:cNvSpPr txBox="1"/>
          <p:nvPr/>
        </p:nvSpPr>
        <p:spPr>
          <a:xfrm>
            <a:off x="668456" y="5579119"/>
            <a:ext cx="10855088" cy="646331"/>
          </a:xfrm>
          <a:prstGeom prst="rect">
            <a:avLst/>
          </a:prstGeom>
          <a:noFill/>
        </p:spPr>
        <p:txBody>
          <a:bodyPr wrap="none" rtlCol="0">
            <a:noAutofit/>
          </a:bodyPr>
          <a:lstStyle/>
          <a:p>
            <a:pPr marL="3175">
              <a:spcBef>
                <a:spcPts val="600"/>
              </a:spcBef>
              <a:spcAft>
                <a:spcPts val="600"/>
              </a:spcAft>
              <a:buClr>
                <a:srgbClr val="303030">
                  <a:lumMod val="50000"/>
                  <a:lumOff val="50000"/>
                </a:srgbClr>
              </a:buClr>
            </a:pPr>
            <a:r>
              <a:rPr lang="en-US">
                <a:solidFill>
                  <a:schemeClr val="bg1"/>
                </a:solidFill>
                <a:cs typeface="Tahoma" pitchFamily="34" charset="0"/>
              </a:rPr>
              <a:t>Some issues have been resolved or partially resolved with the latest architecture in certain scenarios. </a:t>
            </a:r>
            <a:br>
              <a:rPr lang="en-US">
                <a:solidFill>
                  <a:schemeClr val="bg1"/>
                </a:solidFill>
                <a:cs typeface="Tahoma" pitchFamily="34" charset="0"/>
              </a:rPr>
            </a:br>
            <a:r>
              <a:rPr lang="en-US">
                <a:solidFill>
                  <a:schemeClr val="bg1"/>
                </a:solidFill>
                <a:cs typeface="Tahoma" pitchFamily="34" charset="0"/>
              </a:rPr>
              <a:t>However, in other scenarios, these issues still need to be addressed and resolved.</a:t>
            </a:r>
          </a:p>
        </p:txBody>
      </p:sp>
    </p:spTree>
    <p:custDataLst>
      <p:custData r:id="rId1"/>
    </p:custDataLst>
    <p:extLst>
      <p:ext uri="{BB962C8B-B14F-4D97-AF65-F5344CB8AC3E}">
        <p14:creationId xmlns:p14="http://schemas.microsoft.com/office/powerpoint/2010/main" val="3296767712"/>
      </p:ext>
    </p:extLst>
  </p:cSld>
  <p:clrMapOvr>
    <a:masterClrMapping/>
  </p:clrMapOvr>
  <p:extLst>
    <p:ext uri="{6950BFC3-D8DA-4A85-94F7-54DA5524770B}">
      <p188:commentRel xmlns:p188="http://schemas.microsoft.com/office/powerpoint/2018/8/main" r:id="rId3"/>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18AC00A-33C4-E921-1EF5-87E47002F290}"/>
              </a:ext>
            </a:extLst>
          </p:cNvPr>
          <p:cNvSpPr>
            <a:spLocks noGrp="1"/>
          </p:cNvSpPr>
          <p:nvPr>
            <p:ph type="body" sz="quarter" idx="10"/>
          </p:nvPr>
        </p:nvSpPr>
        <p:spPr>
          <a:xfrm>
            <a:off x="609600" y="1161288"/>
            <a:ext cx="10972800" cy="4953000"/>
          </a:xfrm>
        </p:spPr>
        <p:txBody>
          <a:bodyPr/>
          <a:lstStyle/>
          <a:p>
            <a:pPr rtl="0">
              <a:buFont typeface="Arial" panose="020B0604020202020204" pitchFamily="34" charset="0"/>
              <a:buChar char="•"/>
            </a:pPr>
            <a:r>
              <a:rPr lang="en-US" dirty="0"/>
              <a:t>User Feedback Summary</a:t>
            </a:r>
          </a:p>
          <a:p>
            <a:pPr rtl="0">
              <a:buFont typeface="Arial" panose="020B0604020202020204" pitchFamily="34" charset="0"/>
              <a:buChar char="•"/>
            </a:pPr>
            <a:r>
              <a:rPr lang="en-US" b="1" dirty="0"/>
              <a:t>Issues Resolved with Latest Architecture</a:t>
            </a:r>
          </a:p>
          <a:p>
            <a:pPr rtl="0">
              <a:buFont typeface="Arial" panose="020B0604020202020204" pitchFamily="34" charset="0"/>
              <a:buChar char="•"/>
            </a:pPr>
            <a:r>
              <a:rPr lang="en-US" dirty="0"/>
              <a:t>Areas of Further Refinement</a:t>
            </a:r>
          </a:p>
          <a:p>
            <a:pPr rtl="0">
              <a:buFont typeface="Arial" panose="020B0604020202020204" pitchFamily="34" charset="0"/>
              <a:buChar char="•"/>
            </a:pPr>
            <a:r>
              <a:rPr lang="en-US" dirty="0"/>
              <a:t>Feedback: Need More Clarity</a:t>
            </a:r>
          </a:p>
          <a:p>
            <a:pPr rtl="0">
              <a:buFont typeface="Arial" panose="020B0604020202020204" pitchFamily="34" charset="0"/>
              <a:buChar char="•"/>
            </a:pPr>
            <a:endParaRPr lang="en-US" dirty="0"/>
          </a:p>
          <a:p>
            <a:endParaRPr lang="en-US" dirty="0"/>
          </a:p>
        </p:txBody>
      </p:sp>
      <p:sp>
        <p:nvSpPr>
          <p:cNvPr id="7" name="Text Placeholder 6">
            <a:extLst>
              <a:ext uri="{FF2B5EF4-FFF2-40B4-BE49-F238E27FC236}">
                <a16:creationId xmlns:a16="http://schemas.microsoft.com/office/drawing/2014/main" id="{3456BBCB-5683-B8F1-85A4-38C22684A23E}"/>
              </a:ext>
            </a:extLst>
          </p:cNvPr>
          <p:cNvSpPr>
            <a:spLocks noGrp="1"/>
          </p:cNvSpPr>
          <p:nvPr>
            <p:ph type="body" sz="quarter" idx="12"/>
          </p:nvPr>
        </p:nvSpPr>
        <p:spPr>
          <a:xfrm rot="10800000">
            <a:off x="445008" y="1870442"/>
            <a:ext cx="329184" cy="329184"/>
          </a:xfrm>
        </p:spPr>
        <p:txBody>
          <a:bodyPr/>
          <a:lstStyle/>
          <a:p>
            <a:endParaRPr lang="en-US"/>
          </a:p>
        </p:txBody>
      </p:sp>
      <p:sp>
        <p:nvSpPr>
          <p:cNvPr id="5" name="Title 4">
            <a:extLst>
              <a:ext uri="{FF2B5EF4-FFF2-40B4-BE49-F238E27FC236}">
                <a16:creationId xmlns:a16="http://schemas.microsoft.com/office/drawing/2014/main" id="{587AAD6A-D556-BEDD-6346-0C02378F3DCE}"/>
              </a:ext>
            </a:extLst>
          </p:cNvPr>
          <p:cNvSpPr>
            <a:spLocks noGrp="1"/>
          </p:cNvSpPr>
          <p:nvPr>
            <p:ph type="title"/>
          </p:nvPr>
        </p:nvSpPr>
        <p:spPr/>
        <p:txBody>
          <a:bodyPr/>
          <a:lstStyle/>
          <a:p>
            <a:r>
              <a:rPr lang="en-US"/>
              <a:t>Agenda Slides</a:t>
            </a:r>
          </a:p>
        </p:txBody>
      </p:sp>
    </p:spTree>
    <p:custDataLst>
      <p:custData r:id="rId1"/>
    </p:custDataLst>
    <p:extLst>
      <p:ext uri="{BB962C8B-B14F-4D97-AF65-F5344CB8AC3E}">
        <p14:creationId xmlns:p14="http://schemas.microsoft.com/office/powerpoint/2010/main" val="23377060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F7DB3-1E34-CC52-11D6-E55E2C53198B}"/>
              </a:ext>
            </a:extLst>
          </p:cNvPr>
          <p:cNvSpPr>
            <a:spLocks noGrp="1"/>
          </p:cNvSpPr>
          <p:nvPr>
            <p:ph type="title"/>
          </p:nvPr>
        </p:nvSpPr>
        <p:spPr/>
        <p:txBody>
          <a:bodyPr/>
          <a:lstStyle/>
          <a:p>
            <a:r>
              <a:rPr lang="en-US"/>
              <a:t>Issues Resolved with the latest architecture</a:t>
            </a:r>
            <a:br>
              <a:rPr lang="en-US"/>
            </a:br>
            <a:r>
              <a:rPr lang="en-US" sz="2000" b="1">
                <a:solidFill>
                  <a:schemeClr val="accent1"/>
                </a:solidFill>
              </a:rPr>
              <a:t>More comprehensive response and Irrelevant points are filtered out</a:t>
            </a:r>
            <a:endParaRPr lang="en-US" sz="1800" b="1">
              <a:solidFill>
                <a:schemeClr val="accent1"/>
              </a:solidFill>
            </a:endParaRPr>
          </a:p>
        </p:txBody>
      </p:sp>
      <p:pic>
        <p:nvPicPr>
          <p:cNvPr id="5" name="Picture 4">
            <a:extLst>
              <a:ext uri="{FF2B5EF4-FFF2-40B4-BE49-F238E27FC236}">
                <a16:creationId xmlns:a16="http://schemas.microsoft.com/office/drawing/2014/main" id="{F03F505D-962D-CEB7-E4E2-AC8EF42A917D}"/>
              </a:ext>
            </a:extLst>
          </p:cNvPr>
          <p:cNvPicPr>
            <a:picLocks noChangeAspect="1"/>
          </p:cNvPicPr>
          <p:nvPr/>
        </p:nvPicPr>
        <p:blipFill rotWithShape="1">
          <a:blip r:embed="rId3">
            <a:extLst>
              <a:ext uri="{28A0092B-C50C-407E-A947-70E740481C1C}">
                <a14:useLocalDpi xmlns:a14="http://schemas.microsoft.com/office/drawing/2010/main" val="0"/>
              </a:ext>
            </a:extLst>
          </a:blip>
          <a:stretch/>
        </p:blipFill>
        <p:spPr>
          <a:xfrm>
            <a:off x="4382136" y="1828800"/>
            <a:ext cx="7842040" cy="4991100"/>
          </a:xfrm>
          <a:prstGeom prst="rect">
            <a:avLst/>
          </a:prstGeom>
        </p:spPr>
      </p:pic>
      <p:pic>
        <p:nvPicPr>
          <p:cNvPr id="7" name="Picture 6">
            <a:extLst>
              <a:ext uri="{FF2B5EF4-FFF2-40B4-BE49-F238E27FC236}">
                <a16:creationId xmlns:a16="http://schemas.microsoft.com/office/drawing/2014/main" id="{45D4D0E7-37FC-15F9-1FD3-A301EE224A4C}"/>
              </a:ext>
            </a:extLst>
          </p:cNvPr>
          <p:cNvPicPr>
            <a:picLocks noChangeAspect="1"/>
          </p:cNvPicPr>
          <p:nvPr/>
        </p:nvPicPr>
        <p:blipFill rotWithShape="1">
          <a:blip r:embed="rId4"/>
          <a:srcRect t="-24160" b="-24160"/>
          <a:stretch/>
        </p:blipFill>
        <p:spPr>
          <a:xfrm>
            <a:off x="5478149" y="2467740"/>
            <a:ext cx="5686868" cy="3514477"/>
          </a:xfrm>
          <a:prstGeom prst="rect">
            <a:avLst/>
          </a:prstGeom>
          <a:solidFill>
            <a:schemeClr val="bg1"/>
          </a:solidFill>
        </p:spPr>
      </p:pic>
      <p:sp>
        <p:nvSpPr>
          <p:cNvPr id="16" name="Rectangle: Top Corners Rounded 15">
            <a:extLst>
              <a:ext uri="{FF2B5EF4-FFF2-40B4-BE49-F238E27FC236}">
                <a16:creationId xmlns:a16="http://schemas.microsoft.com/office/drawing/2014/main" id="{33011701-BF3E-9CEC-6789-AC8BE0255BFE}"/>
              </a:ext>
            </a:extLst>
          </p:cNvPr>
          <p:cNvSpPr/>
          <p:nvPr/>
        </p:nvSpPr>
        <p:spPr>
          <a:xfrm rot="5400000">
            <a:off x="2071869" y="-804684"/>
            <a:ext cx="561614" cy="4705353"/>
          </a:xfrm>
          <a:prstGeom prst="round2SameRect">
            <a:avLst>
              <a:gd name="adj1" fmla="val 50000"/>
              <a:gd name="adj2" fmla="val 0"/>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4FA1136F-F800-93E6-5039-D3FC8EE47B31}"/>
              </a:ext>
            </a:extLst>
          </p:cNvPr>
          <p:cNvSpPr txBox="1"/>
          <p:nvPr/>
        </p:nvSpPr>
        <p:spPr>
          <a:xfrm>
            <a:off x="609600" y="1347937"/>
            <a:ext cx="3772536" cy="400110"/>
          </a:xfrm>
          <a:prstGeom prst="rect">
            <a:avLst/>
          </a:prstGeom>
          <a:noFill/>
        </p:spPr>
        <p:txBody>
          <a:bodyPr wrap="none" rtlCol="0" anchor="ctr">
            <a:noAutofit/>
          </a:bodyPr>
          <a:lstStyle/>
          <a:p>
            <a:pPr marL="3175">
              <a:spcBef>
                <a:spcPts val="600"/>
              </a:spcBef>
              <a:spcAft>
                <a:spcPts val="600"/>
              </a:spcAft>
              <a:buClr>
                <a:srgbClr val="303030">
                  <a:lumMod val="50000"/>
                  <a:lumOff val="50000"/>
                </a:srgbClr>
              </a:buClr>
            </a:pPr>
            <a:r>
              <a:rPr lang="en-US" sz="1800" b="1" kern="1200">
                <a:solidFill>
                  <a:schemeClr val="bg1"/>
                </a:solidFill>
                <a:effectLst/>
                <a:latin typeface="Calibri" panose="020F0502020204030204" pitchFamily="34" charset="0"/>
                <a:ea typeface="+mn-ea"/>
                <a:cs typeface="Tahoma" panose="020B0604030504040204" pitchFamily="34" charset="0"/>
              </a:rPr>
              <a:t>User Prompt</a:t>
            </a:r>
            <a:endParaRPr lang="en-US">
              <a:solidFill>
                <a:schemeClr val="bg1"/>
              </a:solidFill>
              <a:cs typeface="Tahoma" pitchFamily="34" charset="0"/>
            </a:endParaRPr>
          </a:p>
        </p:txBody>
      </p:sp>
      <p:sp>
        <p:nvSpPr>
          <p:cNvPr id="18" name="Text Placeholder 3">
            <a:extLst>
              <a:ext uri="{FF2B5EF4-FFF2-40B4-BE49-F238E27FC236}">
                <a16:creationId xmlns:a16="http://schemas.microsoft.com/office/drawing/2014/main" id="{88BA4325-E395-0B61-92A4-5A78082C7205}"/>
              </a:ext>
            </a:extLst>
          </p:cNvPr>
          <p:cNvSpPr txBox="1">
            <a:spLocks/>
          </p:cNvSpPr>
          <p:nvPr/>
        </p:nvSpPr>
        <p:spPr>
          <a:xfrm>
            <a:off x="609600" y="1919363"/>
            <a:ext cx="3772536" cy="584775"/>
          </a:xfrm>
          <a:prstGeom prst="rect">
            <a:avLst/>
          </a:prstGeom>
        </p:spPr>
        <p:txBody>
          <a:bodyPr vert="horz" lIns="91440" tIns="45720" rIns="91440" bIns="45720" rtlCol="0">
            <a:spAutoFit/>
          </a:bodyPr>
          <a:lstStyle>
            <a:lvl1pPr marL="190500" indent="-187325" algn="l" defTabSz="914400" rtl="0" eaLnBrk="1" latinLnBrk="0" hangingPunct="1">
              <a:spcBef>
                <a:spcPts val="600"/>
              </a:spcBef>
              <a:buClr>
                <a:schemeClr val="bg2">
                  <a:lumMod val="50000"/>
                </a:schemeClr>
              </a:buClr>
              <a:buFont typeface="Arial" panose="020B0604020202020204" pitchFamily="34" charset="0"/>
              <a:buChar char="•"/>
              <a:defRPr sz="1800" kern="1200">
                <a:solidFill>
                  <a:schemeClr val="tx1"/>
                </a:solidFill>
                <a:latin typeface="+mn-lt"/>
                <a:ea typeface="+mn-ea"/>
                <a:cs typeface="Tahoma" pitchFamily="34" charset="0"/>
              </a:defRPr>
            </a:lvl1pPr>
            <a:lvl2pPr marL="439738" indent="-250825" algn="l" defTabSz="914400" rtl="0" eaLnBrk="1" latinLnBrk="0" hangingPunct="1">
              <a:spcBef>
                <a:spcPts val="600"/>
              </a:spcBef>
              <a:buClr>
                <a:schemeClr val="bg2">
                  <a:lumMod val="50000"/>
                </a:schemeClr>
              </a:buClr>
              <a:buFont typeface="Courier New" pitchFamily="49" charset="0"/>
              <a:buChar char="­"/>
              <a:defRPr sz="1600" kern="1200">
                <a:solidFill>
                  <a:schemeClr val="accent1"/>
                </a:solidFill>
                <a:latin typeface="+mn-lt"/>
                <a:ea typeface="+mn-ea"/>
                <a:cs typeface="Tahoma" pitchFamily="34" charset="0"/>
              </a:defRPr>
            </a:lvl2pPr>
            <a:lvl3pPr marL="652463" indent="-217488" algn="l" defTabSz="914400" rtl="0" eaLnBrk="1" latinLnBrk="0" hangingPunct="1">
              <a:spcBef>
                <a:spcPts val="600"/>
              </a:spcBef>
              <a:buClr>
                <a:schemeClr val="bg2">
                  <a:lumMod val="50000"/>
                </a:schemeClr>
              </a:buClr>
              <a:buFont typeface="Arial" panose="020B0604020202020204" pitchFamily="34" charset="0"/>
              <a:buChar char="•"/>
              <a:defRPr sz="1400" kern="1200">
                <a:solidFill>
                  <a:schemeClr val="bg2">
                    <a:lumMod val="50000"/>
                  </a:schemeClr>
                </a:solidFill>
                <a:latin typeface="+mn-lt"/>
                <a:ea typeface="+mn-ea"/>
                <a:cs typeface="Tahoma" pitchFamily="34" charset="0"/>
              </a:defRPr>
            </a:lvl3pPr>
            <a:lvl4pPr marL="833438" indent="-173038" algn="l" defTabSz="914400" rtl="0" eaLnBrk="1" latinLnBrk="0" hangingPunct="1">
              <a:spcBef>
                <a:spcPts val="600"/>
              </a:spcBef>
              <a:buClr>
                <a:schemeClr val="bg2">
                  <a:lumMod val="50000"/>
                </a:schemeClr>
              </a:buClr>
              <a:buFont typeface="Arial" pitchFamily="34" charset="0"/>
              <a:buChar char="–"/>
              <a:defRPr sz="1200" kern="1200">
                <a:solidFill>
                  <a:schemeClr val="bg2">
                    <a:lumMod val="50000"/>
                  </a:schemeClr>
                </a:solidFill>
                <a:latin typeface="+mn-lt"/>
                <a:ea typeface="+mn-ea"/>
                <a:cs typeface="Tahoma" pitchFamily="34" charset="0"/>
              </a:defRPr>
            </a:lvl4pPr>
            <a:lvl5pPr marL="1004888" indent="-169863" algn="l" defTabSz="914400" rtl="0" eaLnBrk="1" latinLnBrk="0" hangingPunct="1">
              <a:spcBef>
                <a:spcPts val="600"/>
              </a:spcBef>
              <a:buClr>
                <a:schemeClr val="bg2">
                  <a:lumMod val="50000"/>
                </a:schemeClr>
              </a:buClr>
              <a:buFont typeface="Arial" panose="020B0604020202020204" pitchFamily="34" charset="0"/>
              <a:buChar char="•"/>
              <a:defRPr sz="1000" kern="1200">
                <a:solidFill>
                  <a:schemeClr val="bg2">
                    <a:lumMod val="50000"/>
                  </a:schemeClr>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buFont typeface="Arial" panose="020B0604020202020204" pitchFamily="34" charset="0"/>
              <a:buNone/>
            </a:pPr>
            <a:r>
              <a:rPr lang="en-US" sz="1600">
                <a:latin typeface="Calibri" panose="020F0502020204030204" pitchFamily="34" charset="0"/>
              </a:rPr>
              <a:t>What is UPLIZNA’s effect on MOG </a:t>
            </a:r>
            <a:br>
              <a:rPr lang="en-US" sz="1600">
                <a:latin typeface="Calibri" panose="020F0502020204030204" pitchFamily="34" charset="0"/>
              </a:rPr>
            </a:br>
            <a:r>
              <a:rPr lang="en-US" sz="1600">
                <a:latin typeface="Calibri" panose="020F0502020204030204" pitchFamily="34" charset="0"/>
              </a:rPr>
              <a:t>positive disease?</a:t>
            </a:r>
          </a:p>
        </p:txBody>
      </p:sp>
      <p:sp>
        <p:nvSpPr>
          <p:cNvPr id="19" name="Rectangle: Top Corners Rounded 18">
            <a:extLst>
              <a:ext uri="{FF2B5EF4-FFF2-40B4-BE49-F238E27FC236}">
                <a16:creationId xmlns:a16="http://schemas.microsoft.com/office/drawing/2014/main" id="{40FDCADC-8F9F-5A37-8323-25F434F63036}"/>
              </a:ext>
            </a:extLst>
          </p:cNvPr>
          <p:cNvSpPr/>
          <p:nvPr/>
        </p:nvSpPr>
        <p:spPr>
          <a:xfrm rot="5400000">
            <a:off x="2071870" y="812451"/>
            <a:ext cx="561614" cy="4705353"/>
          </a:xfrm>
          <a:prstGeom prst="round2SameRect">
            <a:avLst>
              <a:gd name="adj1" fmla="val 50000"/>
              <a:gd name="adj2" fmla="val 0"/>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474B838F-AB10-933A-EB50-6F3790089778}"/>
              </a:ext>
            </a:extLst>
          </p:cNvPr>
          <p:cNvSpPr txBox="1"/>
          <p:nvPr/>
        </p:nvSpPr>
        <p:spPr>
          <a:xfrm>
            <a:off x="609601" y="2965072"/>
            <a:ext cx="3772536" cy="400110"/>
          </a:xfrm>
          <a:prstGeom prst="rect">
            <a:avLst/>
          </a:prstGeom>
          <a:noFill/>
        </p:spPr>
        <p:txBody>
          <a:bodyPr wrap="none" rtlCol="0" anchor="ctr">
            <a:noAutofit/>
          </a:bodyPr>
          <a:lstStyle/>
          <a:p>
            <a:pPr marL="3175">
              <a:spcBef>
                <a:spcPts val="600"/>
              </a:spcBef>
              <a:spcAft>
                <a:spcPts val="600"/>
              </a:spcAft>
              <a:buClr>
                <a:srgbClr val="303030">
                  <a:lumMod val="50000"/>
                  <a:lumOff val="50000"/>
                </a:srgbClr>
              </a:buClr>
            </a:pPr>
            <a:r>
              <a:rPr lang="en-US" sz="1800" b="1" kern="1200">
                <a:solidFill>
                  <a:schemeClr val="bg1"/>
                </a:solidFill>
                <a:effectLst/>
                <a:latin typeface="Calibri" panose="020F0502020204030204" pitchFamily="34" charset="0"/>
                <a:ea typeface="+mn-ea"/>
                <a:cs typeface="Tahoma" panose="020B0604030504040204" pitchFamily="34" charset="0"/>
              </a:rPr>
              <a:t>User Comment</a:t>
            </a:r>
            <a:endParaRPr lang="en-US">
              <a:solidFill>
                <a:schemeClr val="bg1"/>
              </a:solidFill>
              <a:cs typeface="Tahoma" pitchFamily="34" charset="0"/>
            </a:endParaRPr>
          </a:p>
        </p:txBody>
      </p:sp>
      <p:sp>
        <p:nvSpPr>
          <p:cNvPr id="21" name="Text Placeholder 3">
            <a:extLst>
              <a:ext uri="{FF2B5EF4-FFF2-40B4-BE49-F238E27FC236}">
                <a16:creationId xmlns:a16="http://schemas.microsoft.com/office/drawing/2014/main" id="{489D66E0-C8C1-CEAA-4095-1377BF4EAA17}"/>
              </a:ext>
            </a:extLst>
          </p:cNvPr>
          <p:cNvSpPr txBox="1">
            <a:spLocks/>
          </p:cNvSpPr>
          <p:nvPr/>
        </p:nvSpPr>
        <p:spPr>
          <a:xfrm>
            <a:off x="609601" y="3536498"/>
            <a:ext cx="3772536" cy="2554545"/>
          </a:xfrm>
          <a:prstGeom prst="rect">
            <a:avLst/>
          </a:prstGeom>
        </p:spPr>
        <p:txBody>
          <a:bodyPr vert="horz" lIns="91440" tIns="45720" rIns="91440" bIns="45720" rtlCol="0">
            <a:spAutoFit/>
          </a:bodyPr>
          <a:lstStyle>
            <a:lvl1pPr marL="190500" indent="-187325" algn="l" defTabSz="914400" rtl="0" eaLnBrk="1" latinLnBrk="0" hangingPunct="1">
              <a:spcBef>
                <a:spcPts val="600"/>
              </a:spcBef>
              <a:buClr>
                <a:schemeClr val="bg2">
                  <a:lumMod val="50000"/>
                </a:schemeClr>
              </a:buClr>
              <a:buFont typeface="Arial" panose="020B0604020202020204" pitchFamily="34" charset="0"/>
              <a:buChar char="•"/>
              <a:defRPr sz="1800" kern="1200">
                <a:solidFill>
                  <a:schemeClr val="tx1"/>
                </a:solidFill>
                <a:latin typeface="+mn-lt"/>
                <a:ea typeface="+mn-ea"/>
                <a:cs typeface="Tahoma" pitchFamily="34" charset="0"/>
              </a:defRPr>
            </a:lvl1pPr>
            <a:lvl2pPr marL="439738" indent="-250825" algn="l" defTabSz="914400" rtl="0" eaLnBrk="1" latinLnBrk="0" hangingPunct="1">
              <a:spcBef>
                <a:spcPts val="600"/>
              </a:spcBef>
              <a:buClr>
                <a:schemeClr val="bg2">
                  <a:lumMod val="50000"/>
                </a:schemeClr>
              </a:buClr>
              <a:buFont typeface="Courier New" pitchFamily="49" charset="0"/>
              <a:buChar char="­"/>
              <a:defRPr sz="1600" kern="1200">
                <a:solidFill>
                  <a:schemeClr val="accent1"/>
                </a:solidFill>
                <a:latin typeface="+mn-lt"/>
                <a:ea typeface="+mn-ea"/>
                <a:cs typeface="Tahoma" pitchFamily="34" charset="0"/>
              </a:defRPr>
            </a:lvl2pPr>
            <a:lvl3pPr marL="652463" indent="-217488" algn="l" defTabSz="914400" rtl="0" eaLnBrk="1" latinLnBrk="0" hangingPunct="1">
              <a:spcBef>
                <a:spcPts val="600"/>
              </a:spcBef>
              <a:buClr>
                <a:schemeClr val="bg2">
                  <a:lumMod val="50000"/>
                </a:schemeClr>
              </a:buClr>
              <a:buFont typeface="Arial" panose="020B0604020202020204" pitchFamily="34" charset="0"/>
              <a:buChar char="•"/>
              <a:defRPr sz="1400" kern="1200">
                <a:solidFill>
                  <a:schemeClr val="bg2">
                    <a:lumMod val="50000"/>
                  </a:schemeClr>
                </a:solidFill>
                <a:latin typeface="+mn-lt"/>
                <a:ea typeface="+mn-ea"/>
                <a:cs typeface="Tahoma" pitchFamily="34" charset="0"/>
              </a:defRPr>
            </a:lvl3pPr>
            <a:lvl4pPr marL="833438" indent="-173038" algn="l" defTabSz="914400" rtl="0" eaLnBrk="1" latinLnBrk="0" hangingPunct="1">
              <a:spcBef>
                <a:spcPts val="600"/>
              </a:spcBef>
              <a:buClr>
                <a:schemeClr val="bg2">
                  <a:lumMod val="50000"/>
                </a:schemeClr>
              </a:buClr>
              <a:buFont typeface="Arial" pitchFamily="34" charset="0"/>
              <a:buChar char="–"/>
              <a:defRPr sz="1200" kern="1200">
                <a:solidFill>
                  <a:schemeClr val="bg2">
                    <a:lumMod val="50000"/>
                  </a:schemeClr>
                </a:solidFill>
                <a:latin typeface="+mn-lt"/>
                <a:ea typeface="+mn-ea"/>
                <a:cs typeface="Tahoma" pitchFamily="34" charset="0"/>
              </a:defRPr>
            </a:lvl4pPr>
            <a:lvl5pPr marL="1004888" indent="-169863" algn="l" defTabSz="914400" rtl="0" eaLnBrk="1" latinLnBrk="0" hangingPunct="1">
              <a:spcBef>
                <a:spcPts val="600"/>
              </a:spcBef>
              <a:buClr>
                <a:schemeClr val="bg2">
                  <a:lumMod val="50000"/>
                </a:schemeClr>
              </a:buClr>
              <a:buFont typeface="Arial" panose="020B0604020202020204" pitchFamily="34" charset="0"/>
              <a:buChar char="•"/>
              <a:defRPr sz="1000" kern="1200">
                <a:solidFill>
                  <a:schemeClr val="bg2">
                    <a:lumMod val="50000"/>
                  </a:schemeClr>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buFont typeface="Arial" panose="020B0604020202020204" pitchFamily="34" charset="0"/>
              <a:buNone/>
            </a:pPr>
            <a:r>
              <a:rPr lang="en-US" sz="1600">
                <a:latin typeface="Calibri" panose="020F0502020204030204" pitchFamily="34" charset="0"/>
              </a:rPr>
              <a:t>The last bullet- "Therefore, while the efficacy of UPLIZNA in MOG-positive disease remains uncertain, it has shown a consistent effect in reducing the risk of disability worsening in NMOSD patients" </a:t>
            </a:r>
            <a:r>
              <a:rPr lang="en-US" sz="1600" b="1">
                <a:latin typeface="Calibri" panose="020F0502020204030204" pitchFamily="34" charset="0"/>
              </a:rPr>
              <a:t>is not relevant. Would be nice if it acknowledge the number of MOG+ patients</a:t>
            </a:r>
            <a:r>
              <a:rPr lang="en-US" sz="1600">
                <a:latin typeface="Calibri" panose="020F0502020204030204" pitchFamily="34" charset="0"/>
              </a:rPr>
              <a:t> that were in the study it pulled this information on my next prompt specifically asking for this). </a:t>
            </a:r>
          </a:p>
        </p:txBody>
      </p:sp>
      <p:sp>
        <p:nvSpPr>
          <p:cNvPr id="3" name="Rectangle: Rounded Corners 2">
            <a:hlinkClick r:id="rId5" action="ppaction://hlinksldjump"/>
            <a:extLst>
              <a:ext uri="{FF2B5EF4-FFF2-40B4-BE49-F238E27FC236}">
                <a16:creationId xmlns:a16="http://schemas.microsoft.com/office/drawing/2014/main" id="{607D8D30-1D6E-5C4A-732B-E7C26DB9328A}"/>
              </a:ext>
            </a:extLst>
          </p:cNvPr>
          <p:cNvSpPr/>
          <p:nvPr/>
        </p:nvSpPr>
        <p:spPr>
          <a:xfrm>
            <a:off x="10033000" y="5503654"/>
            <a:ext cx="1132017" cy="455462"/>
          </a:xfrm>
          <a:prstGeom prst="roundRect">
            <a:avLst>
              <a:gd name="adj" fmla="val 50000"/>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pPr algn="ctr"/>
            <a:r>
              <a:rPr lang="en-US" sz="1100" b="1">
                <a:solidFill>
                  <a:srgbClr val="FFFFFF"/>
                </a:solidFill>
                <a:latin typeface="Calibri" panose="020F0502020204030204"/>
              </a:rPr>
              <a:t>Click Here for new response</a:t>
            </a:r>
          </a:p>
        </p:txBody>
      </p:sp>
      <p:sp>
        <p:nvSpPr>
          <p:cNvPr id="14" name="Rectangle 13">
            <a:extLst>
              <a:ext uri="{FF2B5EF4-FFF2-40B4-BE49-F238E27FC236}">
                <a16:creationId xmlns:a16="http://schemas.microsoft.com/office/drawing/2014/main" id="{E6471F9F-199B-7D9A-88FB-4D8EC3DA9769}"/>
              </a:ext>
            </a:extLst>
          </p:cNvPr>
          <p:cNvSpPr/>
          <p:nvPr/>
        </p:nvSpPr>
        <p:spPr>
          <a:xfrm>
            <a:off x="5478148" y="5156200"/>
            <a:ext cx="5549900" cy="241300"/>
          </a:xfrm>
          <a:prstGeom prst="rect">
            <a:avLst/>
          </a:prstGeom>
          <a:noFill/>
          <a:ln w="9525"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endParaRPr lang="en-US" b="1"/>
          </a:p>
        </p:txBody>
      </p:sp>
    </p:spTree>
    <p:custDataLst>
      <p:custData r:id="rId1"/>
    </p:custDataLst>
    <p:extLst>
      <p:ext uri="{BB962C8B-B14F-4D97-AF65-F5344CB8AC3E}">
        <p14:creationId xmlns:p14="http://schemas.microsoft.com/office/powerpoint/2010/main" val="35118418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1EADA-1048-A409-D94F-D329B390C7CA}"/>
              </a:ext>
            </a:extLst>
          </p:cNvPr>
          <p:cNvSpPr>
            <a:spLocks noGrp="1"/>
          </p:cNvSpPr>
          <p:nvPr>
            <p:ph type="title"/>
          </p:nvPr>
        </p:nvSpPr>
        <p:spPr/>
        <p:txBody>
          <a:bodyPr/>
          <a:lstStyle/>
          <a:p>
            <a:r>
              <a:rPr lang="en-US"/>
              <a:t>Partially Resolved</a:t>
            </a:r>
          </a:p>
        </p:txBody>
      </p:sp>
      <p:pic>
        <p:nvPicPr>
          <p:cNvPr id="5" name="Picture 4">
            <a:extLst>
              <a:ext uri="{FF2B5EF4-FFF2-40B4-BE49-F238E27FC236}">
                <a16:creationId xmlns:a16="http://schemas.microsoft.com/office/drawing/2014/main" id="{C21C5009-DC44-AD7F-F94A-8F3D97E7F01A}"/>
              </a:ext>
            </a:extLst>
          </p:cNvPr>
          <p:cNvPicPr preferRelativeResize="0">
            <a:picLocks/>
          </p:cNvPicPr>
          <p:nvPr/>
        </p:nvPicPr>
        <p:blipFill rotWithShape="1">
          <a:blip r:embed="rId3"/>
          <a:srcRect t="-27952" b="-27952"/>
          <a:stretch/>
        </p:blipFill>
        <p:spPr>
          <a:xfrm>
            <a:off x="5478149" y="2467740"/>
            <a:ext cx="5686868" cy="3514477"/>
          </a:xfrm>
          <a:prstGeom prst="rect">
            <a:avLst/>
          </a:prstGeom>
        </p:spPr>
      </p:pic>
      <p:pic>
        <p:nvPicPr>
          <p:cNvPr id="7" name="Picture 6">
            <a:extLst>
              <a:ext uri="{FF2B5EF4-FFF2-40B4-BE49-F238E27FC236}">
                <a16:creationId xmlns:a16="http://schemas.microsoft.com/office/drawing/2014/main" id="{2D3B0431-38D8-CAE7-9256-65F6E4D5648A}"/>
              </a:ext>
            </a:extLst>
          </p:cNvPr>
          <p:cNvPicPr>
            <a:picLocks noChangeAspect="1"/>
          </p:cNvPicPr>
          <p:nvPr/>
        </p:nvPicPr>
        <p:blipFill rotWithShape="1">
          <a:blip r:embed="rId4">
            <a:extLst>
              <a:ext uri="{28A0092B-C50C-407E-A947-70E740481C1C}">
                <a14:useLocalDpi xmlns:a14="http://schemas.microsoft.com/office/drawing/2010/main" val="0"/>
              </a:ext>
            </a:extLst>
          </a:blip>
          <a:stretch/>
        </p:blipFill>
        <p:spPr>
          <a:xfrm>
            <a:off x="4382136" y="1828800"/>
            <a:ext cx="7842040" cy="4991100"/>
          </a:xfrm>
          <a:prstGeom prst="rect">
            <a:avLst/>
          </a:prstGeom>
        </p:spPr>
      </p:pic>
      <p:sp>
        <p:nvSpPr>
          <p:cNvPr id="9" name="Rectangle: Top Corners Rounded 8">
            <a:extLst>
              <a:ext uri="{FF2B5EF4-FFF2-40B4-BE49-F238E27FC236}">
                <a16:creationId xmlns:a16="http://schemas.microsoft.com/office/drawing/2014/main" id="{043A14DA-CA39-7230-86EA-20816607E7E0}"/>
              </a:ext>
            </a:extLst>
          </p:cNvPr>
          <p:cNvSpPr/>
          <p:nvPr/>
        </p:nvSpPr>
        <p:spPr>
          <a:xfrm rot="5400000">
            <a:off x="2071869" y="-804684"/>
            <a:ext cx="561614" cy="4705353"/>
          </a:xfrm>
          <a:prstGeom prst="round2SameRect">
            <a:avLst>
              <a:gd name="adj1" fmla="val 50000"/>
              <a:gd name="adj2" fmla="val 0"/>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A45269D5-A14A-E0C1-4E00-680E260BA11A}"/>
              </a:ext>
            </a:extLst>
          </p:cNvPr>
          <p:cNvSpPr txBox="1"/>
          <p:nvPr/>
        </p:nvSpPr>
        <p:spPr>
          <a:xfrm>
            <a:off x="609600" y="1347937"/>
            <a:ext cx="3772536" cy="400110"/>
          </a:xfrm>
          <a:prstGeom prst="rect">
            <a:avLst/>
          </a:prstGeom>
          <a:noFill/>
        </p:spPr>
        <p:txBody>
          <a:bodyPr wrap="none" rtlCol="0" anchor="ctr">
            <a:noAutofit/>
          </a:bodyPr>
          <a:lstStyle/>
          <a:p>
            <a:pPr marL="3175">
              <a:spcBef>
                <a:spcPts val="600"/>
              </a:spcBef>
              <a:spcAft>
                <a:spcPts val="600"/>
              </a:spcAft>
              <a:buClr>
                <a:srgbClr val="303030">
                  <a:lumMod val="50000"/>
                  <a:lumOff val="50000"/>
                </a:srgbClr>
              </a:buClr>
            </a:pPr>
            <a:r>
              <a:rPr lang="en-US" sz="1800" b="1" kern="1200">
                <a:solidFill>
                  <a:schemeClr val="bg1"/>
                </a:solidFill>
                <a:effectLst/>
                <a:latin typeface="Calibri" panose="020F0502020204030204" pitchFamily="34" charset="0"/>
                <a:ea typeface="+mn-ea"/>
                <a:cs typeface="Tahoma" panose="020B0604030504040204" pitchFamily="34" charset="0"/>
              </a:rPr>
              <a:t>User Prompt</a:t>
            </a:r>
            <a:endParaRPr lang="en-US">
              <a:solidFill>
                <a:schemeClr val="bg1"/>
              </a:solidFill>
              <a:cs typeface="Tahoma" pitchFamily="34" charset="0"/>
            </a:endParaRPr>
          </a:p>
        </p:txBody>
      </p:sp>
      <p:sp>
        <p:nvSpPr>
          <p:cNvPr id="11" name="Text Placeholder 3">
            <a:extLst>
              <a:ext uri="{FF2B5EF4-FFF2-40B4-BE49-F238E27FC236}">
                <a16:creationId xmlns:a16="http://schemas.microsoft.com/office/drawing/2014/main" id="{2FC9D37D-D228-5208-76A4-AB0224B376AA}"/>
              </a:ext>
            </a:extLst>
          </p:cNvPr>
          <p:cNvSpPr txBox="1">
            <a:spLocks/>
          </p:cNvSpPr>
          <p:nvPr/>
        </p:nvSpPr>
        <p:spPr>
          <a:xfrm>
            <a:off x="609600" y="1919363"/>
            <a:ext cx="3772536" cy="584775"/>
          </a:xfrm>
          <a:prstGeom prst="rect">
            <a:avLst/>
          </a:prstGeom>
        </p:spPr>
        <p:txBody>
          <a:bodyPr vert="horz" lIns="91440" tIns="45720" rIns="91440" bIns="45720" rtlCol="0">
            <a:noAutofit/>
          </a:bodyPr>
          <a:lstStyle>
            <a:lvl1pPr marL="190500" indent="-187325" algn="l" defTabSz="914400" rtl="0" eaLnBrk="1" latinLnBrk="0" hangingPunct="1">
              <a:spcBef>
                <a:spcPts val="600"/>
              </a:spcBef>
              <a:buClr>
                <a:schemeClr val="bg2">
                  <a:lumMod val="50000"/>
                </a:schemeClr>
              </a:buClr>
              <a:buFont typeface="Arial" panose="020B0604020202020204" pitchFamily="34" charset="0"/>
              <a:buChar char="•"/>
              <a:defRPr sz="1800" kern="1200">
                <a:solidFill>
                  <a:schemeClr val="tx1"/>
                </a:solidFill>
                <a:latin typeface="+mn-lt"/>
                <a:ea typeface="+mn-ea"/>
                <a:cs typeface="Tahoma" pitchFamily="34" charset="0"/>
              </a:defRPr>
            </a:lvl1pPr>
            <a:lvl2pPr marL="439738" indent="-250825" algn="l" defTabSz="914400" rtl="0" eaLnBrk="1" latinLnBrk="0" hangingPunct="1">
              <a:spcBef>
                <a:spcPts val="600"/>
              </a:spcBef>
              <a:buClr>
                <a:schemeClr val="bg2">
                  <a:lumMod val="50000"/>
                </a:schemeClr>
              </a:buClr>
              <a:buFont typeface="Courier New" pitchFamily="49" charset="0"/>
              <a:buChar char="­"/>
              <a:defRPr sz="1600" kern="1200">
                <a:solidFill>
                  <a:schemeClr val="accent1"/>
                </a:solidFill>
                <a:latin typeface="+mn-lt"/>
                <a:ea typeface="+mn-ea"/>
                <a:cs typeface="Tahoma" pitchFamily="34" charset="0"/>
              </a:defRPr>
            </a:lvl2pPr>
            <a:lvl3pPr marL="652463" indent="-217488" algn="l" defTabSz="914400" rtl="0" eaLnBrk="1" latinLnBrk="0" hangingPunct="1">
              <a:spcBef>
                <a:spcPts val="600"/>
              </a:spcBef>
              <a:buClr>
                <a:schemeClr val="bg2">
                  <a:lumMod val="50000"/>
                </a:schemeClr>
              </a:buClr>
              <a:buFont typeface="Arial" panose="020B0604020202020204" pitchFamily="34" charset="0"/>
              <a:buChar char="•"/>
              <a:defRPr sz="1400" kern="1200">
                <a:solidFill>
                  <a:schemeClr val="bg2">
                    <a:lumMod val="50000"/>
                  </a:schemeClr>
                </a:solidFill>
                <a:latin typeface="+mn-lt"/>
                <a:ea typeface="+mn-ea"/>
                <a:cs typeface="Tahoma" pitchFamily="34" charset="0"/>
              </a:defRPr>
            </a:lvl3pPr>
            <a:lvl4pPr marL="833438" indent="-173038" algn="l" defTabSz="914400" rtl="0" eaLnBrk="1" latinLnBrk="0" hangingPunct="1">
              <a:spcBef>
                <a:spcPts val="600"/>
              </a:spcBef>
              <a:buClr>
                <a:schemeClr val="bg2">
                  <a:lumMod val="50000"/>
                </a:schemeClr>
              </a:buClr>
              <a:buFont typeface="Arial" pitchFamily="34" charset="0"/>
              <a:buChar char="–"/>
              <a:defRPr sz="1200" kern="1200">
                <a:solidFill>
                  <a:schemeClr val="bg2">
                    <a:lumMod val="50000"/>
                  </a:schemeClr>
                </a:solidFill>
                <a:latin typeface="+mn-lt"/>
                <a:ea typeface="+mn-ea"/>
                <a:cs typeface="Tahoma" pitchFamily="34" charset="0"/>
              </a:defRPr>
            </a:lvl4pPr>
            <a:lvl5pPr marL="1004888" indent="-169863" algn="l" defTabSz="914400" rtl="0" eaLnBrk="1" latinLnBrk="0" hangingPunct="1">
              <a:spcBef>
                <a:spcPts val="600"/>
              </a:spcBef>
              <a:buClr>
                <a:schemeClr val="bg2">
                  <a:lumMod val="50000"/>
                </a:schemeClr>
              </a:buClr>
              <a:buFont typeface="Arial" panose="020B0604020202020204" pitchFamily="34" charset="0"/>
              <a:buChar char="•"/>
              <a:defRPr sz="1000" kern="1200">
                <a:solidFill>
                  <a:schemeClr val="bg2">
                    <a:lumMod val="50000"/>
                  </a:schemeClr>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buFont typeface="Arial" panose="020B0604020202020204" pitchFamily="34" charset="0"/>
              <a:buNone/>
            </a:pPr>
            <a:r>
              <a:rPr lang="en-US" sz="1600">
                <a:latin typeface="Calibri" panose="020F0502020204030204" pitchFamily="34" charset="0"/>
              </a:rPr>
              <a:t>What factors should be considered when deciding between therapeutics options for the treatment of NMOSD? </a:t>
            </a:r>
          </a:p>
        </p:txBody>
      </p:sp>
      <p:sp>
        <p:nvSpPr>
          <p:cNvPr id="12" name="Rectangle: Top Corners Rounded 11">
            <a:extLst>
              <a:ext uri="{FF2B5EF4-FFF2-40B4-BE49-F238E27FC236}">
                <a16:creationId xmlns:a16="http://schemas.microsoft.com/office/drawing/2014/main" id="{F624FB92-BA93-144D-15BF-7B5B718F0C25}"/>
              </a:ext>
            </a:extLst>
          </p:cNvPr>
          <p:cNvSpPr/>
          <p:nvPr/>
        </p:nvSpPr>
        <p:spPr>
          <a:xfrm rot="5400000">
            <a:off x="2071870" y="812451"/>
            <a:ext cx="561614" cy="4705353"/>
          </a:xfrm>
          <a:prstGeom prst="round2SameRect">
            <a:avLst>
              <a:gd name="adj1" fmla="val 50000"/>
              <a:gd name="adj2" fmla="val 0"/>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1F19B808-FD99-7EC5-9E6F-CA6607B71916}"/>
              </a:ext>
            </a:extLst>
          </p:cNvPr>
          <p:cNvSpPr txBox="1"/>
          <p:nvPr/>
        </p:nvSpPr>
        <p:spPr>
          <a:xfrm>
            <a:off x="609601" y="2965072"/>
            <a:ext cx="3772536" cy="400110"/>
          </a:xfrm>
          <a:prstGeom prst="rect">
            <a:avLst/>
          </a:prstGeom>
          <a:noFill/>
        </p:spPr>
        <p:txBody>
          <a:bodyPr wrap="none" rtlCol="0" anchor="ctr">
            <a:noAutofit/>
          </a:bodyPr>
          <a:lstStyle/>
          <a:p>
            <a:pPr marL="3175">
              <a:spcBef>
                <a:spcPts val="600"/>
              </a:spcBef>
              <a:spcAft>
                <a:spcPts val="600"/>
              </a:spcAft>
              <a:buClr>
                <a:srgbClr val="303030">
                  <a:lumMod val="50000"/>
                  <a:lumOff val="50000"/>
                </a:srgbClr>
              </a:buClr>
            </a:pPr>
            <a:r>
              <a:rPr lang="en-US" sz="1800" b="1" kern="1200">
                <a:solidFill>
                  <a:schemeClr val="bg1"/>
                </a:solidFill>
                <a:effectLst/>
                <a:latin typeface="Calibri" panose="020F0502020204030204" pitchFamily="34" charset="0"/>
                <a:ea typeface="+mn-ea"/>
                <a:cs typeface="Tahoma" panose="020B0604030504040204" pitchFamily="34" charset="0"/>
              </a:rPr>
              <a:t>User Comment</a:t>
            </a:r>
            <a:endParaRPr lang="en-US">
              <a:solidFill>
                <a:schemeClr val="bg1"/>
              </a:solidFill>
              <a:cs typeface="Tahoma" pitchFamily="34" charset="0"/>
            </a:endParaRPr>
          </a:p>
        </p:txBody>
      </p:sp>
      <p:sp>
        <p:nvSpPr>
          <p:cNvPr id="14" name="Text Placeholder 3">
            <a:extLst>
              <a:ext uri="{FF2B5EF4-FFF2-40B4-BE49-F238E27FC236}">
                <a16:creationId xmlns:a16="http://schemas.microsoft.com/office/drawing/2014/main" id="{FDC99662-A3EA-020B-0C07-5E0437692BA4}"/>
              </a:ext>
            </a:extLst>
          </p:cNvPr>
          <p:cNvSpPr txBox="1">
            <a:spLocks/>
          </p:cNvSpPr>
          <p:nvPr/>
        </p:nvSpPr>
        <p:spPr>
          <a:xfrm>
            <a:off x="609601" y="3536498"/>
            <a:ext cx="3772536" cy="1077218"/>
          </a:xfrm>
          <a:prstGeom prst="rect">
            <a:avLst/>
          </a:prstGeom>
        </p:spPr>
        <p:txBody>
          <a:bodyPr vert="horz" lIns="91440" tIns="45720" rIns="91440" bIns="45720" rtlCol="0">
            <a:noAutofit/>
          </a:bodyPr>
          <a:lstStyle>
            <a:lvl1pPr marL="190500" indent="-187325" algn="l" defTabSz="914400" rtl="0" eaLnBrk="1" latinLnBrk="0" hangingPunct="1">
              <a:spcBef>
                <a:spcPts val="600"/>
              </a:spcBef>
              <a:buClr>
                <a:schemeClr val="bg2">
                  <a:lumMod val="50000"/>
                </a:schemeClr>
              </a:buClr>
              <a:buFont typeface="Arial" panose="020B0604020202020204" pitchFamily="34" charset="0"/>
              <a:buChar char="•"/>
              <a:defRPr sz="1800" kern="1200">
                <a:solidFill>
                  <a:schemeClr val="tx1"/>
                </a:solidFill>
                <a:latin typeface="+mn-lt"/>
                <a:ea typeface="+mn-ea"/>
                <a:cs typeface="Tahoma" pitchFamily="34" charset="0"/>
              </a:defRPr>
            </a:lvl1pPr>
            <a:lvl2pPr marL="439738" indent="-250825" algn="l" defTabSz="914400" rtl="0" eaLnBrk="1" latinLnBrk="0" hangingPunct="1">
              <a:spcBef>
                <a:spcPts val="600"/>
              </a:spcBef>
              <a:buClr>
                <a:schemeClr val="bg2">
                  <a:lumMod val="50000"/>
                </a:schemeClr>
              </a:buClr>
              <a:buFont typeface="Courier New" pitchFamily="49" charset="0"/>
              <a:buChar char="­"/>
              <a:defRPr sz="1600" kern="1200">
                <a:solidFill>
                  <a:schemeClr val="accent1"/>
                </a:solidFill>
                <a:latin typeface="+mn-lt"/>
                <a:ea typeface="+mn-ea"/>
                <a:cs typeface="Tahoma" pitchFamily="34" charset="0"/>
              </a:defRPr>
            </a:lvl2pPr>
            <a:lvl3pPr marL="652463" indent="-217488" algn="l" defTabSz="914400" rtl="0" eaLnBrk="1" latinLnBrk="0" hangingPunct="1">
              <a:spcBef>
                <a:spcPts val="600"/>
              </a:spcBef>
              <a:buClr>
                <a:schemeClr val="bg2">
                  <a:lumMod val="50000"/>
                </a:schemeClr>
              </a:buClr>
              <a:buFont typeface="Arial" panose="020B0604020202020204" pitchFamily="34" charset="0"/>
              <a:buChar char="•"/>
              <a:defRPr sz="1400" kern="1200">
                <a:solidFill>
                  <a:schemeClr val="bg2">
                    <a:lumMod val="50000"/>
                  </a:schemeClr>
                </a:solidFill>
                <a:latin typeface="+mn-lt"/>
                <a:ea typeface="+mn-ea"/>
                <a:cs typeface="Tahoma" pitchFamily="34" charset="0"/>
              </a:defRPr>
            </a:lvl3pPr>
            <a:lvl4pPr marL="833438" indent="-173038" algn="l" defTabSz="914400" rtl="0" eaLnBrk="1" latinLnBrk="0" hangingPunct="1">
              <a:spcBef>
                <a:spcPts val="600"/>
              </a:spcBef>
              <a:buClr>
                <a:schemeClr val="bg2">
                  <a:lumMod val="50000"/>
                </a:schemeClr>
              </a:buClr>
              <a:buFont typeface="Arial" pitchFamily="34" charset="0"/>
              <a:buChar char="–"/>
              <a:defRPr sz="1200" kern="1200">
                <a:solidFill>
                  <a:schemeClr val="bg2">
                    <a:lumMod val="50000"/>
                  </a:schemeClr>
                </a:solidFill>
                <a:latin typeface="+mn-lt"/>
                <a:ea typeface="+mn-ea"/>
                <a:cs typeface="Tahoma" pitchFamily="34" charset="0"/>
              </a:defRPr>
            </a:lvl4pPr>
            <a:lvl5pPr marL="1004888" indent="-169863" algn="l" defTabSz="914400" rtl="0" eaLnBrk="1" latinLnBrk="0" hangingPunct="1">
              <a:spcBef>
                <a:spcPts val="600"/>
              </a:spcBef>
              <a:buClr>
                <a:schemeClr val="bg2">
                  <a:lumMod val="50000"/>
                </a:schemeClr>
              </a:buClr>
              <a:buFont typeface="Arial" panose="020B0604020202020204" pitchFamily="34" charset="0"/>
              <a:buChar char="•"/>
              <a:defRPr sz="1000" kern="1200">
                <a:solidFill>
                  <a:schemeClr val="bg2">
                    <a:lumMod val="50000"/>
                  </a:schemeClr>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buFont typeface="Arial" panose="020B0604020202020204" pitchFamily="34" charset="0"/>
              <a:buNone/>
            </a:pPr>
            <a:r>
              <a:rPr lang="en-US" sz="1600">
                <a:latin typeface="Calibri" panose="020F0502020204030204" pitchFamily="34" charset="0"/>
              </a:rPr>
              <a:t>While this response provided relevant factors to be considered, </a:t>
            </a:r>
            <a:r>
              <a:rPr lang="en-US" sz="1600" b="1">
                <a:latin typeface="Calibri" panose="020F0502020204030204" pitchFamily="34" charset="0"/>
              </a:rPr>
              <a:t>it did not account for patient preference or include anything about a shared decision-making process. </a:t>
            </a:r>
          </a:p>
        </p:txBody>
      </p:sp>
      <p:sp>
        <p:nvSpPr>
          <p:cNvPr id="3" name="Rectangle: Rounded Corners 2">
            <a:hlinkClick r:id="rId5" action="ppaction://hlinksldjump"/>
            <a:extLst>
              <a:ext uri="{FF2B5EF4-FFF2-40B4-BE49-F238E27FC236}">
                <a16:creationId xmlns:a16="http://schemas.microsoft.com/office/drawing/2014/main" id="{95246656-3AAA-D904-0E70-1EA92209A9EA}"/>
              </a:ext>
            </a:extLst>
          </p:cNvPr>
          <p:cNvSpPr/>
          <p:nvPr/>
        </p:nvSpPr>
        <p:spPr>
          <a:xfrm>
            <a:off x="10032999" y="5503654"/>
            <a:ext cx="1132017" cy="455462"/>
          </a:xfrm>
          <a:prstGeom prst="roundRect">
            <a:avLst>
              <a:gd name="adj" fmla="val 50000"/>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pPr algn="ctr"/>
            <a:r>
              <a:rPr lang="en-US" sz="1100" b="1">
                <a:solidFill>
                  <a:srgbClr val="FFFFFF"/>
                </a:solidFill>
                <a:latin typeface="Calibri" panose="020F0502020204030204"/>
              </a:rPr>
              <a:t>Click Here for new response</a:t>
            </a:r>
          </a:p>
        </p:txBody>
      </p:sp>
    </p:spTree>
    <p:custDataLst>
      <p:custData r:id="rId1"/>
    </p:custDataLst>
    <p:extLst>
      <p:ext uri="{BB962C8B-B14F-4D97-AF65-F5344CB8AC3E}">
        <p14:creationId xmlns:p14="http://schemas.microsoft.com/office/powerpoint/2010/main" val="5141536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18AC00A-33C4-E921-1EF5-87E47002F290}"/>
              </a:ext>
            </a:extLst>
          </p:cNvPr>
          <p:cNvSpPr>
            <a:spLocks noGrp="1"/>
          </p:cNvSpPr>
          <p:nvPr>
            <p:ph type="body" sz="quarter" idx="10"/>
          </p:nvPr>
        </p:nvSpPr>
        <p:spPr>
          <a:xfrm>
            <a:off x="609600" y="1161288"/>
            <a:ext cx="10972800" cy="4953000"/>
          </a:xfrm>
        </p:spPr>
        <p:txBody>
          <a:bodyPr/>
          <a:lstStyle/>
          <a:p>
            <a:pPr rtl="0">
              <a:buFont typeface="Arial" panose="020B0604020202020204" pitchFamily="34" charset="0"/>
              <a:buChar char="•"/>
            </a:pPr>
            <a:r>
              <a:rPr lang="en-US" dirty="0"/>
              <a:t>User Feedback Summary</a:t>
            </a:r>
          </a:p>
          <a:p>
            <a:pPr rtl="0">
              <a:buFont typeface="Arial" panose="020B0604020202020204" pitchFamily="34" charset="0"/>
              <a:buChar char="•"/>
            </a:pPr>
            <a:r>
              <a:rPr lang="en-US" dirty="0"/>
              <a:t>Issues Resolved with Latest Architecture</a:t>
            </a:r>
          </a:p>
          <a:p>
            <a:pPr rtl="0">
              <a:buFont typeface="Arial" panose="020B0604020202020204" pitchFamily="34" charset="0"/>
              <a:buChar char="•"/>
            </a:pPr>
            <a:r>
              <a:rPr lang="en-US" b="1" dirty="0"/>
              <a:t>Areas of Further Refinement</a:t>
            </a:r>
          </a:p>
          <a:p>
            <a:pPr rtl="0">
              <a:buFont typeface="Arial" panose="020B0604020202020204" pitchFamily="34" charset="0"/>
              <a:buChar char="•"/>
            </a:pPr>
            <a:r>
              <a:rPr lang="en-US" dirty="0"/>
              <a:t>Feedback: Needs More Clarity</a:t>
            </a:r>
          </a:p>
          <a:p>
            <a:pPr rtl="0">
              <a:buFont typeface="Arial" panose="020B0604020202020204" pitchFamily="34" charset="0"/>
              <a:buChar char="•"/>
            </a:pPr>
            <a:endParaRPr lang="en-US" dirty="0"/>
          </a:p>
          <a:p>
            <a:endParaRPr lang="en-US" dirty="0"/>
          </a:p>
        </p:txBody>
      </p:sp>
      <p:sp>
        <p:nvSpPr>
          <p:cNvPr id="7" name="Text Placeholder 6">
            <a:extLst>
              <a:ext uri="{FF2B5EF4-FFF2-40B4-BE49-F238E27FC236}">
                <a16:creationId xmlns:a16="http://schemas.microsoft.com/office/drawing/2014/main" id="{3456BBCB-5683-B8F1-85A4-38C22684A23E}"/>
              </a:ext>
            </a:extLst>
          </p:cNvPr>
          <p:cNvSpPr>
            <a:spLocks noGrp="1"/>
          </p:cNvSpPr>
          <p:nvPr>
            <p:ph type="body" sz="quarter" idx="12"/>
          </p:nvPr>
        </p:nvSpPr>
        <p:spPr>
          <a:xfrm rot="10800000">
            <a:off x="445008" y="2464802"/>
            <a:ext cx="329184" cy="329184"/>
          </a:xfrm>
        </p:spPr>
        <p:txBody>
          <a:bodyPr/>
          <a:lstStyle/>
          <a:p>
            <a:endParaRPr lang="en-US"/>
          </a:p>
        </p:txBody>
      </p:sp>
      <p:sp>
        <p:nvSpPr>
          <p:cNvPr id="5" name="Title 4">
            <a:extLst>
              <a:ext uri="{FF2B5EF4-FFF2-40B4-BE49-F238E27FC236}">
                <a16:creationId xmlns:a16="http://schemas.microsoft.com/office/drawing/2014/main" id="{587AAD6A-D556-BEDD-6346-0C02378F3DCE}"/>
              </a:ext>
            </a:extLst>
          </p:cNvPr>
          <p:cNvSpPr>
            <a:spLocks noGrp="1"/>
          </p:cNvSpPr>
          <p:nvPr>
            <p:ph type="title"/>
          </p:nvPr>
        </p:nvSpPr>
        <p:spPr/>
        <p:txBody>
          <a:bodyPr/>
          <a:lstStyle/>
          <a:p>
            <a:r>
              <a:rPr lang="en-US"/>
              <a:t>Agenda Slides</a:t>
            </a:r>
          </a:p>
        </p:txBody>
      </p:sp>
    </p:spTree>
    <p:custDataLst>
      <p:custData r:id="rId1"/>
    </p:custDataLst>
    <p:extLst>
      <p:ext uri="{BB962C8B-B14F-4D97-AF65-F5344CB8AC3E}">
        <p14:creationId xmlns:p14="http://schemas.microsoft.com/office/powerpoint/2010/main" val="3601453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74F435-36AC-4365-4019-B1F77698B0E9}"/>
              </a:ext>
            </a:extLst>
          </p:cNvPr>
          <p:cNvSpPr>
            <a:spLocks noGrp="1"/>
          </p:cNvSpPr>
          <p:nvPr>
            <p:ph type="title"/>
          </p:nvPr>
        </p:nvSpPr>
        <p:spPr/>
        <p:txBody>
          <a:bodyPr/>
          <a:lstStyle/>
          <a:p>
            <a:r>
              <a:rPr lang="en-US"/>
              <a:t>Areas for Further Refinement</a:t>
            </a:r>
            <a:br>
              <a:rPr lang="en-US"/>
            </a:br>
            <a:r>
              <a:rPr lang="en-US" sz="1600">
                <a:solidFill>
                  <a:schemeClr val="accent1"/>
                </a:solidFill>
              </a:rPr>
              <a:t>In the latest architecture most of them have been addressed and resolved multiple scenarios but still some extreme scenarios need to be  addressed</a:t>
            </a:r>
          </a:p>
        </p:txBody>
      </p:sp>
      <p:sp>
        <p:nvSpPr>
          <p:cNvPr id="15" name="Rectangle: Rounded Corners 14">
            <a:extLst>
              <a:ext uri="{FF2B5EF4-FFF2-40B4-BE49-F238E27FC236}">
                <a16:creationId xmlns:a16="http://schemas.microsoft.com/office/drawing/2014/main" id="{3B726521-F816-2E32-84A2-88E2452B2228}"/>
              </a:ext>
            </a:extLst>
          </p:cNvPr>
          <p:cNvSpPr/>
          <p:nvPr/>
        </p:nvSpPr>
        <p:spPr>
          <a:xfrm>
            <a:off x="5606469" y="1545021"/>
            <a:ext cx="2950738" cy="4728779"/>
          </a:xfrm>
          <a:prstGeom prst="roundRect">
            <a:avLst>
              <a:gd name="adj" fmla="val 2947"/>
            </a:avLst>
          </a:prstGeom>
          <a:noFill/>
          <a:ln>
            <a:solidFill>
              <a:schemeClr val="accent2"/>
            </a:solid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BC080B38-0DE4-4CEA-9AEB-AD267099F178}"/>
              </a:ext>
            </a:extLst>
          </p:cNvPr>
          <p:cNvSpPr/>
          <p:nvPr/>
        </p:nvSpPr>
        <p:spPr>
          <a:xfrm>
            <a:off x="5606469" y="1958280"/>
            <a:ext cx="2950738" cy="320088"/>
          </a:xfrm>
          <a:prstGeom prst="rect">
            <a:avLst/>
          </a:prstGeom>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Calibri" panose="020F0502020204030204"/>
                <a:ea typeface="+mn-ea"/>
                <a:cs typeface="+mn-cs"/>
              </a:rPr>
              <a:t>Re-Ranking</a:t>
            </a:r>
          </a:p>
        </p:txBody>
      </p:sp>
      <p:sp>
        <p:nvSpPr>
          <p:cNvPr id="11" name="Rectangle: Rounded Corners 10">
            <a:extLst>
              <a:ext uri="{FF2B5EF4-FFF2-40B4-BE49-F238E27FC236}">
                <a16:creationId xmlns:a16="http://schemas.microsoft.com/office/drawing/2014/main" id="{7838F1E8-F92D-8E2B-223C-CCA64A3D20E3}"/>
              </a:ext>
            </a:extLst>
          </p:cNvPr>
          <p:cNvSpPr/>
          <p:nvPr/>
        </p:nvSpPr>
        <p:spPr>
          <a:xfrm>
            <a:off x="2581276" y="1545021"/>
            <a:ext cx="2950738" cy="4728779"/>
          </a:xfrm>
          <a:prstGeom prst="roundRect">
            <a:avLst>
              <a:gd name="adj" fmla="val 2947"/>
            </a:avLst>
          </a:prstGeom>
          <a:noFill/>
          <a:ln>
            <a:solidFill>
              <a:schemeClr val="accent1"/>
            </a:solid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483F3A26-580C-56A8-36C3-3081E0A84471}"/>
              </a:ext>
            </a:extLst>
          </p:cNvPr>
          <p:cNvSpPr/>
          <p:nvPr/>
        </p:nvSpPr>
        <p:spPr>
          <a:xfrm>
            <a:off x="2581276" y="1958280"/>
            <a:ext cx="2950738" cy="320088"/>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Calibri" panose="020F0502020204030204"/>
                <a:ea typeface="+mn-ea"/>
                <a:cs typeface="+mn-cs"/>
              </a:rPr>
              <a:t>Prompt Engineering</a:t>
            </a:r>
          </a:p>
        </p:txBody>
      </p:sp>
      <p:sp>
        <p:nvSpPr>
          <p:cNvPr id="31" name="TextBox 30">
            <a:extLst>
              <a:ext uri="{FF2B5EF4-FFF2-40B4-BE49-F238E27FC236}">
                <a16:creationId xmlns:a16="http://schemas.microsoft.com/office/drawing/2014/main" id="{FA62DA20-8CD9-D21D-8AFD-D0D12B6413DD}"/>
              </a:ext>
            </a:extLst>
          </p:cNvPr>
          <p:cNvSpPr txBox="1"/>
          <p:nvPr/>
        </p:nvSpPr>
        <p:spPr>
          <a:xfrm>
            <a:off x="2646336" y="2318680"/>
            <a:ext cx="2820619" cy="938719"/>
          </a:xfrm>
          <a:prstGeom prst="rect">
            <a:avLst/>
          </a:prstGeom>
          <a:noFill/>
          <a:ln w="12700">
            <a:noFill/>
          </a:ln>
        </p:spPr>
        <p:txBody>
          <a:bodyPr wrap="square" lIns="0" tIns="0" rIns="0" bIns="0" anchor="t">
            <a:spAutoFit/>
          </a:bodyPr>
          <a:lstStyle/>
          <a:p>
            <a:pPr marL="171450" marR="0" lvl="0" indent="-171450" algn="l" defTabSz="914400" rtl="0" eaLnBrk="1" fontAlgn="auto" latinLnBrk="0" hangingPunct="1">
              <a:lnSpc>
                <a:spcPct val="100000"/>
              </a:lnSpc>
              <a:spcBef>
                <a:spcPts val="300"/>
              </a:spcBef>
              <a:spcAft>
                <a:spcPts val="300"/>
              </a:spcAft>
              <a:buClr>
                <a:srgbClr val="E7E6E6">
                  <a:lumMod val="50000"/>
                </a:srgbClr>
              </a:buClr>
              <a:buSzTx/>
              <a:buFont typeface="Arial" panose="020B0604020202020204" pitchFamily="34" charset="0"/>
              <a:buChar char="•"/>
              <a:tabLst/>
              <a:defRPr/>
            </a:pPr>
            <a:r>
              <a:rPr kumimoji="0" lang="en-US" sz="1400" b="0" i="0" u="none" strike="noStrike" kern="1200" cap="none" spc="0" normalizeH="0" baseline="0" noProof="0">
                <a:ln>
                  <a:noFill/>
                </a:ln>
                <a:solidFill>
                  <a:srgbClr val="304659"/>
                </a:solidFill>
                <a:effectLst/>
                <a:uLnTx/>
                <a:uFillTx/>
                <a:latin typeface="Calibri" panose="020F0502020204030204"/>
                <a:ea typeface="+mn-ea"/>
                <a:cs typeface="+mn-cs"/>
              </a:rPr>
              <a:t>Relevant numbers not included </a:t>
            </a:r>
            <a:br>
              <a:rPr kumimoji="0" lang="en-US" sz="1400" b="0" i="0" u="none" strike="noStrike" kern="1200" cap="none" spc="0" normalizeH="0" baseline="0" noProof="0">
                <a:ln>
                  <a:noFill/>
                </a:ln>
                <a:solidFill>
                  <a:srgbClr val="304659"/>
                </a:solidFill>
                <a:effectLst/>
                <a:uLnTx/>
                <a:uFillTx/>
                <a:latin typeface="Calibri" panose="020F0502020204030204"/>
                <a:ea typeface="+mn-ea"/>
                <a:cs typeface="+mn-cs"/>
              </a:rPr>
            </a:br>
            <a:r>
              <a:rPr kumimoji="0" lang="en-US" sz="1400" b="0" i="0" u="none" strike="noStrike" kern="1200" cap="none" spc="0" normalizeH="0" baseline="0" noProof="0">
                <a:ln>
                  <a:noFill/>
                </a:ln>
                <a:solidFill>
                  <a:srgbClr val="304659"/>
                </a:solidFill>
                <a:effectLst/>
                <a:uLnTx/>
                <a:uFillTx/>
                <a:latin typeface="Calibri" panose="020F0502020204030204"/>
                <a:ea typeface="+mn-ea"/>
                <a:cs typeface="+mn-cs"/>
              </a:rPr>
              <a:t>in response</a:t>
            </a:r>
          </a:p>
          <a:p>
            <a:pPr marL="171450" marR="0" lvl="0" indent="-171450" algn="l" defTabSz="914400" rtl="0" eaLnBrk="1" fontAlgn="auto" latinLnBrk="0" hangingPunct="1">
              <a:lnSpc>
                <a:spcPct val="100000"/>
              </a:lnSpc>
              <a:spcBef>
                <a:spcPts val="300"/>
              </a:spcBef>
              <a:spcAft>
                <a:spcPts val="300"/>
              </a:spcAft>
              <a:buClr>
                <a:srgbClr val="E7E6E6">
                  <a:lumMod val="50000"/>
                </a:srgbClr>
              </a:buClr>
              <a:buSzTx/>
              <a:buFont typeface="Arial" panose="020B0604020202020204" pitchFamily="34" charset="0"/>
              <a:buChar char="•"/>
              <a:tabLst/>
              <a:defRPr/>
            </a:pPr>
            <a:r>
              <a:rPr kumimoji="0" lang="en-US" sz="1400" b="0" i="0" u="none" strike="noStrike" kern="1200" cap="none" spc="0" normalizeH="0" baseline="0" noProof="0">
                <a:ln>
                  <a:noFill/>
                </a:ln>
                <a:solidFill>
                  <a:srgbClr val="304659"/>
                </a:solidFill>
                <a:effectLst/>
                <a:uLnTx/>
                <a:uFillTx/>
                <a:latin typeface="Calibri" panose="020F0502020204030204"/>
                <a:ea typeface="+mn-ea"/>
                <a:cs typeface="+mn-cs"/>
              </a:rPr>
              <a:t>Basic and less comprehensive response</a:t>
            </a:r>
          </a:p>
        </p:txBody>
      </p:sp>
      <p:sp>
        <p:nvSpPr>
          <p:cNvPr id="72" name="Rectangle: Rounded Corners 71">
            <a:extLst>
              <a:ext uri="{FF2B5EF4-FFF2-40B4-BE49-F238E27FC236}">
                <a16:creationId xmlns:a16="http://schemas.microsoft.com/office/drawing/2014/main" id="{965A25CF-5800-38D8-00B5-F560C999EFC0}"/>
              </a:ext>
            </a:extLst>
          </p:cNvPr>
          <p:cNvSpPr/>
          <p:nvPr/>
        </p:nvSpPr>
        <p:spPr>
          <a:xfrm>
            <a:off x="8631662" y="1545021"/>
            <a:ext cx="2950738" cy="4728779"/>
          </a:xfrm>
          <a:prstGeom prst="roundRect">
            <a:avLst>
              <a:gd name="adj" fmla="val 2947"/>
            </a:avLst>
          </a:prstGeom>
          <a:noFill/>
          <a:ln>
            <a:solidFill>
              <a:schemeClr val="accent3"/>
            </a:solidFill>
          </a:ln>
          <a:effectLst>
            <a:outerShdw blurRad="63500" algn="ctr" rotWithShape="0">
              <a:prstClr val="black">
                <a:alpha val="25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3" name="Rectangle 72">
            <a:extLst>
              <a:ext uri="{FF2B5EF4-FFF2-40B4-BE49-F238E27FC236}">
                <a16:creationId xmlns:a16="http://schemas.microsoft.com/office/drawing/2014/main" id="{17DD51B7-6C63-21E4-CD08-60530840AD9C}"/>
              </a:ext>
            </a:extLst>
          </p:cNvPr>
          <p:cNvSpPr/>
          <p:nvPr/>
        </p:nvSpPr>
        <p:spPr>
          <a:xfrm>
            <a:off x="8631662" y="1958280"/>
            <a:ext cx="2950738" cy="320088"/>
          </a:xfrm>
          <a:prstGeom prst="rect">
            <a:avLst/>
          </a:prstGeom>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Calibri" panose="020F0502020204030204"/>
                <a:ea typeface="+mn-ea"/>
                <a:cs typeface="+mn-cs"/>
              </a:rPr>
              <a:t>Improve Table Parsing</a:t>
            </a:r>
          </a:p>
        </p:txBody>
      </p:sp>
      <p:sp>
        <p:nvSpPr>
          <p:cNvPr id="51" name="TextBox 50">
            <a:extLst>
              <a:ext uri="{FF2B5EF4-FFF2-40B4-BE49-F238E27FC236}">
                <a16:creationId xmlns:a16="http://schemas.microsoft.com/office/drawing/2014/main" id="{5452C9F4-C79C-D679-61A0-8EF39CF8E1A8}"/>
              </a:ext>
            </a:extLst>
          </p:cNvPr>
          <p:cNvSpPr txBox="1"/>
          <p:nvPr/>
        </p:nvSpPr>
        <p:spPr>
          <a:xfrm>
            <a:off x="5671529" y="2318680"/>
            <a:ext cx="2820619" cy="430887"/>
          </a:xfrm>
          <a:prstGeom prst="rect">
            <a:avLst/>
          </a:prstGeom>
          <a:noFill/>
          <a:ln w="12700">
            <a:noFill/>
          </a:ln>
        </p:spPr>
        <p:txBody>
          <a:bodyPr wrap="square" lIns="0" tIns="0" rIns="0" bIns="0" anchor="t">
            <a:spAutoFit/>
          </a:bodyPr>
          <a:lstStyle/>
          <a:p>
            <a:pPr marL="171450" marR="0" lvl="0" indent="-171450" algn="l" defTabSz="914400" rtl="0" eaLnBrk="1" fontAlgn="auto" latinLnBrk="0" hangingPunct="1">
              <a:lnSpc>
                <a:spcPct val="100000"/>
              </a:lnSpc>
              <a:spcBef>
                <a:spcPts val="300"/>
              </a:spcBef>
              <a:spcAft>
                <a:spcPts val="300"/>
              </a:spcAft>
              <a:buClr>
                <a:srgbClr val="E7E6E6">
                  <a:lumMod val="50000"/>
                </a:srgbClr>
              </a:buClr>
              <a:buSzTx/>
              <a:buFont typeface="Arial" panose="020B0604020202020204" pitchFamily="34" charset="0"/>
              <a:buChar char="•"/>
              <a:tabLst/>
              <a:defRPr/>
            </a:pPr>
            <a:r>
              <a:rPr kumimoji="0" lang="en-US" sz="1400" b="0" i="0" u="none" strike="noStrike" kern="1200" cap="none" spc="0" normalizeH="0" baseline="0" noProof="0">
                <a:ln>
                  <a:noFill/>
                </a:ln>
                <a:solidFill>
                  <a:srgbClr val="304659"/>
                </a:solidFill>
                <a:effectLst/>
                <a:uLnTx/>
                <a:uFillTx/>
                <a:latin typeface="Calibri" panose="020F0502020204030204"/>
                <a:ea typeface="+mn-ea"/>
                <a:cs typeface="+mn-cs"/>
              </a:rPr>
              <a:t>Irrelevant data being included in </a:t>
            </a:r>
            <a:br>
              <a:rPr kumimoji="0" lang="en-US" sz="1400" b="0" i="0" u="none" strike="noStrike" kern="1200" cap="none" spc="0" normalizeH="0" baseline="0" noProof="0">
                <a:ln>
                  <a:noFill/>
                </a:ln>
                <a:solidFill>
                  <a:srgbClr val="304659"/>
                </a:solidFill>
                <a:effectLst/>
                <a:uLnTx/>
                <a:uFillTx/>
                <a:latin typeface="Calibri" panose="020F0502020204030204"/>
                <a:ea typeface="+mn-ea"/>
                <a:cs typeface="+mn-cs"/>
              </a:rPr>
            </a:br>
            <a:r>
              <a:rPr kumimoji="0" lang="en-US" sz="1400" b="0" i="0" u="none" strike="noStrike" kern="1200" cap="none" spc="0" normalizeH="0" baseline="0" noProof="0">
                <a:ln>
                  <a:noFill/>
                </a:ln>
                <a:solidFill>
                  <a:srgbClr val="304659"/>
                </a:solidFill>
                <a:effectLst/>
                <a:uLnTx/>
                <a:uFillTx/>
                <a:latin typeface="Calibri" panose="020F0502020204030204"/>
                <a:ea typeface="+mn-ea"/>
                <a:cs typeface="+mn-cs"/>
              </a:rPr>
              <a:t>the response</a:t>
            </a:r>
          </a:p>
        </p:txBody>
      </p:sp>
      <p:sp>
        <p:nvSpPr>
          <p:cNvPr id="100" name="TextBox 99">
            <a:extLst>
              <a:ext uri="{FF2B5EF4-FFF2-40B4-BE49-F238E27FC236}">
                <a16:creationId xmlns:a16="http://schemas.microsoft.com/office/drawing/2014/main" id="{B729D7BF-C081-5F8B-AF21-BAFCF7333F68}"/>
              </a:ext>
            </a:extLst>
          </p:cNvPr>
          <p:cNvSpPr txBox="1"/>
          <p:nvPr/>
        </p:nvSpPr>
        <p:spPr>
          <a:xfrm>
            <a:off x="8696721" y="2318680"/>
            <a:ext cx="2820619" cy="646331"/>
          </a:xfrm>
          <a:prstGeom prst="rect">
            <a:avLst/>
          </a:prstGeom>
          <a:noFill/>
          <a:ln w="12700">
            <a:noFill/>
          </a:ln>
        </p:spPr>
        <p:txBody>
          <a:bodyPr wrap="square" lIns="0" tIns="0" rIns="0" bIns="0" anchor="t">
            <a:spAutoFit/>
          </a:bodyPr>
          <a:lstStyle/>
          <a:p>
            <a:pPr marL="171450" marR="0" lvl="0" indent="-171450" algn="l" defTabSz="914400" rtl="0" eaLnBrk="1" fontAlgn="auto" latinLnBrk="0" hangingPunct="1">
              <a:lnSpc>
                <a:spcPct val="100000"/>
              </a:lnSpc>
              <a:spcBef>
                <a:spcPts val="300"/>
              </a:spcBef>
              <a:spcAft>
                <a:spcPts val="300"/>
              </a:spcAft>
              <a:buClr>
                <a:srgbClr val="E7E6E6">
                  <a:lumMod val="50000"/>
                </a:srgbClr>
              </a:buClr>
              <a:buSzTx/>
              <a:buFont typeface="Arial" panose="020B0604020202020204" pitchFamily="34" charset="0"/>
              <a:buChar char="•"/>
              <a:tabLst/>
              <a:defRPr/>
            </a:pPr>
            <a:r>
              <a:rPr kumimoji="0" lang="en-US" sz="1400" b="0" i="0" u="none" strike="noStrike" kern="1200" cap="none" spc="0" normalizeH="0" baseline="0" noProof="0">
                <a:ln>
                  <a:noFill/>
                </a:ln>
                <a:solidFill>
                  <a:srgbClr val="304659"/>
                </a:solidFill>
                <a:effectLst/>
                <a:uLnTx/>
                <a:uFillTx/>
                <a:latin typeface="Calibri" panose="020F0502020204030204"/>
                <a:ea typeface="+mn-ea"/>
                <a:cs typeface="+mn-cs"/>
              </a:rPr>
              <a:t>Relevant information from the </a:t>
            </a:r>
            <a:br>
              <a:rPr kumimoji="0" lang="en-US" sz="1400" b="0" i="0" u="none" strike="noStrike" kern="1200" cap="none" spc="0" normalizeH="0" baseline="0" noProof="0">
                <a:ln>
                  <a:noFill/>
                </a:ln>
                <a:solidFill>
                  <a:srgbClr val="304659"/>
                </a:solidFill>
                <a:effectLst/>
                <a:uLnTx/>
                <a:uFillTx/>
                <a:latin typeface="Calibri" panose="020F0502020204030204"/>
                <a:ea typeface="+mn-ea"/>
                <a:cs typeface="+mn-cs"/>
              </a:rPr>
            </a:br>
            <a:r>
              <a:rPr kumimoji="0" lang="en-US" sz="1400" b="0" i="0" u="none" strike="noStrike" kern="1200" cap="none" spc="0" normalizeH="0" baseline="0" noProof="0">
                <a:ln>
                  <a:noFill/>
                </a:ln>
                <a:solidFill>
                  <a:srgbClr val="304659"/>
                </a:solidFill>
                <a:effectLst/>
                <a:uLnTx/>
                <a:uFillTx/>
                <a:latin typeface="Calibri" panose="020F0502020204030204"/>
                <a:ea typeface="+mn-ea"/>
                <a:cs typeface="+mn-cs"/>
              </a:rPr>
              <a:t>table are not being shown in the </a:t>
            </a:r>
            <a:br>
              <a:rPr kumimoji="0" lang="en-US" sz="1400" b="0" i="0" u="none" strike="noStrike" kern="1200" cap="none" spc="0" normalizeH="0" baseline="0" noProof="0">
                <a:ln>
                  <a:noFill/>
                </a:ln>
                <a:solidFill>
                  <a:srgbClr val="304659"/>
                </a:solidFill>
                <a:effectLst/>
                <a:uLnTx/>
                <a:uFillTx/>
                <a:latin typeface="Calibri" panose="020F0502020204030204"/>
                <a:ea typeface="+mn-ea"/>
                <a:cs typeface="+mn-cs"/>
              </a:rPr>
            </a:br>
            <a:r>
              <a:rPr kumimoji="0" lang="en-US" sz="1400" b="0" i="0" u="none" strike="noStrike" kern="1200" cap="none" spc="0" normalizeH="0" baseline="0" noProof="0">
                <a:ln>
                  <a:noFill/>
                </a:ln>
                <a:solidFill>
                  <a:srgbClr val="304659"/>
                </a:solidFill>
                <a:effectLst/>
                <a:uLnTx/>
                <a:uFillTx/>
                <a:latin typeface="Calibri" panose="020F0502020204030204"/>
                <a:ea typeface="+mn-ea"/>
                <a:cs typeface="+mn-cs"/>
              </a:rPr>
              <a:t>initial prompt</a:t>
            </a:r>
          </a:p>
        </p:txBody>
      </p:sp>
      <p:grpSp>
        <p:nvGrpSpPr>
          <p:cNvPr id="17" name="Group 16">
            <a:extLst>
              <a:ext uri="{FF2B5EF4-FFF2-40B4-BE49-F238E27FC236}">
                <a16:creationId xmlns:a16="http://schemas.microsoft.com/office/drawing/2014/main" id="{4DDFA40E-537E-338B-54A2-F0683F720AE5}"/>
              </a:ext>
            </a:extLst>
          </p:cNvPr>
          <p:cNvGrpSpPr/>
          <p:nvPr/>
        </p:nvGrpSpPr>
        <p:grpSpPr>
          <a:xfrm>
            <a:off x="2646336" y="3491128"/>
            <a:ext cx="8871005" cy="1938992"/>
            <a:chOff x="2184526" y="3489019"/>
            <a:chExt cx="9329450" cy="1938992"/>
          </a:xfrm>
        </p:grpSpPr>
        <p:sp>
          <p:nvSpPr>
            <p:cNvPr id="32" name="TextBox 31">
              <a:extLst>
                <a:ext uri="{FF2B5EF4-FFF2-40B4-BE49-F238E27FC236}">
                  <a16:creationId xmlns:a16="http://schemas.microsoft.com/office/drawing/2014/main" id="{47C8AD86-C020-7180-942F-7A9FD36DDCE8}"/>
                </a:ext>
              </a:extLst>
            </p:cNvPr>
            <p:cNvSpPr txBox="1"/>
            <p:nvPr/>
          </p:nvSpPr>
          <p:spPr>
            <a:xfrm>
              <a:off x="2184526" y="3489019"/>
              <a:ext cx="2966386" cy="1077218"/>
            </a:xfrm>
            <a:prstGeom prst="rect">
              <a:avLst/>
            </a:prstGeom>
            <a:noFill/>
            <a:ln w="12700">
              <a:noFill/>
            </a:ln>
          </p:spPr>
          <p:txBody>
            <a:bodyPr wrap="square" lIns="0" tIns="0" rIns="0" bIns="0" anchor="t">
              <a:spAutoFit/>
            </a:bodyPr>
            <a:lstStyle/>
            <a:p>
              <a:pPr marL="171450" marR="0" lvl="0" indent="-171450" algn="l" defTabSz="914400" rtl="0" eaLnBrk="1" fontAlgn="auto" latinLnBrk="0" hangingPunct="1">
                <a:lnSpc>
                  <a:spcPct val="100000"/>
                </a:lnSpc>
                <a:spcBef>
                  <a:spcPts val="300"/>
                </a:spcBef>
                <a:spcAft>
                  <a:spcPts val="300"/>
                </a:spcAft>
                <a:buClr>
                  <a:srgbClr val="E7E6E6">
                    <a:lumMod val="50000"/>
                  </a:srgbClr>
                </a:buClr>
                <a:buSzTx/>
                <a:buFont typeface="Arial" panose="020B0604020202020204" pitchFamily="34" charset="0"/>
                <a:buChar char="•"/>
                <a:tabLst/>
                <a:defRPr/>
              </a:pPr>
              <a:r>
                <a:rPr kumimoji="0" lang="en-US" sz="1400" b="0" i="0" u="none" strike="noStrike" kern="1200" cap="none" spc="0" normalizeH="0" baseline="0" noProof="0">
                  <a:ln>
                    <a:noFill/>
                  </a:ln>
                  <a:solidFill>
                    <a:srgbClr val="304659"/>
                  </a:solidFill>
                  <a:effectLst/>
                  <a:uLnTx/>
                  <a:uFillTx/>
                  <a:latin typeface="Calibri" panose="020F0502020204030204"/>
                  <a:ea typeface="+mn-ea"/>
                  <a:cs typeface="+mn-cs"/>
                </a:rPr>
                <a:t>Prompt engineering could be tuned to include relevant numbers in the response. User prompt could be tuned to include more details expected out of the response</a:t>
              </a:r>
            </a:p>
          </p:txBody>
        </p:sp>
        <p:sp>
          <p:nvSpPr>
            <p:cNvPr id="50" name="TextBox 49">
              <a:extLst>
                <a:ext uri="{FF2B5EF4-FFF2-40B4-BE49-F238E27FC236}">
                  <a16:creationId xmlns:a16="http://schemas.microsoft.com/office/drawing/2014/main" id="{BEBC0D57-FF98-BB8D-9FDA-935F0548E9F9}"/>
                </a:ext>
              </a:extLst>
            </p:cNvPr>
            <p:cNvSpPr txBox="1"/>
            <p:nvPr/>
          </p:nvSpPr>
          <p:spPr>
            <a:xfrm>
              <a:off x="5366059" y="3489019"/>
              <a:ext cx="2966386" cy="1938992"/>
            </a:xfrm>
            <a:prstGeom prst="rect">
              <a:avLst/>
            </a:prstGeom>
            <a:noFill/>
            <a:ln w="12700">
              <a:noFill/>
            </a:ln>
          </p:spPr>
          <p:txBody>
            <a:bodyPr wrap="square" lIns="0" tIns="0" rIns="0" bIns="0" anchor="t">
              <a:spAutoFit/>
            </a:bodyPr>
            <a:lstStyle/>
            <a:p>
              <a:pPr marL="171450" marR="0" lvl="0" indent="-171450" algn="l" defTabSz="914400" rtl="0" eaLnBrk="1" fontAlgn="auto" latinLnBrk="0" hangingPunct="1">
                <a:lnSpc>
                  <a:spcPct val="100000"/>
                </a:lnSpc>
                <a:spcBef>
                  <a:spcPts val="300"/>
                </a:spcBef>
                <a:spcAft>
                  <a:spcPts val="300"/>
                </a:spcAft>
                <a:buClr>
                  <a:srgbClr val="E7E6E6">
                    <a:lumMod val="50000"/>
                  </a:srgbClr>
                </a:buClr>
                <a:buSzTx/>
                <a:buFont typeface="Arial" panose="020B0604020202020204" pitchFamily="34" charset="0"/>
                <a:buChar char="•"/>
                <a:tabLst/>
                <a:defRPr/>
              </a:pPr>
              <a:r>
                <a:rPr kumimoji="0" lang="en-US" sz="1400" b="0" i="0" u="none" strike="noStrike" kern="1200" cap="none" spc="0" normalizeH="0" baseline="0" noProof="0">
                  <a:ln>
                    <a:noFill/>
                  </a:ln>
                  <a:solidFill>
                    <a:srgbClr val="304659"/>
                  </a:solidFill>
                  <a:effectLst/>
                  <a:uLnTx/>
                  <a:uFillTx/>
                  <a:latin typeface="Calibri" panose="020F0502020204030204"/>
                  <a:ea typeface="+mn-ea"/>
                  <a:cs typeface="+mn-cs"/>
                </a:rPr>
                <a:t>Re-ranking enhances the retrieval process by refining the set of </a:t>
              </a:r>
              <a:br>
                <a:rPr kumimoji="0" lang="en-US" sz="1400" b="0" i="0" u="none" strike="noStrike" kern="1200" cap="none" spc="0" normalizeH="0" baseline="0" noProof="0">
                  <a:ln>
                    <a:noFill/>
                  </a:ln>
                  <a:solidFill>
                    <a:srgbClr val="304659"/>
                  </a:solidFill>
                  <a:effectLst/>
                  <a:uLnTx/>
                  <a:uFillTx/>
                  <a:latin typeface="Calibri" panose="020F0502020204030204"/>
                  <a:ea typeface="+mn-ea"/>
                  <a:cs typeface="+mn-cs"/>
                </a:rPr>
              </a:br>
              <a:r>
                <a:rPr kumimoji="0" lang="en-US" sz="1400" b="0" i="0" u="none" strike="noStrike" kern="1200" cap="none" spc="0" normalizeH="0" baseline="0" noProof="0">
                  <a:ln>
                    <a:noFill/>
                  </a:ln>
                  <a:solidFill>
                    <a:srgbClr val="304659"/>
                  </a:solidFill>
                  <a:effectLst/>
                  <a:uLnTx/>
                  <a:uFillTx/>
                  <a:latin typeface="Calibri" panose="020F0502020204030204"/>
                  <a:ea typeface="+mn-ea"/>
                  <a:cs typeface="+mn-cs"/>
                </a:rPr>
                <a:t>retrieved items, ensuring that the most relevant ones are considered for the user prompt- Refining the Re-ranking technique would generate a better score for the chunks, enabling the most relevant ones to appear in the response</a:t>
              </a:r>
            </a:p>
          </p:txBody>
        </p:sp>
        <p:sp>
          <p:nvSpPr>
            <p:cNvPr id="103" name="TextBox 102">
              <a:extLst>
                <a:ext uri="{FF2B5EF4-FFF2-40B4-BE49-F238E27FC236}">
                  <a16:creationId xmlns:a16="http://schemas.microsoft.com/office/drawing/2014/main" id="{DC476872-D20A-D6D2-4CA4-B4C9457FA1E6}"/>
                </a:ext>
              </a:extLst>
            </p:cNvPr>
            <p:cNvSpPr txBox="1"/>
            <p:nvPr/>
          </p:nvSpPr>
          <p:spPr>
            <a:xfrm>
              <a:off x="8547590" y="3489019"/>
              <a:ext cx="2966386" cy="1154162"/>
            </a:xfrm>
            <a:prstGeom prst="rect">
              <a:avLst/>
            </a:prstGeom>
            <a:noFill/>
            <a:ln w="12700">
              <a:noFill/>
            </a:ln>
          </p:spPr>
          <p:txBody>
            <a:bodyPr wrap="square" lIns="0" tIns="0" rIns="0" bIns="0" anchor="t">
              <a:spAutoFit/>
            </a:bodyPr>
            <a:lstStyle/>
            <a:p>
              <a:pPr marL="171450" marR="0" lvl="0" indent="-171450" algn="l" defTabSz="914400" rtl="0" eaLnBrk="1" fontAlgn="auto" latinLnBrk="0" hangingPunct="1">
                <a:lnSpc>
                  <a:spcPct val="100000"/>
                </a:lnSpc>
                <a:spcBef>
                  <a:spcPts val="300"/>
                </a:spcBef>
                <a:spcAft>
                  <a:spcPts val="300"/>
                </a:spcAft>
                <a:buClr>
                  <a:srgbClr val="E7E6E6">
                    <a:lumMod val="50000"/>
                  </a:srgbClr>
                </a:buClr>
                <a:buSzTx/>
                <a:buFont typeface="Arial" panose="020B0604020202020204" pitchFamily="34" charset="0"/>
                <a:buChar char="•"/>
                <a:tabLst/>
                <a:defRPr/>
              </a:pPr>
              <a:r>
                <a:rPr kumimoji="0" lang="en-US" sz="1400" b="0" i="0" u="none" strike="noStrike" kern="1200" cap="none" spc="0" normalizeH="0" baseline="0" noProof="0" err="1">
                  <a:ln>
                    <a:noFill/>
                  </a:ln>
                  <a:solidFill>
                    <a:srgbClr val="304659"/>
                  </a:solidFill>
                  <a:effectLst/>
                  <a:uLnTx/>
                  <a:uFillTx/>
                  <a:latin typeface="Calibri" panose="020F0502020204030204"/>
                  <a:ea typeface="+mn-ea"/>
                  <a:cs typeface="+mn-cs"/>
                </a:rPr>
                <a:t>Analyse</a:t>
              </a:r>
              <a:r>
                <a:rPr kumimoji="0" lang="en-US" sz="1400" b="0" i="0" u="none" strike="noStrike" kern="1200" cap="none" spc="0" normalizeH="0" baseline="0" noProof="0">
                  <a:ln>
                    <a:noFill/>
                  </a:ln>
                  <a:solidFill>
                    <a:srgbClr val="304659"/>
                  </a:solidFill>
                  <a:effectLst/>
                  <a:uLnTx/>
                  <a:uFillTx/>
                  <a:latin typeface="Calibri" panose="020F0502020204030204"/>
                  <a:ea typeface="+mn-ea"/>
                  <a:cs typeface="+mn-cs"/>
                </a:rPr>
                <a:t> the </a:t>
              </a:r>
              <a:r>
                <a:rPr kumimoji="0" lang="en-US" sz="1400" b="0" i="0" u="none" strike="noStrike" kern="1200" cap="none" spc="0" normalizeH="0" baseline="0" noProof="0" err="1">
                  <a:ln>
                    <a:noFill/>
                  </a:ln>
                  <a:solidFill>
                    <a:srgbClr val="304659"/>
                  </a:solidFill>
                  <a:effectLst/>
                  <a:uLnTx/>
                  <a:uFillTx/>
                  <a:latin typeface="Calibri" panose="020F0502020204030204"/>
                  <a:ea typeface="+mn-ea"/>
                  <a:cs typeface="+mn-cs"/>
                </a:rPr>
                <a:t>textract</a:t>
              </a:r>
              <a:r>
                <a:rPr kumimoji="0" lang="en-US" sz="1400" b="0" i="0" u="none" strike="noStrike" kern="1200" cap="none" spc="0" normalizeH="0" baseline="0" noProof="0">
                  <a:ln>
                    <a:noFill/>
                  </a:ln>
                  <a:solidFill>
                    <a:srgbClr val="304659"/>
                  </a:solidFill>
                  <a:effectLst/>
                  <a:uLnTx/>
                  <a:uFillTx/>
                  <a:latin typeface="Calibri" panose="020F0502020204030204"/>
                  <a:ea typeface="+mn-ea"/>
                  <a:cs typeface="+mn-cs"/>
                </a:rPr>
                <a:t>-extracted table output </a:t>
              </a:r>
            </a:p>
            <a:p>
              <a:pPr marL="171450" marR="0" lvl="0" indent="-171450" algn="l" defTabSz="914400" rtl="0" eaLnBrk="1" fontAlgn="auto" latinLnBrk="0" hangingPunct="1">
                <a:lnSpc>
                  <a:spcPct val="100000"/>
                </a:lnSpc>
                <a:spcBef>
                  <a:spcPts val="300"/>
                </a:spcBef>
                <a:spcAft>
                  <a:spcPts val="300"/>
                </a:spcAft>
                <a:buClr>
                  <a:srgbClr val="E7E6E6">
                    <a:lumMod val="50000"/>
                  </a:srgbClr>
                </a:buClr>
                <a:buSzTx/>
                <a:buFont typeface="Arial" panose="020B0604020202020204" pitchFamily="34" charset="0"/>
                <a:buChar char="•"/>
                <a:tabLst/>
                <a:defRPr/>
              </a:pPr>
              <a:r>
                <a:rPr kumimoji="0" lang="en-US" sz="1400" b="0" i="0" u="none" strike="noStrike" kern="1200" cap="none" spc="0" normalizeH="0" baseline="0" noProof="0" err="1">
                  <a:ln>
                    <a:noFill/>
                  </a:ln>
                  <a:solidFill>
                    <a:srgbClr val="304659"/>
                  </a:solidFill>
                  <a:effectLst/>
                  <a:uLnTx/>
                  <a:uFillTx/>
                  <a:latin typeface="Calibri" panose="020F0502020204030204"/>
                  <a:ea typeface="+mn-ea"/>
                  <a:cs typeface="+mn-cs"/>
                </a:rPr>
                <a:t>Analyse</a:t>
              </a:r>
              <a:r>
                <a:rPr kumimoji="0" lang="en-US" sz="1400" b="0" i="0" u="none" strike="noStrike" kern="1200" cap="none" spc="0" normalizeH="0" baseline="0" noProof="0">
                  <a:ln>
                    <a:noFill/>
                  </a:ln>
                  <a:solidFill>
                    <a:srgbClr val="304659"/>
                  </a:solidFill>
                  <a:effectLst/>
                  <a:uLnTx/>
                  <a:uFillTx/>
                  <a:latin typeface="Calibri" panose="020F0502020204030204"/>
                  <a:ea typeface="+mn-ea"/>
                  <a:cs typeface="+mn-cs"/>
                </a:rPr>
                <a:t> the semantic chunking of the extract. Necessary fixes can be applied based on these analysis</a:t>
              </a:r>
            </a:p>
          </p:txBody>
        </p:sp>
      </p:grpSp>
      <p:grpSp>
        <p:nvGrpSpPr>
          <p:cNvPr id="21" name="Group 20">
            <a:extLst>
              <a:ext uri="{FF2B5EF4-FFF2-40B4-BE49-F238E27FC236}">
                <a16:creationId xmlns:a16="http://schemas.microsoft.com/office/drawing/2014/main" id="{FF31AFA1-E70D-4047-8D06-838A96717512}"/>
              </a:ext>
            </a:extLst>
          </p:cNvPr>
          <p:cNvGrpSpPr/>
          <p:nvPr/>
        </p:nvGrpSpPr>
        <p:grpSpPr>
          <a:xfrm>
            <a:off x="2646336" y="3443515"/>
            <a:ext cx="8871005" cy="0"/>
            <a:chOff x="2184526" y="3259766"/>
            <a:chExt cx="9329450" cy="0"/>
          </a:xfrm>
        </p:grpSpPr>
        <p:cxnSp>
          <p:nvCxnSpPr>
            <p:cNvPr id="45" name="Straight Connector 44">
              <a:extLst>
                <a:ext uri="{FF2B5EF4-FFF2-40B4-BE49-F238E27FC236}">
                  <a16:creationId xmlns:a16="http://schemas.microsoft.com/office/drawing/2014/main" id="{174F9B8B-9502-46A1-6C1A-658D1F0EA7B1}"/>
                </a:ext>
              </a:extLst>
            </p:cNvPr>
            <p:cNvCxnSpPr/>
            <p:nvPr/>
          </p:nvCxnSpPr>
          <p:spPr>
            <a:xfrm>
              <a:off x="2184526" y="3259766"/>
              <a:ext cx="296638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6F51683F-38BA-D50C-D498-09FF4D830A90}"/>
                </a:ext>
              </a:extLst>
            </p:cNvPr>
            <p:cNvCxnSpPr/>
            <p:nvPr/>
          </p:nvCxnSpPr>
          <p:spPr>
            <a:xfrm>
              <a:off x="5366059" y="3259766"/>
              <a:ext cx="296638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2C1660AF-E414-DBA7-54FB-0571E53D6FBD}"/>
                </a:ext>
              </a:extLst>
            </p:cNvPr>
            <p:cNvCxnSpPr/>
            <p:nvPr/>
          </p:nvCxnSpPr>
          <p:spPr>
            <a:xfrm>
              <a:off x="8547590" y="3259766"/>
              <a:ext cx="296638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 name="Rectangle: Top Corners Rounded 5">
            <a:extLst>
              <a:ext uri="{FF2B5EF4-FFF2-40B4-BE49-F238E27FC236}">
                <a16:creationId xmlns:a16="http://schemas.microsoft.com/office/drawing/2014/main" id="{4BFCBD8A-AED1-1654-B8E6-93E1EFD8815E}"/>
              </a:ext>
            </a:extLst>
          </p:cNvPr>
          <p:cNvSpPr/>
          <p:nvPr/>
        </p:nvSpPr>
        <p:spPr>
          <a:xfrm rot="16200000" flipH="1">
            <a:off x="1056829" y="1871455"/>
            <a:ext cx="1077220" cy="1971672"/>
          </a:xfrm>
          <a:prstGeom prst="round2SameRect">
            <a:avLst>
              <a:gd name="adj1" fmla="val 8489"/>
              <a:gd name="adj2" fmla="val 0"/>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Rectangle: Top Corners Rounded 6">
            <a:extLst>
              <a:ext uri="{FF2B5EF4-FFF2-40B4-BE49-F238E27FC236}">
                <a16:creationId xmlns:a16="http://schemas.microsoft.com/office/drawing/2014/main" id="{10AA4C42-2DCA-6005-3D04-91101F5A6501}"/>
              </a:ext>
            </a:extLst>
          </p:cNvPr>
          <p:cNvSpPr/>
          <p:nvPr/>
        </p:nvSpPr>
        <p:spPr>
          <a:xfrm rot="16200000" flipH="1">
            <a:off x="250493" y="3850238"/>
            <a:ext cx="2689891" cy="1971673"/>
          </a:xfrm>
          <a:prstGeom prst="round2SameRect">
            <a:avLst>
              <a:gd name="adj1" fmla="val 6070"/>
              <a:gd name="adj2" fmla="val 0"/>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wrap="square" lIns="54864" tIns="36576" rIns="54864" bIns="36576"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4261AECB-5FD4-5DA1-1832-EA3CC513FAB7}"/>
              </a:ext>
            </a:extLst>
          </p:cNvPr>
          <p:cNvSpPr txBox="1"/>
          <p:nvPr/>
        </p:nvSpPr>
        <p:spPr>
          <a:xfrm>
            <a:off x="609603" y="2564903"/>
            <a:ext cx="1060803" cy="584775"/>
          </a:xfrm>
          <a:prstGeom prst="rect">
            <a:avLst/>
          </a:prstGeom>
          <a:noFill/>
        </p:spPr>
        <p:txBody>
          <a:bodyPr wrap="none" rtlCol="0">
            <a:spAutoFit/>
          </a:bodyPr>
          <a:lstStyle/>
          <a:p>
            <a:pPr marL="3175">
              <a:spcBef>
                <a:spcPts val="600"/>
              </a:spcBef>
              <a:spcAft>
                <a:spcPts val="600"/>
              </a:spcAft>
              <a:buClr>
                <a:srgbClr val="303030">
                  <a:lumMod val="50000"/>
                  <a:lumOff val="50000"/>
                </a:srgbClr>
              </a:buClr>
            </a:pPr>
            <a:r>
              <a:rPr lang="en-US" sz="1600" b="1" kern="1200">
                <a:solidFill>
                  <a:schemeClr val="bg1"/>
                </a:solidFill>
                <a:effectLst/>
                <a:latin typeface="Calibri" panose="020F0502020204030204" pitchFamily="34" charset="0"/>
                <a:ea typeface="+mn-ea"/>
                <a:cs typeface="Tahoma" panose="020B0604030504040204" pitchFamily="34" charset="0"/>
              </a:rPr>
              <a:t>Problem </a:t>
            </a:r>
            <a:br>
              <a:rPr lang="en-US" sz="1600" b="1" kern="1200">
                <a:solidFill>
                  <a:schemeClr val="bg1"/>
                </a:solidFill>
                <a:effectLst/>
                <a:latin typeface="Calibri" panose="020F0502020204030204" pitchFamily="34" charset="0"/>
                <a:ea typeface="+mn-ea"/>
                <a:cs typeface="Tahoma" panose="020B0604030504040204" pitchFamily="34" charset="0"/>
              </a:rPr>
            </a:br>
            <a:r>
              <a:rPr lang="en-US" sz="1600" b="1" kern="1200">
                <a:solidFill>
                  <a:schemeClr val="bg1"/>
                </a:solidFill>
                <a:effectLst/>
                <a:latin typeface="Calibri" panose="020F0502020204030204" pitchFamily="34" charset="0"/>
                <a:ea typeface="+mn-ea"/>
                <a:cs typeface="Tahoma" panose="020B0604030504040204" pitchFamily="34" charset="0"/>
              </a:rPr>
              <a:t>addressed</a:t>
            </a:r>
          </a:p>
        </p:txBody>
      </p:sp>
      <p:sp>
        <p:nvSpPr>
          <p:cNvPr id="36" name="Oval 35">
            <a:extLst>
              <a:ext uri="{FF2B5EF4-FFF2-40B4-BE49-F238E27FC236}">
                <a16:creationId xmlns:a16="http://schemas.microsoft.com/office/drawing/2014/main" id="{71F0BEC2-5D60-7AD9-DA66-E1B44E059698}"/>
              </a:ext>
            </a:extLst>
          </p:cNvPr>
          <p:cNvSpPr/>
          <p:nvPr/>
        </p:nvSpPr>
        <p:spPr>
          <a:xfrm>
            <a:off x="1777300" y="2504688"/>
            <a:ext cx="705205" cy="705205"/>
          </a:xfrm>
          <a:prstGeom prst="ellipse">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7" name="Oval 36">
            <a:extLst>
              <a:ext uri="{FF2B5EF4-FFF2-40B4-BE49-F238E27FC236}">
                <a16:creationId xmlns:a16="http://schemas.microsoft.com/office/drawing/2014/main" id="{F0563954-409F-50A7-0DAE-B3B3247F8C0E}"/>
              </a:ext>
            </a:extLst>
          </p:cNvPr>
          <p:cNvSpPr/>
          <p:nvPr/>
        </p:nvSpPr>
        <p:spPr>
          <a:xfrm>
            <a:off x="1837862" y="2565251"/>
            <a:ext cx="584081" cy="584081"/>
          </a:xfrm>
          <a:prstGeom prst="ellipse">
            <a:avLst/>
          </a:prstGeom>
          <a:noFill/>
          <a:ln>
            <a:solidFill>
              <a:schemeClr val="tx1"/>
            </a:solidFill>
            <a:prstDash val="dash"/>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3" name="Group 22">
            <a:extLst>
              <a:ext uri="{FF2B5EF4-FFF2-40B4-BE49-F238E27FC236}">
                <a16:creationId xmlns:a16="http://schemas.microsoft.com/office/drawing/2014/main" id="{5AD7660F-D735-243E-3712-E6A6E5E1E454}"/>
              </a:ext>
            </a:extLst>
          </p:cNvPr>
          <p:cNvGrpSpPr/>
          <p:nvPr/>
        </p:nvGrpSpPr>
        <p:grpSpPr>
          <a:xfrm>
            <a:off x="3704042" y="1197089"/>
            <a:ext cx="705205" cy="705205"/>
            <a:chOff x="2870145" y="1117599"/>
            <a:chExt cx="906737" cy="906737"/>
          </a:xfrm>
        </p:grpSpPr>
        <p:grpSp>
          <p:nvGrpSpPr>
            <p:cNvPr id="20" name="Group 19">
              <a:extLst>
                <a:ext uri="{FF2B5EF4-FFF2-40B4-BE49-F238E27FC236}">
                  <a16:creationId xmlns:a16="http://schemas.microsoft.com/office/drawing/2014/main" id="{7212D3A5-E6F6-F0F2-3846-2CD59DA03193}"/>
                </a:ext>
              </a:extLst>
            </p:cNvPr>
            <p:cNvGrpSpPr/>
            <p:nvPr/>
          </p:nvGrpSpPr>
          <p:grpSpPr>
            <a:xfrm>
              <a:off x="2870145" y="1117599"/>
              <a:ext cx="906737" cy="906737"/>
              <a:chOff x="2870145" y="1117599"/>
              <a:chExt cx="906737" cy="906737"/>
            </a:xfrm>
          </p:grpSpPr>
          <p:sp>
            <p:nvSpPr>
              <p:cNvPr id="18" name="Oval 17">
                <a:extLst>
                  <a:ext uri="{FF2B5EF4-FFF2-40B4-BE49-F238E27FC236}">
                    <a16:creationId xmlns:a16="http://schemas.microsoft.com/office/drawing/2014/main" id="{71B74D2E-F18B-3F1A-D5F0-5AC0D601B8A1}"/>
                  </a:ext>
                </a:extLst>
              </p:cNvPr>
              <p:cNvSpPr/>
              <p:nvPr/>
            </p:nvSpPr>
            <p:spPr>
              <a:xfrm>
                <a:off x="2870145" y="1117599"/>
                <a:ext cx="906737" cy="906737"/>
              </a:xfrm>
              <a:prstGeom prst="ellipse">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Oval 18">
                <a:extLst>
                  <a:ext uri="{FF2B5EF4-FFF2-40B4-BE49-F238E27FC236}">
                    <a16:creationId xmlns:a16="http://schemas.microsoft.com/office/drawing/2014/main" id="{B6DEE29C-2391-D462-F8B3-65FBDD5734E7}"/>
                  </a:ext>
                </a:extLst>
              </p:cNvPr>
              <p:cNvSpPr/>
              <p:nvPr/>
            </p:nvSpPr>
            <p:spPr>
              <a:xfrm>
                <a:off x="2948014" y="1195469"/>
                <a:ext cx="750998" cy="750998"/>
              </a:xfrm>
              <a:prstGeom prst="ellipse">
                <a:avLst/>
              </a:prstGeom>
              <a:noFill/>
              <a:ln>
                <a:solidFill>
                  <a:schemeClr val="bg1"/>
                </a:solidFill>
                <a:prstDash val="dash"/>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pic>
          <p:nvPicPr>
            <p:cNvPr id="22" name="Graphic 21">
              <a:extLst>
                <a:ext uri="{FF2B5EF4-FFF2-40B4-BE49-F238E27FC236}">
                  <a16:creationId xmlns:a16="http://schemas.microsoft.com/office/drawing/2014/main" id="{1185EEB6-1B5F-1B9B-53A5-265C3FA21048}"/>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3085456" y="1332911"/>
              <a:ext cx="476114" cy="476114"/>
            </a:xfrm>
            <a:prstGeom prst="rect">
              <a:avLst/>
            </a:prstGeom>
          </p:spPr>
        </p:pic>
      </p:grpSp>
      <p:grpSp>
        <p:nvGrpSpPr>
          <p:cNvPr id="80" name="Group 79">
            <a:extLst>
              <a:ext uri="{FF2B5EF4-FFF2-40B4-BE49-F238E27FC236}">
                <a16:creationId xmlns:a16="http://schemas.microsoft.com/office/drawing/2014/main" id="{452CA1EE-7F92-C923-C0A0-D2AAD8F6EA85}"/>
              </a:ext>
            </a:extLst>
          </p:cNvPr>
          <p:cNvGrpSpPr/>
          <p:nvPr/>
        </p:nvGrpSpPr>
        <p:grpSpPr>
          <a:xfrm>
            <a:off x="6729235" y="1197089"/>
            <a:ext cx="705205" cy="705205"/>
            <a:chOff x="5642632" y="1117599"/>
            <a:chExt cx="906737" cy="906737"/>
          </a:xfrm>
        </p:grpSpPr>
        <p:grpSp>
          <p:nvGrpSpPr>
            <p:cNvPr id="25" name="Group 24">
              <a:extLst>
                <a:ext uri="{FF2B5EF4-FFF2-40B4-BE49-F238E27FC236}">
                  <a16:creationId xmlns:a16="http://schemas.microsoft.com/office/drawing/2014/main" id="{52EB9876-25B2-43EB-28B2-8B1312DF32CB}"/>
                </a:ext>
              </a:extLst>
            </p:cNvPr>
            <p:cNvGrpSpPr/>
            <p:nvPr/>
          </p:nvGrpSpPr>
          <p:grpSpPr>
            <a:xfrm>
              <a:off x="5642632" y="1117599"/>
              <a:ext cx="906737" cy="906737"/>
              <a:chOff x="2870145" y="1117599"/>
              <a:chExt cx="906737" cy="906737"/>
            </a:xfrm>
          </p:grpSpPr>
          <p:sp>
            <p:nvSpPr>
              <p:cNvPr id="27" name="Oval 26">
                <a:extLst>
                  <a:ext uri="{FF2B5EF4-FFF2-40B4-BE49-F238E27FC236}">
                    <a16:creationId xmlns:a16="http://schemas.microsoft.com/office/drawing/2014/main" id="{ABF0D037-F203-2EBB-4E32-B5810E993907}"/>
                  </a:ext>
                </a:extLst>
              </p:cNvPr>
              <p:cNvSpPr/>
              <p:nvPr/>
            </p:nvSpPr>
            <p:spPr>
              <a:xfrm>
                <a:off x="2870145" y="1117599"/>
                <a:ext cx="906737" cy="906737"/>
              </a:xfrm>
              <a:prstGeom prst="ellipse">
                <a:avLst/>
              </a:prstGeom>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8BABC561-27BE-7458-E9F5-86A7ADF90337}"/>
                  </a:ext>
                </a:extLst>
              </p:cNvPr>
              <p:cNvSpPr/>
              <p:nvPr/>
            </p:nvSpPr>
            <p:spPr>
              <a:xfrm>
                <a:off x="2948014" y="1195469"/>
                <a:ext cx="750998" cy="750998"/>
              </a:xfrm>
              <a:prstGeom prst="ellipse">
                <a:avLst/>
              </a:prstGeom>
              <a:noFill/>
              <a:ln>
                <a:solidFill>
                  <a:schemeClr val="bg1"/>
                </a:solidFill>
                <a:prstDash val="dash"/>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pic>
          <p:nvPicPr>
            <p:cNvPr id="29" name="Graphic 28">
              <a:extLst>
                <a:ext uri="{FF2B5EF4-FFF2-40B4-BE49-F238E27FC236}">
                  <a16:creationId xmlns:a16="http://schemas.microsoft.com/office/drawing/2014/main" id="{32A0A64D-CCB4-84C0-3005-5BC11E3F64B6}"/>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5857943" y="1332911"/>
              <a:ext cx="476114" cy="476114"/>
            </a:xfrm>
            <a:prstGeom prst="rect">
              <a:avLst/>
            </a:prstGeom>
          </p:spPr>
        </p:pic>
      </p:grpSp>
      <p:grpSp>
        <p:nvGrpSpPr>
          <p:cNvPr id="94" name="Group 93">
            <a:extLst>
              <a:ext uri="{FF2B5EF4-FFF2-40B4-BE49-F238E27FC236}">
                <a16:creationId xmlns:a16="http://schemas.microsoft.com/office/drawing/2014/main" id="{BA4D822E-52E3-4F4F-9A8A-18A150243DCC}"/>
              </a:ext>
            </a:extLst>
          </p:cNvPr>
          <p:cNvGrpSpPr/>
          <p:nvPr/>
        </p:nvGrpSpPr>
        <p:grpSpPr>
          <a:xfrm>
            <a:off x="9754428" y="1197089"/>
            <a:ext cx="705205" cy="705205"/>
            <a:chOff x="2870145" y="1117599"/>
            <a:chExt cx="906737" cy="906737"/>
          </a:xfrm>
        </p:grpSpPr>
        <p:sp>
          <p:nvSpPr>
            <p:cNvPr id="96" name="Oval 95">
              <a:extLst>
                <a:ext uri="{FF2B5EF4-FFF2-40B4-BE49-F238E27FC236}">
                  <a16:creationId xmlns:a16="http://schemas.microsoft.com/office/drawing/2014/main" id="{03582E15-F0E9-9A86-D60E-3625CD061BB9}"/>
                </a:ext>
              </a:extLst>
            </p:cNvPr>
            <p:cNvSpPr/>
            <p:nvPr/>
          </p:nvSpPr>
          <p:spPr>
            <a:xfrm>
              <a:off x="2870145" y="1117599"/>
              <a:ext cx="906737" cy="906737"/>
            </a:xfrm>
            <a:prstGeom prst="ellipse">
              <a:avLst/>
            </a:prstGeom>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7" name="Oval 96">
              <a:extLst>
                <a:ext uri="{FF2B5EF4-FFF2-40B4-BE49-F238E27FC236}">
                  <a16:creationId xmlns:a16="http://schemas.microsoft.com/office/drawing/2014/main" id="{6DB3669B-C1DF-6577-CE39-75B1D9C0EBFA}"/>
                </a:ext>
              </a:extLst>
            </p:cNvPr>
            <p:cNvSpPr/>
            <p:nvPr/>
          </p:nvSpPr>
          <p:spPr>
            <a:xfrm>
              <a:off x="2948014" y="1195469"/>
              <a:ext cx="750998" cy="750998"/>
            </a:xfrm>
            <a:prstGeom prst="ellipse">
              <a:avLst/>
            </a:prstGeom>
            <a:noFill/>
            <a:ln>
              <a:solidFill>
                <a:schemeClr val="bg1"/>
              </a:solidFill>
              <a:prstDash val="dash"/>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pic>
        <p:nvPicPr>
          <p:cNvPr id="115" name="Graphic 114">
            <a:extLst>
              <a:ext uri="{FF2B5EF4-FFF2-40B4-BE49-F238E27FC236}">
                <a16:creationId xmlns:a16="http://schemas.microsoft.com/office/drawing/2014/main" id="{F76FE8A3-4CC7-BB1D-4BA1-3E3A9C0A7C22}"/>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9921884" y="1364546"/>
            <a:ext cx="370293" cy="370293"/>
          </a:xfrm>
          <a:prstGeom prst="rect">
            <a:avLst/>
          </a:prstGeom>
        </p:spPr>
      </p:pic>
      <p:pic>
        <p:nvPicPr>
          <p:cNvPr id="46" name="Graphic 45">
            <a:extLst>
              <a:ext uri="{FF2B5EF4-FFF2-40B4-BE49-F238E27FC236}">
                <a16:creationId xmlns:a16="http://schemas.microsoft.com/office/drawing/2014/main" id="{FE0AD413-5E05-72A9-B8A8-512708BE1559}"/>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1944756" y="2672144"/>
            <a:ext cx="370293" cy="370293"/>
          </a:xfrm>
          <a:prstGeom prst="rect">
            <a:avLst/>
          </a:prstGeom>
        </p:spPr>
      </p:pic>
      <p:sp>
        <p:nvSpPr>
          <p:cNvPr id="5" name="TextBox 4">
            <a:extLst>
              <a:ext uri="{FF2B5EF4-FFF2-40B4-BE49-F238E27FC236}">
                <a16:creationId xmlns:a16="http://schemas.microsoft.com/office/drawing/2014/main" id="{431AA7AF-0A7D-28CB-6DB0-4F102C29C660}"/>
              </a:ext>
            </a:extLst>
          </p:cNvPr>
          <p:cNvSpPr txBox="1"/>
          <p:nvPr/>
        </p:nvSpPr>
        <p:spPr>
          <a:xfrm>
            <a:off x="609603" y="4666797"/>
            <a:ext cx="1014124" cy="338554"/>
          </a:xfrm>
          <a:prstGeom prst="rect">
            <a:avLst/>
          </a:prstGeom>
          <a:noFill/>
        </p:spPr>
        <p:txBody>
          <a:bodyPr wrap="none" rtlCol="0">
            <a:spAutoFit/>
          </a:bodyPr>
          <a:lstStyle/>
          <a:p>
            <a:pPr marL="3175">
              <a:spcBef>
                <a:spcPts val="600"/>
              </a:spcBef>
              <a:spcAft>
                <a:spcPts val="600"/>
              </a:spcAft>
              <a:buClr>
                <a:srgbClr val="303030">
                  <a:lumMod val="50000"/>
                  <a:lumOff val="50000"/>
                </a:srgbClr>
              </a:buClr>
            </a:pPr>
            <a:r>
              <a:rPr lang="en-US" sz="1600" b="1" kern="1200">
                <a:solidFill>
                  <a:schemeClr val="bg1"/>
                </a:solidFill>
                <a:effectLst/>
                <a:latin typeface="Calibri" panose="020F0502020204030204" pitchFamily="34" charset="0"/>
                <a:ea typeface="+mn-ea"/>
                <a:cs typeface="Tahoma" panose="020B0604030504040204" pitchFamily="34" charset="0"/>
              </a:rPr>
              <a:t>Approach</a:t>
            </a:r>
          </a:p>
        </p:txBody>
      </p:sp>
      <p:sp>
        <p:nvSpPr>
          <p:cNvPr id="8" name="Oval 7">
            <a:extLst>
              <a:ext uri="{FF2B5EF4-FFF2-40B4-BE49-F238E27FC236}">
                <a16:creationId xmlns:a16="http://schemas.microsoft.com/office/drawing/2014/main" id="{0C974CB7-C52F-5FF1-12E1-14AB6497AE4F}"/>
              </a:ext>
            </a:extLst>
          </p:cNvPr>
          <p:cNvSpPr/>
          <p:nvPr/>
        </p:nvSpPr>
        <p:spPr>
          <a:xfrm>
            <a:off x="1777300" y="4483472"/>
            <a:ext cx="705205" cy="705205"/>
          </a:xfrm>
          <a:prstGeom prst="ellipse">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Oval 8">
            <a:extLst>
              <a:ext uri="{FF2B5EF4-FFF2-40B4-BE49-F238E27FC236}">
                <a16:creationId xmlns:a16="http://schemas.microsoft.com/office/drawing/2014/main" id="{634F6BF2-4A59-0E8A-BCCB-99900EC1CDC2}"/>
              </a:ext>
            </a:extLst>
          </p:cNvPr>
          <p:cNvSpPr/>
          <p:nvPr/>
        </p:nvSpPr>
        <p:spPr>
          <a:xfrm>
            <a:off x="1837862" y="4544034"/>
            <a:ext cx="584081" cy="584081"/>
          </a:xfrm>
          <a:prstGeom prst="ellipse">
            <a:avLst/>
          </a:prstGeom>
          <a:noFill/>
          <a:ln>
            <a:solidFill>
              <a:schemeClr val="tx1"/>
            </a:solidFill>
            <a:prstDash val="dash"/>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7" name="Graphic 46">
            <a:extLst>
              <a:ext uri="{FF2B5EF4-FFF2-40B4-BE49-F238E27FC236}">
                <a16:creationId xmlns:a16="http://schemas.microsoft.com/office/drawing/2014/main" id="{567D9250-9F7C-22BF-E2A8-6498B0DEFE23}"/>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1944756" y="4650929"/>
            <a:ext cx="370293" cy="370293"/>
          </a:xfrm>
          <a:prstGeom prst="rect">
            <a:avLst/>
          </a:prstGeom>
        </p:spPr>
      </p:pic>
    </p:spTree>
    <p:custDataLst>
      <p:custData r:id="rId1"/>
    </p:custDataLst>
    <p:extLst>
      <p:ext uri="{BB962C8B-B14F-4D97-AF65-F5344CB8AC3E}">
        <p14:creationId xmlns:p14="http://schemas.microsoft.com/office/powerpoint/2010/main" val="35423916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Gv4BFCori6VqMXUmuvfg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Gv4BFCori6VqMXUmuvfg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rinity Template 3.0">
  <a:themeElements>
    <a:clrScheme name="Trinity Theme Colors">
      <a:dk1>
        <a:srgbClr val="304659"/>
      </a:dk1>
      <a:lt1>
        <a:srgbClr val="FFFFFF"/>
      </a:lt1>
      <a:dk2>
        <a:srgbClr val="172B3C"/>
      </a:dk2>
      <a:lt2>
        <a:srgbClr val="E7E6E6"/>
      </a:lt2>
      <a:accent1>
        <a:srgbClr val="346393"/>
      </a:accent1>
      <a:accent2>
        <a:srgbClr val="546EB2"/>
      </a:accent2>
      <a:accent3>
        <a:srgbClr val="199B9B"/>
      </a:accent3>
      <a:accent4>
        <a:srgbClr val="A3CB5F"/>
      </a:accent4>
      <a:accent5>
        <a:srgbClr val="D8482B"/>
      </a:accent5>
      <a:accent6>
        <a:srgbClr val="8D1130"/>
      </a:accent6>
      <a:hlink>
        <a:srgbClr val="0563C1"/>
      </a:hlink>
      <a:folHlink>
        <a:srgbClr val="5C5DA7"/>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a:lstStyle/>
      <a:style>
        <a:lnRef idx="0">
          <a:scrgbClr r="0" g="0" b="0"/>
        </a:lnRef>
        <a:fillRef idx="0">
          <a:scrgbClr r="0" g="0" b="0"/>
        </a:fillRef>
        <a:effectRef idx="0">
          <a:scrgbClr r="0" g="0" b="0"/>
        </a:effectRef>
        <a:fontRef idx="minor">
          <a:schemeClr val="lt1"/>
        </a:fontRef>
      </a:style>
    </a:spDef>
    <a:txDef>
      <a:spPr>
        <a:noFill/>
      </a:spPr>
      <a:bodyPr wrap="square" rtlCol="0">
        <a:noAutofit/>
      </a:bodyPr>
      <a:lstStyle>
        <a:defPPr marL="233363" indent="-230188">
          <a:spcBef>
            <a:spcPts val="600"/>
          </a:spcBef>
          <a:spcAft>
            <a:spcPts val="600"/>
          </a:spcAft>
          <a:buClr>
            <a:srgbClr val="303030">
              <a:lumMod val="50000"/>
              <a:lumOff val="50000"/>
            </a:srgbClr>
          </a:buClr>
          <a:buFont typeface="Arial" panose="020B0604020202020204" pitchFamily="34" charset="0"/>
          <a:buChar char="•"/>
          <a:defRPr sz="2000" dirty="0">
            <a:solidFill>
              <a:srgbClr val="002240"/>
            </a:solidFill>
            <a:cs typeface="Tahoma" pitchFamily="34" charset="0"/>
          </a:defRPr>
        </a:defPPr>
      </a:lstStyle>
    </a:txDef>
  </a:objectDefaults>
  <a:extraClrSchemeLst/>
  <a:extLst>
    <a:ext uri="{05A4C25C-085E-4340-85A3-A5531E510DB2}">
      <thm15:themeFamily xmlns:thm15="http://schemas.microsoft.com/office/thememl/2012/main" name="TRINITY Widescreen Template 4.0 FINAL.pptx  -  Read-Only" id="{B36BA5D7-AC80-4CF5-8C90-0D5A96D99484}" vid="{9DA2D05F-119E-4FC8-A4AD-60BE5A10AE37}"/>
    </a:ext>
  </a:extLst>
</a:theme>
</file>

<file path=ppt/theme/theme2.xml><?xml version="1.0" encoding="utf-8"?>
<a:theme xmlns:a="http://schemas.openxmlformats.org/drawingml/2006/main" name="1_Trinity Template 3.0">
  <a:themeElements>
    <a:clrScheme name="Trinity Theme Colors">
      <a:dk1>
        <a:srgbClr val="304659"/>
      </a:dk1>
      <a:lt1>
        <a:srgbClr val="FFFFFF"/>
      </a:lt1>
      <a:dk2>
        <a:srgbClr val="172B3C"/>
      </a:dk2>
      <a:lt2>
        <a:srgbClr val="E7E6E6"/>
      </a:lt2>
      <a:accent1>
        <a:srgbClr val="346393"/>
      </a:accent1>
      <a:accent2>
        <a:srgbClr val="546EB2"/>
      </a:accent2>
      <a:accent3>
        <a:srgbClr val="199B9B"/>
      </a:accent3>
      <a:accent4>
        <a:srgbClr val="A3CB5F"/>
      </a:accent4>
      <a:accent5>
        <a:srgbClr val="D8482B"/>
      </a:accent5>
      <a:accent6>
        <a:srgbClr val="8D1130"/>
      </a:accent6>
      <a:hlink>
        <a:srgbClr val="0563C1"/>
      </a:hlink>
      <a:folHlink>
        <a:srgbClr val="5C5DA7"/>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a:lstStyle/>
      <a:style>
        <a:lnRef idx="0">
          <a:scrgbClr r="0" g="0" b="0"/>
        </a:lnRef>
        <a:fillRef idx="0">
          <a:scrgbClr r="0" g="0" b="0"/>
        </a:fillRef>
        <a:effectRef idx="0">
          <a:scrgbClr r="0" g="0" b="0"/>
        </a:effectRef>
        <a:fontRef idx="minor">
          <a:schemeClr val="lt1"/>
        </a:fontRef>
      </a:style>
    </a:spDef>
    <a:txDef>
      <a:spPr>
        <a:noFill/>
      </a:spPr>
      <a:bodyPr wrap="square" rtlCol="0">
        <a:noAutofit/>
      </a:bodyPr>
      <a:lstStyle>
        <a:defPPr marL="233363" indent="-230188">
          <a:spcBef>
            <a:spcPts val="600"/>
          </a:spcBef>
          <a:spcAft>
            <a:spcPts val="600"/>
          </a:spcAft>
          <a:buClr>
            <a:srgbClr val="303030">
              <a:lumMod val="50000"/>
              <a:lumOff val="50000"/>
            </a:srgbClr>
          </a:buClr>
          <a:buFont typeface="Arial" panose="020B0604020202020204" pitchFamily="34" charset="0"/>
          <a:buChar char="•"/>
          <a:defRPr sz="2000" dirty="0">
            <a:solidFill>
              <a:srgbClr val="002240"/>
            </a:solidFill>
            <a:cs typeface="Tahoma" pitchFamily="34" charset="0"/>
          </a:defRPr>
        </a:defPPr>
      </a:lstStyle>
    </a:txDef>
  </a:objectDefaults>
  <a:extraClrSchemeLst/>
  <a:extLst>
    <a:ext uri="{05A4C25C-085E-4340-85A3-A5531E510DB2}">
      <thm15:themeFamily xmlns:thm15="http://schemas.microsoft.com/office/thememl/2012/main" name="TRINITY Widescreen Template 4.0 FINAL.pptx  -  Read-Only" id="{B36BA5D7-AC80-4CF5-8C90-0D5A96D99484}" vid="{9DA2D05F-119E-4FC8-A4AD-60BE5A10AE3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59"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7EA32CEA-7710-415C-8A76-46B3F1252A65}">
  <we:reference id="1f4df590-35fc-4b16-a239-39709f9d8a74" version="1.0.0.1" store="EXCatalog" storeType="EXCatalog"/>
  <we:alternateReferences>
    <we:reference id="WA104381063" version="1.0.0.1"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DcR_SlideID>43f5f7e7-5e0e-4947-801c-2e5458e6ed36</DcR_SlideID>
</file>

<file path=customXml/item10.xml><?xml version="1.0" encoding="utf-8"?>
<DcR_SlideID>f0442dba-1f20-4e6c-830f-9449d7946985</DcR_SlideID>
</file>

<file path=customXml/item11.xml><?xml version="1.0" encoding="utf-8"?>
<DcR_SlideID>9a54a425-03df-4d50-bd0a-0c83a3cc41ba</DcR_SlideID>
</file>

<file path=customXml/item12.xml><?xml version="1.0" encoding="utf-8"?>
<DcR_SlideID>6afcc99f-37c8-43ea-9811-736a79456386</DcR_SlideID>
</file>

<file path=customXml/item13.xml><?xml version="1.0" encoding="utf-8"?>
<DcR_SlideID>f0442dba-1f20-4e6c-830f-9449d7946985</DcR_SlideID>
</file>

<file path=customXml/item14.xml><?xml version="1.0" encoding="utf-8"?>
<DcR_SlideID>f4f51a36-3e6d-4399-97ed-5560a6625f3d</DcR_SlideID>
</file>

<file path=customXml/item15.xml><?xml version="1.0" encoding="utf-8"?>
<DcR_SlideID>ebe23557-f413-4812-9218-54b6092ae241</DcR_SlideID>
</file>

<file path=customXml/item16.xml><?xml version="1.0" encoding="utf-8"?>
<DcR_SlideID>f0442dba-1f20-4e6c-830f-9449d7946985</DcR_SlideID>
</file>

<file path=customXml/item17.xml><?xml version="1.0" encoding="utf-8"?>
<DcR_SlideID>88f4d6ca-8f36-4c8a-be59-6cceffc30c61</DcR_SlideID>
</file>

<file path=customXml/item18.xml><?xml version="1.0" encoding="utf-8"?>
<DcR_SlideID>f0442dba-1f20-4e6c-830f-9449d7946985</DcR_SlideID>
</file>

<file path=customXml/item19.xml><?xml version="1.0" encoding="utf-8"?>
<DcR_SlideID>4a70e004-8bf0-458e-b1aa-f6883eb40d87</DcR_SlideID>
</file>

<file path=customXml/item2.xml><?xml version="1.0" encoding="utf-8"?>
<DcR_SlideID>4ab5cd2f-eca6-41bc-91ce-08c5e8b0541e</DcR_SlideID>
</file>

<file path=customXml/item20.xml><?xml version="1.0" encoding="utf-8"?>
<DcR_SlideID>53b0d2fd-2dc4-43a6-8f20-ee43155f7371</DcR_SlideID>
</file>

<file path=customXml/item21.xml><?xml version="1.0" encoding="utf-8"?>
<DcR_SlideID>094a5e66-fe62-46d5-bdaa-70b8cde0ffbc</DcR_SlideID>
</file>

<file path=customXml/item22.xml><?xml version="1.0" encoding="utf-8"?>
<DcR_SlideID>23426e91-69af-458f-8e38-cd17e1f3f5d0</DcR_SlideID>
</file>

<file path=customXml/item23.xml><?xml version="1.0" encoding="utf-8"?>
<DcR_SlideID>335f65da-cfff-4835-9369-ed63cd6de0bb</DcR_SlideID>
</file>

<file path=customXml/item24.xml><?xml version="1.0" encoding="utf-8"?>
<DcR_SlideID>ab6df19a-b31a-42cd-b46e-a78f77730d1c</DcR_SlideID>
</file>

<file path=customXml/item25.xml><?xml version="1.0" encoding="utf-8"?>
<DcR_SlideID>d2c8fc85-ca1f-4d0e-867f-dda0c50d5fcf</DcR_SlideID>
</file>

<file path=customXml/item3.xml><?xml version="1.0" encoding="utf-8"?>
<DcR_SlideID>d7958662-b5ff-47e7-8e2e-ab182b859426</DcR_SlideID>
</file>

<file path=customXml/item4.xml><?xml version="1.0" encoding="utf-8"?>
<ct:contentTypeSchema xmlns:ct="http://schemas.microsoft.com/office/2006/metadata/contentType" xmlns:ma="http://schemas.microsoft.com/office/2006/metadata/properties/metaAttributes" ct:_="" ma:_="" ma:contentTypeName="Document" ma:contentTypeID="0x010100D32E64D35E0C4A4BB2E745F504E4B508" ma:contentTypeVersion="10" ma:contentTypeDescription="Create a new document." ma:contentTypeScope="" ma:versionID="4f6cb8dead7a49b00e8fd909298f4131">
  <xsd:schema xmlns:xsd="http://www.w3.org/2001/XMLSchema" xmlns:xs="http://www.w3.org/2001/XMLSchema" xmlns:p="http://schemas.microsoft.com/office/2006/metadata/properties" xmlns:ns2="f795478a-bda2-4c15-b0c8-d8b4dcdbf862" xmlns:ns3="670c260b-f9e1-4780-a401-60705af464a2" targetNamespace="http://schemas.microsoft.com/office/2006/metadata/properties" ma:root="true" ma:fieldsID="65eb2f7132c76bf203c30d40c8b58bcb" ns2:_="" ns3:_="">
    <xsd:import namespace="f795478a-bda2-4c15-b0c8-d8b4dcdbf862"/>
    <xsd:import namespace="670c260b-f9e1-4780-a401-60705af464a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95478a-bda2-4c15-b0c8-d8b4dcdbf86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70c260b-f9e1-4780-a401-60705af464a2"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DcR_SlideID>12423fd0-c497-44e6-a426-d0003d287aa4</DcR_SlideID>
</file>

<file path=customXml/item7.xml><?xml version="1.0" encoding="utf-8"?>
<DcR_SlideID>61d01496-3e55-4512-ba87-3b92de4ae652</DcR_SlideID>
</file>

<file path=customXml/item8.xml><?xml version="1.0" encoding="utf-8"?>
<p:properties xmlns:p="http://schemas.microsoft.com/office/2006/metadata/properties" xmlns:xsi="http://www.w3.org/2001/XMLSchema-instance" xmlns:pc="http://schemas.microsoft.com/office/infopath/2007/PartnerControls">
  <documentManagement>
    <SharedWithUsers xmlns="670c260b-f9e1-4780-a401-60705af464a2">
      <UserInfo>
        <DisplayName>Nagasubramanya Nabha</DisplayName>
        <AccountId>23</AccountId>
        <AccountType/>
      </UserInfo>
      <UserInfo>
        <DisplayName>Pranav A Sogi</DisplayName>
        <AccountId>45</AccountId>
        <AccountType/>
      </UserInfo>
      <UserInfo>
        <DisplayName>Sai Arvind</DisplayName>
        <AccountId>29</AccountId>
        <AccountType/>
      </UserInfo>
    </SharedWithUsers>
  </documentManagement>
</p:properties>
</file>

<file path=customXml/item9.xml><?xml version="1.0" encoding="utf-8"?>
<DcR_SlideID>bebcd805-5867-45e5-abb3-ccb381011161</DcR_SlideID>
</file>

<file path=customXml/itemProps1.xml><?xml version="1.0" encoding="utf-8"?>
<ds:datastoreItem xmlns:ds="http://schemas.openxmlformats.org/officeDocument/2006/customXml" ds:itemID="{DD97082D-A1C5-4279-83AC-E7E90A9135AF}">
  <ds:schemaRefs/>
</ds:datastoreItem>
</file>

<file path=customXml/itemProps10.xml><?xml version="1.0" encoding="utf-8"?>
<ds:datastoreItem xmlns:ds="http://schemas.openxmlformats.org/officeDocument/2006/customXml" ds:itemID="{567F960D-8C64-4413-9DAC-BB9FB89AB876}">
  <ds:schemaRefs/>
</ds:datastoreItem>
</file>

<file path=customXml/itemProps11.xml><?xml version="1.0" encoding="utf-8"?>
<ds:datastoreItem xmlns:ds="http://schemas.openxmlformats.org/officeDocument/2006/customXml" ds:itemID="{53472A52-B2FB-4F9F-AB8C-C3B6C33175B2}">
  <ds:schemaRefs/>
</ds:datastoreItem>
</file>

<file path=customXml/itemProps12.xml><?xml version="1.0" encoding="utf-8"?>
<ds:datastoreItem xmlns:ds="http://schemas.openxmlformats.org/officeDocument/2006/customXml" ds:itemID="{316A09EA-40B6-48C3-8A84-1CEF4121FC1D}">
  <ds:schemaRefs/>
</ds:datastoreItem>
</file>

<file path=customXml/itemProps13.xml><?xml version="1.0" encoding="utf-8"?>
<ds:datastoreItem xmlns:ds="http://schemas.openxmlformats.org/officeDocument/2006/customXml" ds:itemID="{1A83E5B6-8FD2-4A25-BD73-4289A53BEBD6}">
  <ds:schemaRefs/>
</ds:datastoreItem>
</file>

<file path=customXml/itemProps14.xml><?xml version="1.0" encoding="utf-8"?>
<ds:datastoreItem xmlns:ds="http://schemas.openxmlformats.org/officeDocument/2006/customXml" ds:itemID="{5123EAAD-CE43-4DA0-9111-A40EE0A54F93}">
  <ds:schemaRefs/>
</ds:datastoreItem>
</file>

<file path=customXml/itemProps15.xml><?xml version="1.0" encoding="utf-8"?>
<ds:datastoreItem xmlns:ds="http://schemas.openxmlformats.org/officeDocument/2006/customXml" ds:itemID="{4D36A559-D26F-4272-8CBD-F2997B3675C8}">
  <ds:schemaRefs/>
</ds:datastoreItem>
</file>

<file path=customXml/itemProps16.xml><?xml version="1.0" encoding="utf-8"?>
<ds:datastoreItem xmlns:ds="http://schemas.openxmlformats.org/officeDocument/2006/customXml" ds:itemID="{C50036E6-F2E2-4F65-A9AF-379F7E62F328}">
  <ds:schemaRefs/>
</ds:datastoreItem>
</file>

<file path=customXml/itemProps17.xml><?xml version="1.0" encoding="utf-8"?>
<ds:datastoreItem xmlns:ds="http://schemas.openxmlformats.org/officeDocument/2006/customXml" ds:itemID="{F0870EF0-237F-433E-96B6-0603DEDA474E}">
  <ds:schemaRefs/>
</ds:datastoreItem>
</file>

<file path=customXml/itemProps18.xml><?xml version="1.0" encoding="utf-8"?>
<ds:datastoreItem xmlns:ds="http://schemas.openxmlformats.org/officeDocument/2006/customXml" ds:itemID="{00B5493C-BC80-46EA-A8BD-EF004583AADD}">
  <ds:schemaRefs/>
</ds:datastoreItem>
</file>

<file path=customXml/itemProps19.xml><?xml version="1.0" encoding="utf-8"?>
<ds:datastoreItem xmlns:ds="http://schemas.openxmlformats.org/officeDocument/2006/customXml" ds:itemID="{FA4ECBBA-9B6A-4FF2-99FF-EF5E35D14834}">
  <ds:schemaRefs/>
</ds:datastoreItem>
</file>

<file path=customXml/itemProps2.xml><?xml version="1.0" encoding="utf-8"?>
<ds:datastoreItem xmlns:ds="http://schemas.openxmlformats.org/officeDocument/2006/customXml" ds:itemID="{4C4D156C-4D10-4F4E-887E-85794C791089}">
  <ds:schemaRefs/>
</ds:datastoreItem>
</file>

<file path=customXml/itemProps20.xml><?xml version="1.0" encoding="utf-8"?>
<ds:datastoreItem xmlns:ds="http://schemas.openxmlformats.org/officeDocument/2006/customXml" ds:itemID="{2A432D7C-F184-4A1E-95C3-DCA9CB4DB6CB}">
  <ds:schemaRefs/>
</ds:datastoreItem>
</file>

<file path=customXml/itemProps21.xml><?xml version="1.0" encoding="utf-8"?>
<ds:datastoreItem xmlns:ds="http://schemas.openxmlformats.org/officeDocument/2006/customXml" ds:itemID="{43423523-78A8-45F2-8569-890DAA203DC9}">
  <ds:schemaRefs/>
</ds:datastoreItem>
</file>

<file path=customXml/itemProps22.xml><?xml version="1.0" encoding="utf-8"?>
<ds:datastoreItem xmlns:ds="http://schemas.openxmlformats.org/officeDocument/2006/customXml" ds:itemID="{FFF28423-AD55-40B5-97E2-14E573B3AC6D}">
  <ds:schemaRefs/>
</ds:datastoreItem>
</file>

<file path=customXml/itemProps23.xml><?xml version="1.0" encoding="utf-8"?>
<ds:datastoreItem xmlns:ds="http://schemas.openxmlformats.org/officeDocument/2006/customXml" ds:itemID="{69B1C5ED-66DD-42C4-802C-B9CFC06CBD72}">
  <ds:schemaRefs/>
</ds:datastoreItem>
</file>

<file path=customXml/itemProps24.xml><?xml version="1.0" encoding="utf-8"?>
<ds:datastoreItem xmlns:ds="http://schemas.openxmlformats.org/officeDocument/2006/customXml" ds:itemID="{FF6A1576-B28E-4932-A485-7EC0C2C1C14A}">
  <ds:schemaRefs/>
</ds:datastoreItem>
</file>

<file path=customXml/itemProps25.xml><?xml version="1.0" encoding="utf-8"?>
<ds:datastoreItem xmlns:ds="http://schemas.openxmlformats.org/officeDocument/2006/customXml" ds:itemID="{59DAF72D-D6EB-47C7-877F-B823B81C0253}">
  <ds:schemaRefs/>
</ds:datastoreItem>
</file>

<file path=customXml/itemProps3.xml><?xml version="1.0" encoding="utf-8"?>
<ds:datastoreItem xmlns:ds="http://schemas.openxmlformats.org/officeDocument/2006/customXml" ds:itemID="{CCE9CF1E-E57A-4115-9C69-A9E47672C407}">
  <ds:schemaRefs/>
</ds:datastoreItem>
</file>

<file path=customXml/itemProps4.xml><?xml version="1.0" encoding="utf-8"?>
<ds:datastoreItem xmlns:ds="http://schemas.openxmlformats.org/officeDocument/2006/customXml" ds:itemID="{A2E10E75-0A8F-446C-B18F-23AF125E0720}"/>
</file>

<file path=customXml/itemProps5.xml><?xml version="1.0" encoding="utf-8"?>
<ds:datastoreItem xmlns:ds="http://schemas.openxmlformats.org/officeDocument/2006/customXml" ds:itemID="{C35F7C17-FFFD-4E6C-9E50-7F37E73C5B20}">
  <ds:schemaRefs>
    <ds:schemaRef ds:uri="http://schemas.microsoft.com/sharepoint/v3/contenttype/forms"/>
  </ds:schemaRefs>
</ds:datastoreItem>
</file>

<file path=customXml/itemProps6.xml><?xml version="1.0" encoding="utf-8"?>
<ds:datastoreItem xmlns:ds="http://schemas.openxmlformats.org/officeDocument/2006/customXml" ds:itemID="{6C780D02-28E9-4678-82EC-035A2B86A7F1}">
  <ds:schemaRefs/>
</ds:datastoreItem>
</file>

<file path=customXml/itemProps7.xml><?xml version="1.0" encoding="utf-8"?>
<ds:datastoreItem xmlns:ds="http://schemas.openxmlformats.org/officeDocument/2006/customXml" ds:itemID="{F439E3CD-EADD-459F-954A-C338BCC5141A}">
  <ds:schemaRefs/>
</ds:datastoreItem>
</file>

<file path=customXml/itemProps8.xml><?xml version="1.0" encoding="utf-8"?>
<ds:datastoreItem xmlns:ds="http://schemas.openxmlformats.org/officeDocument/2006/customXml" ds:itemID="{E3479072-6D27-4DDB-B339-7A6951CCB651}">
  <ds:schemaRefs>
    <ds:schemaRef ds:uri="http://www.w3.org/XML/1998/namespace"/>
    <ds:schemaRef ds:uri="http://purl.org/dc/dcmitype/"/>
    <ds:schemaRef ds:uri="f53f546f-c2c3-4ccd-8ad8-ca4eec866968"/>
    <ds:schemaRef ds:uri="http://purl.org/dc/elements/1.1/"/>
    <ds:schemaRef ds:uri="http://schemas.microsoft.com/office/2006/documentManagement/types"/>
    <ds:schemaRef ds:uri="a1c3815f-fcaa-4978-ba9c-8c6c52aaca4b"/>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9.xml><?xml version="1.0" encoding="utf-8"?>
<ds:datastoreItem xmlns:ds="http://schemas.openxmlformats.org/officeDocument/2006/customXml" ds:itemID="{BBC54D23-5CBC-48F2-AFE7-5A087775A28A}">
  <ds:schemaRefs/>
</ds:datastoreItem>
</file>

<file path=docProps/app.xml><?xml version="1.0" encoding="utf-8"?>
<Properties xmlns="http://schemas.openxmlformats.org/officeDocument/2006/extended-properties" xmlns:vt="http://schemas.openxmlformats.org/officeDocument/2006/docPropsVTypes">
  <TotalTime>89</TotalTime>
  <Words>2125</Words>
  <Application>Microsoft Office PowerPoint</Application>
  <PresentationFormat>Widescreen</PresentationFormat>
  <Paragraphs>129</Paragraphs>
  <Slides>16</Slides>
  <Notes>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5" baseType="lpstr">
      <vt:lpstr>Aptos</vt:lpstr>
      <vt:lpstr>Arial</vt:lpstr>
      <vt:lpstr>Calibri</vt:lpstr>
      <vt:lpstr>Courier New</vt:lpstr>
      <vt:lpstr>Tahoma</vt:lpstr>
      <vt:lpstr>Wingdings</vt:lpstr>
      <vt:lpstr>Trinity Template 3.0</vt:lpstr>
      <vt:lpstr>1_Trinity Template 3.0</vt:lpstr>
      <vt:lpstr>think-cell Slide</vt:lpstr>
      <vt:lpstr>PowerPoint Presentation</vt:lpstr>
      <vt:lpstr>Agenda Slides</vt:lpstr>
      <vt:lpstr>Feedbacks from UPLIZNA BU [21 user comments]</vt:lpstr>
      <vt:lpstr>User Feedback Summary and Issue Identified</vt:lpstr>
      <vt:lpstr>Agenda Slides</vt:lpstr>
      <vt:lpstr>Issues Resolved with the latest architecture More comprehensive response and Irrelevant points are filtered out</vt:lpstr>
      <vt:lpstr>Partially Resolved</vt:lpstr>
      <vt:lpstr>Agenda Slides</vt:lpstr>
      <vt:lpstr>Areas for Further Refinement In the latest architecture most of them have been addressed and resolved multiple scenarios but still some extreme scenarios need to be  addressed</vt:lpstr>
      <vt:lpstr>Agenda Slides</vt:lpstr>
      <vt:lpstr>PowerPoint Presentation</vt:lpstr>
      <vt:lpstr>Example – Incomplete/Incomprehensive Response </vt:lpstr>
      <vt:lpstr>Example – Incorrect Response</vt:lpstr>
      <vt:lpstr>Example – Missing Document</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anion – Feedback Analysis</dc:title>
  <dc:creator>Mohammed Aamir Shuaib</dc:creator>
  <cp:lastModifiedBy>Sogi, Pranav</cp:lastModifiedBy>
  <cp:revision>8</cp:revision>
  <dcterms:created xsi:type="dcterms:W3CDTF">2024-04-17T07:52:28Z</dcterms:created>
  <dcterms:modified xsi:type="dcterms:W3CDTF">2024-07-30T17:3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2E64D35E0C4A4BB2E745F504E4B508</vt:lpwstr>
  </property>
  <property fmtid="{D5CDD505-2E9C-101B-9397-08002B2CF9AE}" pid="3" name="MSIP_Label_d8d793b9-73c2-43c2-b1d4-b4749f286de9_Enabled">
    <vt:lpwstr>true</vt:lpwstr>
  </property>
  <property fmtid="{D5CDD505-2E9C-101B-9397-08002B2CF9AE}" pid="4" name="MSIP_Label_d8d793b9-73c2-43c2-b1d4-b4749f286de9_SetDate">
    <vt:lpwstr>2024-07-22T10:44:21Z</vt:lpwstr>
  </property>
  <property fmtid="{D5CDD505-2E9C-101B-9397-08002B2CF9AE}" pid="5" name="MSIP_Label_d8d793b9-73c2-43c2-b1d4-b4749f286de9_Method">
    <vt:lpwstr>Privileged</vt:lpwstr>
  </property>
  <property fmtid="{D5CDD505-2E9C-101B-9397-08002B2CF9AE}" pid="6" name="MSIP_Label_d8d793b9-73c2-43c2-b1d4-b4749f286de9_Name">
    <vt:lpwstr>Public.</vt:lpwstr>
  </property>
  <property fmtid="{D5CDD505-2E9C-101B-9397-08002B2CF9AE}" pid="7" name="MSIP_Label_d8d793b9-73c2-43c2-b1d4-b4749f286de9_SiteId">
    <vt:lpwstr>4b4266a6-1368-41af-ad5a-59eb634f7ad8</vt:lpwstr>
  </property>
  <property fmtid="{D5CDD505-2E9C-101B-9397-08002B2CF9AE}" pid="8" name="MSIP_Label_d8d793b9-73c2-43c2-b1d4-b4749f286de9_ActionId">
    <vt:lpwstr>576dcaac-2e39-49ca-90ea-42f3945f887e</vt:lpwstr>
  </property>
  <property fmtid="{D5CDD505-2E9C-101B-9397-08002B2CF9AE}" pid="9" name="MSIP_Label_d8d793b9-73c2-43c2-b1d4-b4749f286de9_ContentBits">
    <vt:lpwstr>2</vt:lpwstr>
  </property>
  <property fmtid="{D5CDD505-2E9C-101B-9397-08002B2CF9AE}" pid="10" name="ClassificationContentMarkingFooterLocations">
    <vt:lpwstr>Trinity Template 3.0:7</vt:lpwstr>
  </property>
  <property fmtid="{D5CDD505-2E9C-101B-9397-08002B2CF9AE}" pid="11" name="ClassificationContentMarkingFooterText">
    <vt:lpwstr>Public</vt:lpwstr>
  </property>
</Properties>
</file>